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4276" r:id="rId5"/>
  </p:sldMasterIdLst>
  <p:notesMasterIdLst>
    <p:notesMasterId r:id="rId30"/>
  </p:notesMasterIdLst>
  <p:handoutMasterIdLst>
    <p:handoutMasterId r:id="rId31"/>
  </p:handoutMasterIdLst>
  <p:sldIdLst>
    <p:sldId id="381" r:id="rId6"/>
    <p:sldId id="404" r:id="rId7"/>
    <p:sldId id="405" r:id="rId8"/>
    <p:sldId id="406" r:id="rId9"/>
    <p:sldId id="407" r:id="rId10"/>
    <p:sldId id="408" r:id="rId11"/>
    <p:sldId id="409" r:id="rId12"/>
    <p:sldId id="410" r:id="rId13"/>
    <p:sldId id="375" r:id="rId14"/>
    <p:sldId id="403" r:id="rId15"/>
    <p:sldId id="386" r:id="rId16"/>
    <p:sldId id="411" r:id="rId17"/>
    <p:sldId id="412" r:id="rId18"/>
    <p:sldId id="415" r:id="rId19"/>
    <p:sldId id="416" r:id="rId20"/>
    <p:sldId id="421" r:id="rId21"/>
    <p:sldId id="422" r:id="rId22"/>
    <p:sldId id="413" r:id="rId23"/>
    <p:sldId id="414" r:id="rId24"/>
    <p:sldId id="417" r:id="rId25"/>
    <p:sldId id="419" r:id="rId26"/>
    <p:sldId id="420" r:id="rId27"/>
    <p:sldId id="400" r:id="rId28"/>
    <p:sldId id="351"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0917"/>
    <a:srgbClr val="DAE2EC"/>
    <a:srgbClr val="D239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6FBC72-C8F2-A9A5-8D3A-B07DAA599FFF}" v="59" dt="2020-10-07T08:34:44.683"/>
    <p1510:client id="{12241850-6AF6-B194-3F2F-B22FD3258D02}" v="70" dt="2020-10-20T06:45:11.606"/>
    <p1510:client id="{266AE4C5-3786-CF2F-5309-EC368D9E3A30}" v="135" dt="2020-10-07T08:25:45.589"/>
    <p1510:client id="{2A276C93-95BE-400F-1EC9-CDBF0DFCF99B}" v="640" dt="2020-10-07T09:33:49.086"/>
    <p1510:client id="{376371B9-FB8C-9342-2DBD-795971A5AC0B}" v="45" dt="2020-10-07T08:28:18.656"/>
    <p1510:client id="{4CDE46EB-1711-3A69-684B-FD1572D7E02E}" v="1393" dt="2020-10-07T13:25:37.516"/>
    <p1510:client id="{61D5A77D-6EE2-F17B-7780-0921A7C984F5}" v="1992" dt="2020-10-08T11:18:28.892"/>
    <p1510:client id="{8D8E432B-F5E3-87BB-794A-A2A421DD9047}" v="8" dt="2020-08-29T03:24:30.979"/>
    <p1510:client id="{EAB04484-8899-2CA0-E6C6-2684FA95C21D}" v="1117" dt="2020-10-07T11:01:36.942"/>
    <p1510:client id="{ED345FCC-8E54-2FE0-C335-D229291A2FB9}" v="259" dt="2020-10-19T10:25:09.7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6" d="100"/>
          <a:sy n="76" d="100"/>
        </p:scale>
        <p:origin x="516"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kesh Lakshmipathy" userId="S::rakeshl@maveric-systems.com::6050c502-d529-4eba-90b2-5e1eb16aa821" providerId="AD" clId="Web-{12241850-6AF6-B194-3F2F-B22FD3258D02}"/>
    <pc:docChg chg="modSld">
      <pc:chgData name="Rakesh Lakshmipathy" userId="S::rakeshl@maveric-systems.com::6050c502-d529-4eba-90b2-5e1eb16aa821" providerId="AD" clId="Web-{12241850-6AF6-B194-3F2F-B22FD3258D02}" dt="2020-10-20T06:45:11.606" v="68" actId="20577"/>
      <pc:docMkLst>
        <pc:docMk/>
      </pc:docMkLst>
      <pc:sldChg chg="modSp">
        <pc:chgData name="Rakesh Lakshmipathy" userId="S::rakeshl@maveric-systems.com::6050c502-d529-4eba-90b2-5e1eb16aa821" providerId="AD" clId="Web-{12241850-6AF6-B194-3F2F-B22FD3258D02}" dt="2020-10-20T06:41:39.042" v="0" actId="20577"/>
        <pc:sldMkLst>
          <pc:docMk/>
          <pc:sldMk cId="2276678590" sldId="375"/>
        </pc:sldMkLst>
        <pc:spChg chg="mod">
          <ac:chgData name="Rakesh Lakshmipathy" userId="S::rakeshl@maveric-systems.com::6050c502-d529-4eba-90b2-5e1eb16aa821" providerId="AD" clId="Web-{12241850-6AF6-B194-3F2F-B22FD3258D02}" dt="2020-10-20T06:41:39.042" v="0" actId="20577"/>
          <ac:spMkLst>
            <pc:docMk/>
            <pc:sldMk cId="2276678590" sldId="375"/>
            <ac:spMk id="3" creationId="{3A026BAA-8421-4209-ABC2-8A5B6445A1C2}"/>
          </ac:spMkLst>
        </pc:spChg>
      </pc:sldChg>
      <pc:sldChg chg="modSp">
        <pc:chgData name="Rakesh Lakshmipathy" userId="S::rakeshl@maveric-systems.com::6050c502-d529-4eba-90b2-5e1eb16aa821" providerId="AD" clId="Web-{12241850-6AF6-B194-3F2F-B22FD3258D02}" dt="2020-10-20T06:41:55.995" v="6" actId="20577"/>
        <pc:sldMkLst>
          <pc:docMk/>
          <pc:sldMk cId="497650310" sldId="376"/>
        </pc:sldMkLst>
        <pc:spChg chg="mod">
          <ac:chgData name="Rakesh Lakshmipathy" userId="S::rakeshl@maveric-systems.com::6050c502-d529-4eba-90b2-5e1eb16aa821" providerId="AD" clId="Web-{12241850-6AF6-B194-3F2F-B22FD3258D02}" dt="2020-10-20T06:41:55.995" v="6" actId="20577"/>
          <ac:spMkLst>
            <pc:docMk/>
            <pc:sldMk cId="497650310" sldId="376"/>
            <ac:spMk id="3" creationId="{3A026BAA-8421-4209-ABC2-8A5B6445A1C2}"/>
          </ac:spMkLst>
        </pc:spChg>
      </pc:sldChg>
      <pc:sldChg chg="modSp">
        <pc:chgData name="Rakesh Lakshmipathy" userId="S::rakeshl@maveric-systems.com::6050c502-d529-4eba-90b2-5e1eb16aa821" providerId="AD" clId="Web-{12241850-6AF6-B194-3F2F-B22FD3258D02}" dt="2020-10-20T06:42:03.620" v="9" actId="20577"/>
        <pc:sldMkLst>
          <pc:docMk/>
          <pc:sldMk cId="3414234315" sldId="377"/>
        </pc:sldMkLst>
        <pc:spChg chg="mod">
          <ac:chgData name="Rakesh Lakshmipathy" userId="S::rakeshl@maveric-systems.com::6050c502-d529-4eba-90b2-5e1eb16aa821" providerId="AD" clId="Web-{12241850-6AF6-B194-3F2F-B22FD3258D02}" dt="2020-10-20T06:42:03.620" v="9" actId="20577"/>
          <ac:spMkLst>
            <pc:docMk/>
            <pc:sldMk cId="3414234315" sldId="377"/>
            <ac:spMk id="3" creationId="{3A026BAA-8421-4209-ABC2-8A5B6445A1C2}"/>
          </ac:spMkLst>
        </pc:spChg>
      </pc:sldChg>
      <pc:sldChg chg="modSp">
        <pc:chgData name="Rakesh Lakshmipathy" userId="S::rakeshl@maveric-systems.com::6050c502-d529-4eba-90b2-5e1eb16aa821" providerId="AD" clId="Web-{12241850-6AF6-B194-3F2F-B22FD3258D02}" dt="2020-10-20T06:41:48.182" v="3" actId="20577"/>
        <pc:sldMkLst>
          <pc:docMk/>
          <pc:sldMk cId="2610125523" sldId="382"/>
        </pc:sldMkLst>
        <pc:spChg chg="mod">
          <ac:chgData name="Rakesh Lakshmipathy" userId="S::rakeshl@maveric-systems.com::6050c502-d529-4eba-90b2-5e1eb16aa821" providerId="AD" clId="Web-{12241850-6AF6-B194-3F2F-B22FD3258D02}" dt="2020-10-20T06:41:48.182" v="3" actId="20577"/>
          <ac:spMkLst>
            <pc:docMk/>
            <pc:sldMk cId="2610125523" sldId="382"/>
            <ac:spMk id="3" creationId="{3A026BAA-8421-4209-ABC2-8A5B6445A1C2}"/>
          </ac:spMkLst>
        </pc:spChg>
      </pc:sldChg>
      <pc:sldChg chg="modSp">
        <pc:chgData name="Rakesh Lakshmipathy" userId="S::rakeshl@maveric-systems.com::6050c502-d529-4eba-90b2-5e1eb16aa821" providerId="AD" clId="Web-{12241850-6AF6-B194-3F2F-B22FD3258D02}" dt="2020-10-20T06:42:17.370" v="16" actId="20577"/>
        <pc:sldMkLst>
          <pc:docMk/>
          <pc:sldMk cId="3167450862" sldId="383"/>
        </pc:sldMkLst>
        <pc:spChg chg="mod">
          <ac:chgData name="Rakesh Lakshmipathy" userId="S::rakeshl@maveric-systems.com::6050c502-d529-4eba-90b2-5e1eb16aa821" providerId="AD" clId="Web-{12241850-6AF6-B194-3F2F-B22FD3258D02}" dt="2020-10-20T06:42:10.667" v="12" actId="1076"/>
          <ac:spMkLst>
            <pc:docMk/>
            <pc:sldMk cId="3167450862" sldId="383"/>
            <ac:spMk id="2" creationId="{7CB9D666-6987-4AAA-9EDE-74105B07065D}"/>
          </ac:spMkLst>
        </pc:spChg>
        <pc:spChg chg="mod">
          <ac:chgData name="Rakesh Lakshmipathy" userId="S::rakeshl@maveric-systems.com::6050c502-d529-4eba-90b2-5e1eb16aa821" providerId="AD" clId="Web-{12241850-6AF6-B194-3F2F-B22FD3258D02}" dt="2020-10-20T06:42:17.370" v="16" actId="20577"/>
          <ac:spMkLst>
            <pc:docMk/>
            <pc:sldMk cId="3167450862" sldId="383"/>
            <ac:spMk id="3" creationId="{9D22C5A2-1529-4959-974B-A0503098E08A}"/>
          </ac:spMkLst>
        </pc:spChg>
      </pc:sldChg>
      <pc:sldChg chg="modSp">
        <pc:chgData name="Rakesh Lakshmipathy" userId="S::rakeshl@maveric-systems.com::6050c502-d529-4eba-90b2-5e1eb16aa821" providerId="AD" clId="Web-{12241850-6AF6-B194-3F2F-B22FD3258D02}" dt="2020-10-20T06:42:32.667" v="21" actId="1076"/>
        <pc:sldMkLst>
          <pc:docMk/>
          <pc:sldMk cId="1468128168" sldId="384"/>
        </pc:sldMkLst>
        <pc:spChg chg="mod">
          <ac:chgData name="Rakesh Lakshmipathy" userId="S::rakeshl@maveric-systems.com::6050c502-d529-4eba-90b2-5e1eb16aa821" providerId="AD" clId="Web-{12241850-6AF6-B194-3F2F-B22FD3258D02}" dt="2020-10-20T06:42:26.370" v="18" actId="20577"/>
          <ac:spMkLst>
            <pc:docMk/>
            <pc:sldMk cId="1468128168" sldId="384"/>
            <ac:spMk id="3" creationId="{BF457E7E-29CE-44D3-9538-EEA78906C3FE}"/>
          </ac:spMkLst>
        </pc:spChg>
        <pc:spChg chg="mod">
          <ac:chgData name="Rakesh Lakshmipathy" userId="S::rakeshl@maveric-systems.com::6050c502-d529-4eba-90b2-5e1eb16aa821" providerId="AD" clId="Web-{12241850-6AF6-B194-3F2F-B22FD3258D02}" dt="2020-10-20T06:42:32.667" v="21" actId="1076"/>
          <ac:spMkLst>
            <pc:docMk/>
            <pc:sldMk cId="1468128168" sldId="384"/>
            <ac:spMk id="7" creationId="{0EF2C62E-60B3-466F-83F5-D957A422AC14}"/>
          </ac:spMkLst>
        </pc:spChg>
      </pc:sldChg>
      <pc:sldChg chg="modSp">
        <pc:chgData name="Rakesh Lakshmipathy" userId="S::rakeshl@maveric-systems.com::6050c502-d529-4eba-90b2-5e1eb16aa821" providerId="AD" clId="Web-{12241850-6AF6-B194-3F2F-B22FD3258D02}" dt="2020-10-20T06:42:46.652" v="23" actId="20577"/>
        <pc:sldMkLst>
          <pc:docMk/>
          <pc:sldMk cId="1748754695" sldId="385"/>
        </pc:sldMkLst>
        <pc:spChg chg="mod">
          <ac:chgData name="Rakesh Lakshmipathy" userId="S::rakeshl@maveric-systems.com::6050c502-d529-4eba-90b2-5e1eb16aa821" providerId="AD" clId="Web-{12241850-6AF6-B194-3F2F-B22FD3258D02}" dt="2020-10-20T06:42:39.620" v="22" actId="1076"/>
          <ac:spMkLst>
            <pc:docMk/>
            <pc:sldMk cId="1748754695" sldId="385"/>
            <ac:spMk id="2" creationId="{E3A695E0-82B6-4232-B8D7-71F0C518642C}"/>
          </ac:spMkLst>
        </pc:spChg>
        <pc:spChg chg="mod">
          <ac:chgData name="Rakesh Lakshmipathy" userId="S::rakeshl@maveric-systems.com::6050c502-d529-4eba-90b2-5e1eb16aa821" providerId="AD" clId="Web-{12241850-6AF6-B194-3F2F-B22FD3258D02}" dt="2020-10-20T06:42:46.652" v="23" actId="20577"/>
          <ac:spMkLst>
            <pc:docMk/>
            <pc:sldMk cId="1748754695" sldId="385"/>
            <ac:spMk id="3" creationId="{1DFA2C2C-6DDA-4ED0-BA4A-E215AF8AD668}"/>
          </ac:spMkLst>
        </pc:spChg>
      </pc:sldChg>
      <pc:sldChg chg="modSp">
        <pc:chgData name="Rakesh Lakshmipathy" userId="S::rakeshl@maveric-systems.com::6050c502-d529-4eba-90b2-5e1eb16aa821" providerId="AD" clId="Web-{12241850-6AF6-B194-3F2F-B22FD3258D02}" dt="2020-10-20T06:42:56.996" v="26" actId="20577"/>
        <pc:sldMkLst>
          <pc:docMk/>
          <pc:sldMk cId="4259825831" sldId="386"/>
        </pc:sldMkLst>
        <pc:spChg chg="mod">
          <ac:chgData name="Rakesh Lakshmipathy" userId="S::rakeshl@maveric-systems.com::6050c502-d529-4eba-90b2-5e1eb16aa821" providerId="AD" clId="Web-{12241850-6AF6-B194-3F2F-B22FD3258D02}" dt="2020-10-20T06:42:56.996" v="26" actId="20577"/>
          <ac:spMkLst>
            <pc:docMk/>
            <pc:sldMk cId="4259825831" sldId="386"/>
            <ac:spMk id="3" creationId="{FBB341BF-A1B3-44BE-9338-684B7484A41C}"/>
          </ac:spMkLst>
        </pc:spChg>
      </pc:sldChg>
      <pc:sldChg chg="modSp">
        <pc:chgData name="Rakesh Lakshmipathy" userId="S::rakeshl@maveric-systems.com::6050c502-d529-4eba-90b2-5e1eb16aa821" providerId="AD" clId="Web-{12241850-6AF6-B194-3F2F-B22FD3258D02}" dt="2020-10-20T06:43:02.636" v="30" actId="20577"/>
        <pc:sldMkLst>
          <pc:docMk/>
          <pc:sldMk cId="1189829275" sldId="387"/>
        </pc:sldMkLst>
        <pc:spChg chg="mod">
          <ac:chgData name="Rakesh Lakshmipathy" userId="S::rakeshl@maveric-systems.com::6050c502-d529-4eba-90b2-5e1eb16aa821" providerId="AD" clId="Web-{12241850-6AF6-B194-3F2F-B22FD3258D02}" dt="2020-10-20T06:43:02.636" v="30" actId="20577"/>
          <ac:spMkLst>
            <pc:docMk/>
            <pc:sldMk cId="1189829275" sldId="387"/>
            <ac:spMk id="2" creationId="{6987F35B-5643-480D-95D9-811BA86C206C}"/>
          </ac:spMkLst>
        </pc:spChg>
      </pc:sldChg>
      <pc:sldChg chg="modSp">
        <pc:chgData name="Rakesh Lakshmipathy" userId="S::rakeshl@maveric-systems.com::6050c502-d529-4eba-90b2-5e1eb16aa821" providerId="AD" clId="Web-{12241850-6AF6-B194-3F2F-B22FD3258D02}" dt="2020-10-20T06:43:49.637" v="39" actId="20577"/>
        <pc:sldMkLst>
          <pc:docMk/>
          <pc:sldMk cId="2289401578" sldId="390"/>
        </pc:sldMkLst>
        <pc:spChg chg="mod">
          <ac:chgData name="Rakesh Lakshmipathy" userId="S::rakeshl@maveric-systems.com::6050c502-d529-4eba-90b2-5e1eb16aa821" providerId="AD" clId="Web-{12241850-6AF6-B194-3F2F-B22FD3258D02}" dt="2020-10-20T06:43:49.637" v="39" actId="20577"/>
          <ac:spMkLst>
            <pc:docMk/>
            <pc:sldMk cId="2289401578" sldId="390"/>
            <ac:spMk id="3" creationId="{447F2E54-8B9E-4C6C-8E8C-3DDFC162E2E6}"/>
          </ac:spMkLst>
        </pc:spChg>
      </pc:sldChg>
      <pc:sldChg chg="modSp">
        <pc:chgData name="Rakesh Lakshmipathy" userId="S::rakeshl@maveric-systems.com::6050c502-d529-4eba-90b2-5e1eb16aa821" providerId="AD" clId="Web-{12241850-6AF6-B194-3F2F-B22FD3258D02}" dt="2020-10-20T06:43:58.043" v="45" actId="1076"/>
        <pc:sldMkLst>
          <pc:docMk/>
          <pc:sldMk cId="2364483620" sldId="391"/>
        </pc:sldMkLst>
        <pc:spChg chg="mod">
          <ac:chgData name="Rakesh Lakshmipathy" userId="S::rakeshl@maveric-systems.com::6050c502-d529-4eba-90b2-5e1eb16aa821" providerId="AD" clId="Web-{12241850-6AF6-B194-3F2F-B22FD3258D02}" dt="2020-10-20T06:43:58.043" v="45" actId="1076"/>
          <ac:spMkLst>
            <pc:docMk/>
            <pc:sldMk cId="2364483620" sldId="391"/>
            <ac:spMk id="2" creationId="{55CD59C9-1E8A-43F3-BAF4-6246FA5BC76D}"/>
          </ac:spMkLst>
        </pc:spChg>
        <pc:spChg chg="mod">
          <ac:chgData name="Rakesh Lakshmipathy" userId="S::rakeshl@maveric-systems.com::6050c502-d529-4eba-90b2-5e1eb16aa821" providerId="AD" clId="Web-{12241850-6AF6-B194-3F2F-B22FD3258D02}" dt="2020-10-20T06:43:55.262" v="42" actId="20577"/>
          <ac:spMkLst>
            <pc:docMk/>
            <pc:sldMk cId="2364483620" sldId="391"/>
            <ac:spMk id="3" creationId="{D9B546C1-363F-426E-8AE8-9342F8C415C1}"/>
          </ac:spMkLst>
        </pc:spChg>
      </pc:sldChg>
      <pc:sldChg chg="modSp">
        <pc:chgData name="Rakesh Lakshmipathy" userId="S::rakeshl@maveric-systems.com::6050c502-d529-4eba-90b2-5e1eb16aa821" providerId="AD" clId="Web-{12241850-6AF6-B194-3F2F-B22FD3258D02}" dt="2020-10-20T06:44:04.981" v="46" actId="20577"/>
        <pc:sldMkLst>
          <pc:docMk/>
          <pc:sldMk cId="3903126931" sldId="392"/>
        </pc:sldMkLst>
        <pc:spChg chg="mod">
          <ac:chgData name="Rakesh Lakshmipathy" userId="S::rakeshl@maveric-systems.com::6050c502-d529-4eba-90b2-5e1eb16aa821" providerId="AD" clId="Web-{12241850-6AF6-B194-3F2F-B22FD3258D02}" dt="2020-10-20T06:44:04.981" v="46" actId="20577"/>
          <ac:spMkLst>
            <pc:docMk/>
            <pc:sldMk cId="3903126931" sldId="392"/>
            <ac:spMk id="3" creationId="{C7B2F0B2-C071-487D-B2F3-71F6AD59E2CA}"/>
          </ac:spMkLst>
        </pc:spChg>
      </pc:sldChg>
      <pc:sldChg chg="modSp">
        <pc:chgData name="Rakesh Lakshmipathy" userId="S::rakeshl@maveric-systems.com::6050c502-d529-4eba-90b2-5e1eb16aa821" providerId="AD" clId="Web-{12241850-6AF6-B194-3F2F-B22FD3258D02}" dt="2020-10-20T06:44:15.809" v="49" actId="20577"/>
        <pc:sldMkLst>
          <pc:docMk/>
          <pc:sldMk cId="2886928943" sldId="393"/>
        </pc:sldMkLst>
        <pc:spChg chg="mod">
          <ac:chgData name="Rakesh Lakshmipathy" userId="S::rakeshl@maveric-systems.com::6050c502-d529-4eba-90b2-5e1eb16aa821" providerId="AD" clId="Web-{12241850-6AF6-B194-3F2F-B22FD3258D02}" dt="2020-10-20T06:44:15.809" v="49" actId="20577"/>
          <ac:spMkLst>
            <pc:docMk/>
            <pc:sldMk cId="2886928943" sldId="393"/>
            <ac:spMk id="3" creationId="{C7B2F0B2-C071-487D-B2F3-71F6AD59E2CA}"/>
          </ac:spMkLst>
        </pc:spChg>
      </pc:sldChg>
      <pc:sldChg chg="modSp">
        <pc:chgData name="Rakesh Lakshmipathy" userId="S::rakeshl@maveric-systems.com::6050c502-d529-4eba-90b2-5e1eb16aa821" providerId="AD" clId="Web-{12241850-6AF6-B194-3F2F-B22FD3258D02}" dt="2020-10-20T06:44:24.059" v="52" actId="20577"/>
        <pc:sldMkLst>
          <pc:docMk/>
          <pc:sldMk cId="2606365400" sldId="394"/>
        </pc:sldMkLst>
        <pc:spChg chg="mod">
          <ac:chgData name="Rakesh Lakshmipathy" userId="S::rakeshl@maveric-systems.com::6050c502-d529-4eba-90b2-5e1eb16aa821" providerId="AD" clId="Web-{12241850-6AF6-B194-3F2F-B22FD3258D02}" dt="2020-10-20T06:44:24.059" v="52" actId="20577"/>
          <ac:spMkLst>
            <pc:docMk/>
            <pc:sldMk cId="2606365400" sldId="394"/>
            <ac:spMk id="3" creationId="{C7B2F0B2-C071-487D-B2F3-71F6AD59E2CA}"/>
          </ac:spMkLst>
        </pc:spChg>
      </pc:sldChg>
      <pc:sldChg chg="modSp">
        <pc:chgData name="Rakesh Lakshmipathy" userId="S::rakeshl@maveric-systems.com::6050c502-d529-4eba-90b2-5e1eb16aa821" providerId="AD" clId="Web-{12241850-6AF6-B194-3F2F-B22FD3258D02}" dt="2020-10-20T06:44:31.246" v="55" actId="20577"/>
        <pc:sldMkLst>
          <pc:docMk/>
          <pc:sldMk cId="28492227" sldId="395"/>
        </pc:sldMkLst>
        <pc:spChg chg="mod">
          <ac:chgData name="Rakesh Lakshmipathy" userId="S::rakeshl@maveric-systems.com::6050c502-d529-4eba-90b2-5e1eb16aa821" providerId="AD" clId="Web-{12241850-6AF6-B194-3F2F-B22FD3258D02}" dt="2020-10-20T06:44:31.246" v="55" actId="20577"/>
          <ac:spMkLst>
            <pc:docMk/>
            <pc:sldMk cId="28492227" sldId="395"/>
            <ac:spMk id="3" creationId="{8CB422CE-0BE8-4F65-9659-E547E56629BD}"/>
          </ac:spMkLst>
        </pc:spChg>
      </pc:sldChg>
      <pc:sldChg chg="modSp">
        <pc:chgData name="Rakesh Lakshmipathy" userId="S::rakeshl@maveric-systems.com::6050c502-d529-4eba-90b2-5e1eb16aa821" providerId="AD" clId="Web-{12241850-6AF6-B194-3F2F-B22FD3258D02}" dt="2020-10-20T06:44:48.012" v="58" actId="20577"/>
        <pc:sldMkLst>
          <pc:docMk/>
          <pc:sldMk cId="663884946" sldId="397"/>
        </pc:sldMkLst>
        <pc:spChg chg="mod">
          <ac:chgData name="Rakesh Lakshmipathy" userId="S::rakeshl@maveric-systems.com::6050c502-d529-4eba-90b2-5e1eb16aa821" providerId="AD" clId="Web-{12241850-6AF6-B194-3F2F-B22FD3258D02}" dt="2020-10-20T06:44:48.012" v="58" actId="20577"/>
          <ac:spMkLst>
            <pc:docMk/>
            <pc:sldMk cId="663884946" sldId="397"/>
            <ac:spMk id="3" creationId="{B8488F26-D8B4-4DC3-A0F5-2C212591F99E}"/>
          </ac:spMkLst>
        </pc:spChg>
      </pc:sldChg>
      <pc:sldChg chg="modSp">
        <pc:chgData name="Rakesh Lakshmipathy" userId="S::rakeshl@maveric-systems.com::6050c502-d529-4eba-90b2-5e1eb16aa821" providerId="AD" clId="Web-{12241850-6AF6-B194-3F2F-B22FD3258D02}" dt="2020-10-20T06:44:55.403" v="61" actId="20577"/>
        <pc:sldMkLst>
          <pc:docMk/>
          <pc:sldMk cId="1228020704" sldId="398"/>
        </pc:sldMkLst>
        <pc:spChg chg="mod">
          <ac:chgData name="Rakesh Lakshmipathy" userId="S::rakeshl@maveric-systems.com::6050c502-d529-4eba-90b2-5e1eb16aa821" providerId="AD" clId="Web-{12241850-6AF6-B194-3F2F-B22FD3258D02}" dt="2020-10-20T06:44:55.403" v="61" actId="20577"/>
          <ac:spMkLst>
            <pc:docMk/>
            <pc:sldMk cId="1228020704" sldId="398"/>
            <ac:spMk id="3" creationId="{6D58D564-D497-4BC8-B85D-CAF0AA07BC4E}"/>
          </ac:spMkLst>
        </pc:spChg>
      </pc:sldChg>
      <pc:sldChg chg="modSp">
        <pc:chgData name="Rakesh Lakshmipathy" userId="S::rakeshl@maveric-systems.com::6050c502-d529-4eba-90b2-5e1eb16aa821" providerId="AD" clId="Web-{12241850-6AF6-B194-3F2F-B22FD3258D02}" dt="2020-10-20T06:45:02.465" v="64" actId="20577"/>
        <pc:sldMkLst>
          <pc:docMk/>
          <pc:sldMk cId="3825303381" sldId="399"/>
        </pc:sldMkLst>
        <pc:spChg chg="mod">
          <ac:chgData name="Rakesh Lakshmipathy" userId="S::rakeshl@maveric-systems.com::6050c502-d529-4eba-90b2-5e1eb16aa821" providerId="AD" clId="Web-{12241850-6AF6-B194-3F2F-B22FD3258D02}" dt="2020-10-20T06:45:02.465" v="64" actId="20577"/>
          <ac:spMkLst>
            <pc:docMk/>
            <pc:sldMk cId="3825303381" sldId="399"/>
            <ac:spMk id="3" creationId="{1F594FE4-AE5C-47C9-8876-E8617E61C744}"/>
          </ac:spMkLst>
        </pc:spChg>
      </pc:sldChg>
      <pc:sldChg chg="modSp">
        <pc:chgData name="Rakesh Lakshmipathy" userId="S::rakeshl@maveric-systems.com::6050c502-d529-4eba-90b2-5e1eb16aa821" providerId="AD" clId="Web-{12241850-6AF6-B194-3F2F-B22FD3258D02}" dt="2020-10-20T06:45:11.606" v="67" actId="20577"/>
        <pc:sldMkLst>
          <pc:docMk/>
          <pc:sldMk cId="3646186606" sldId="400"/>
        </pc:sldMkLst>
        <pc:spChg chg="mod">
          <ac:chgData name="Rakesh Lakshmipathy" userId="S::rakeshl@maveric-systems.com::6050c502-d529-4eba-90b2-5e1eb16aa821" providerId="AD" clId="Web-{12241850-6AF6-B194-3F2F-B22FD3258D02}" dt="2020-10-20T06:45:11.606" v="67" actId="20577"/>
          <ac:spMkLst>
            <pc:docMk/>
            <pc:sldMk cId="3646186606" sldId="400"/>
            <ac:spMk id="3" creationId="{1E244992-97C8-4B58-956F-FC4DAF38B081}"/>
          </ac:spMkLst>
        </pc:spChg>
      </pc:sldChg>
    </pc:docChg>
  </pc:docChgLst>
  <pc:docChgLst>
    <pc:chgData name="Rakesh Lakshmipathy" userId="S::rakeshl@maveric-systems.com::6050c502-d529-4eba-90b2-5e1eb16aa821" providerId="AD" clId="Web-{ED345FCC-8E54-2FE0-C335-D229291A2FB9}"/>
    <pc:docChg chg="modSld">
      <pc:chgData name="Rakesh Lakshmipathy" userId="S::rakeshl@maveric-systems.com::6050c502-d529-4eba-90b2-5e1eb16aa821" providerId="AD" clId="Web-{ED345FCC-8E54-2FE0-C335-D229291A2FB9}" dt="2020-10-19T10:25:09.708" v="220" actId="20577"/>
      <pc:docMkLst>
        <pc:docMk/>
      </pc:docMkLst>
      <pc:sldChg chg="modSp">
        <pc:chgData name="Rakesh Lakshmipathy" userId="S::rakeshl@maveric-systems.com::6050c502-d529-4eba-90b2-5e1eb16aa821" providerId="AD" clId="Web-{ED345FCC-8E54-2FE0-C335-D229291A2FB9}" dt="2020-10-19T10:12:46.424" v="12" actId="20577"/>
        <pc:sldMkLst>
          <pc:docMk/>
          <pc:sldMk cId="2276678590" sldId="375"/>
        </pc:sldMkLst>
        <pc:spChg chg="mod">
          <ac:chgData name="Rakesh Lakshmipathy" userId="S::rakeshl@maveric-systems.com::6050c502-d529-4eba-90b2-5e1eb16aa821" providerId="AD" clId="Web-{ED345FCC-8E54-2FE0-C335-D229291A2FB9}" dt="2020-10-19T10:12:34.174" v="11" actId="20577"/>
          <ac:spMkLst>
            <pc:docMk/>
            <pc:sldMk cId="2276678590" sldId="375"/>
            <ac:spMk id="2" creationId="{DE7F924B-C620-4411-816E-07FF660B406C}"/>
          </ac:spMkLst>
        </pc:spChg>
        <pc:spChg chg="mod">
          <ac:chgData name="Rakesh Lakshmipathy" userId="S::rakeshl@maveric-systems.com::6050c502-d529-4eba-90b2-5e1eb16aa821" providerId="AD" clId="Web-{ED345FCC-8E54-2FE0-C335-D229291A2FB9}" dt="2020-10-19T10:12:46.424" v="12" actId="20577"/>
          <ac:spMkLst>
            <pc:docMk/>
            <pc:sldMk cId="2276678590" sldId="375"/>
            <ac:spMk id="3" creationId="{3A026BAA-8421-4209-ABC2-8A5B6445A1C2}"/>
          </ac:spMkLst>
        </pc:spChg>
        <pc:spChg chg="mod">
          <ac:chgData name="Rakesh Lakshmipathy" userId="S::rakeshl@maveric-systems.com::6050c502-d529-4eba-90b2-5e1eb16aa821" providerId="AD" clId="Web-{ED345FCC-8E54-2FE0-C335-D229291A2FB9}" dt="2020-10-19T10:12:18.674" v="4" actId="20577"/>
          <ac:spMkLst>
            <pc:docMk/>
            <pc:sldMk cId="2276678590" sldId="375"/>
            <ac:spMk id="5" creationId="{3B9D733C-A824-42DA-9E01-5683130F6180}"/>
          </ac:spMkLst>
        </pc:spChg>
      </pc:sldChg>
      <pc:sldChg chg="modSp">
        <pc:chgData name="Rakesh Lakshmipathy" userId="S::rakeshl@maveric-systems.com::6050c502-d529-4eba-90b2-5e1eb16aa821" providerId="AD" clId="Web-{ED345FCC-8E54-2FE0-C335-D229291A2FB9}" dt="2020-10-19T10:13:14.237" v="24" actId="20577"/>
        <pc:sldMkLst>
          <pc:docMk/>
          <pc:sldMk cId="497650310" sldId="376"/>
        </pc:sldMkLst>
        <pc:spChg chg="mod">
          <ac:chgData name="Rakesh Lakshmipathy" userId="S::rakeshl@maveric-systems.com::6050c502-d529-4eba-90b2-5e1eb16aa821" providerId="AD" clId="Web-{ED345FCC-8E54-2FE0-C335-D229291A2FB9}" dt="2020-10-19T10:13:12.127" v="23" actId="20577"/>
          <ac:spMkLst>
            <pc:docMk/>
            <pc:sldMk cId="497650310" sldId="376"/>
            <ac:spMk id="2" creationId="{DE7F924B-C620-4411-816E-07FF660B406C}"/>
          </ac:spMkLst>
        </pc:spChg>
        <pc:spChg chg="mod">
          <ac:chgData name="Rakesh Lakshmipathy" userId="S::rakeshl@maveric-systems.com::6050c502-d529-4eba-90b2-5e1eb16aa821" providerId="AD" clId="Web-{ED345FCC-8E54-2FE0-C335-D229291A2FB9}" dt="2020-10-19T10:13:14.237" v="24" actId="20577"/>
          <ac:spMkLst>
            <pc:docMk/>
            <pc:sldMk cId="497650310" sldId="376"/>
            <ac:spMk id="3" creationId="{3A026BAA-8421-4209-ABC2-8A5B6445A1C2}"/>
          </ac:spMkLst>
        </pc:spChg>
      </pc:sldChg>
      <pc:sldChg chg="modSp">
        <pc:chgData name="Rakesh Lakshmipathy" userId="S::rakeshl@maveric-systems.com::6050c502-d529-4eba-90b2-5e1eb16aa821" providerId="AD" clId="Web-{ED345FCC-8E54-2FE0-C335-D229291A2FB9}" dt="2020-10-19T10:13:21.127" v="28" actId="20577"/>
        <pc:sldMkLst>
          <pc:docMk/>
          <pc:sldMk cId="3414234315" sldId="377"/>
        </pc:sldMkLst>
        <pc:spChg chg="mod">
          <ac:chgData name="Rakesh Lakshmipathy" userId="S::rakeshl@maveric-systems.com::6050c502-d529-4eba-90b2-5e1eb16aa821" providerId="AD" clId="Web-{ED345FCC-8E54-2FE0-C335-D229291A2FB9}" dt="2020-10-19T10:13:17.643" v="27" actId="20577"/>
          <ac:spMkLst>
            <pc:docMk/>
            <pc:sldMk cId="3414234315" sldId="377"/>
            <ac:spMk id="2" creationId="{DE7F924B-C620-4411-816E-07FF660B406C}"/>
          </ac:spMkLst>
        </pc:spChg>
        <pc:spChg chg="mod">
          <ac:chgData name="Rakesh Lakshmipathy" userId="S::rakeshl@maveric-systems.com::6050c502-d529-4eba-90b2-5e1eb16aa821" providerId="AD" clId="Web-{ED345FCC-8E54-2FE0-C335-D229291A2FB9}" dt="2020-10-19T10:13:21.127" v="28" actId="20577"/>
          <ac:spMkLst>
            <pc:docMk/>
            <pc:sldMk cId="3414234315" sldId="377"/>
            <ac:spMk id="3" creationId="{3A026BAA-8421-4209-ABC2-8A5B6445A1C2}"/>
          </ac:spMkLst>
        </pc:spChg>
      </pc:sldChg>
      <pc:sldChg chg="modSp">
        <pc:chgData name="Rakesh Lakshmipathy" userId="S::rakeshl@maveric-systems.com::6050c502-d529-4eba-90b2-5e1eb16aa821" providerId="AD" clId="Web-{ED345FCC-8E54-2FE0-C335-D229291A2FB9}" dt="2020-10-19T10:13:07.080" v="20" actId="20577"/>
        <pc:sldMkLst>
          <pc:docMk/>
          <pc:sldMk cId="2610125523" sldId="382"/>
        </pc:sldMkLst>
        <pc:spChg chg="mod">
          <ac:chgData name="Rakesh Lakshmipathy" userId="S::rakeshl@maveric-systems.com::6050c502-d529-4eba-90b2-5e1eb16aa821" providerId="AD" clId="Web-{ED345FCC-8E54-2FE0-C335-D229291A2FB9}" dt="2020-10-19T10:12:52.158" v="15" actId="20577"/>
          <ac:spMkLst>
            <pc:docMk/>
            <pc:sldMk cId="2610125523" sldId="382"/>
            <ac:spMk id="3" creationId="{3A026BAA-8421-4209-ABC2-8A5B6445A1C2}"/>
          </ac:spMkLst>
        </pc:spChg>
        <pc:spChg chg="mod">
          <ac:chgData name="Rakesh Lakshmipathy" userId="S::rakeshl@maveric-systems.com::6050c502-d529-4eba-90b2-5e1eb16aa821" providerId="AD" clId="Web-{ED345FCC-8E54-2FE0-C335-D229291A2FB9}" dt="2020-10-19T10:13:07.080" v="20" actId="20577"/>
          <ac:spMkLst>
            <pc:docMk/>
            <pc:sldMk cId="2610125523" sldId="382"/>
            <ac:spMk id="5" creationId="{041D25AE-467D-469E-B66E-073CB3BE2519}"/>
          </ac:spMkLst>
        </pc:spChg>
      </pc:sldChg>
      <pc:sldChg chg="modSp">
        <pc:chgData name="Rakesh Lakshmipathy" userId="S::rakeshl@maveric-systems.com::6050c502-d529-4eba-90b2-5e1eb16aa821" providerId="AD" clId="Web-{ED345FCC-8E54-2FE0-C335-D229291A2FB9}" dt="2020-10-19T10:13:30.830" v="37" actId="20577"/>
        <pc:sldMkLst>
          <pc:docMk/>
          <pc:sldMk cId="3167450862" sldId="383"/>
        </pc:sldMkLst>
        <pc:spChg chg="mod">
          <ac:chgData name="Rakesh Lakshmipathy" userId="S::rakeshl@maveric-systems.com::6050c502-d529-4eba-90b2-5e1eb16aa821" providerId="AD" clId="Web-{ED345FCC-8E54-2FE0-C335-D229291A2FB9}" dt="2020-10-19T10:13:28.174" v="33" actId="20577"/>
          <ac:spMkLst>
            <pc:docMk/>
            <pc:sldMk cId="3167450862" sldId="383"/>
            <ac:spMk id="2" creationId="{7CB9D666-6987-4AAA-9EDE-74105B07065D}"/>
          </ac:spMkLst>
        </pc:spChg>
        <pc:spChg chg="mod">
          <ac:chgData name="Rakesh Lakshmipathy" userId="S::rakeshl@maveric-systems.com::6050c502-d529-4eba-90b2-5e1eb16aa821" providerId="AD" clId="Web-{ED345FCC-8E54-2FE0-C335-D229291A2FB9}" dt="2020-10-19T10:13:30.830" v="37" actId="20577"/>
          <ac:spMkLst>
            <pc:docMk/>
            <pc:sldMk cId="3167450862" sldId="383"/>
            <ac:spMk id="3" creationId="{9D22C5A2-1529-4959-974B-A0503098E08A}"/>
          </ac:spMkLst>
        </pc:spChg>
      </pc:sldChg>
      <pc:sldChg chg="modSp">
        <pc:chgData name="Rakesh Lakshmipathy" userId="S::rakeshl@maveric-systems.com::6050c502-d529-4eba-90b2-5e1eb16aa821" providerId="AD" clId="Web-{ED345FCC-8E54-2FE0-C335-D229291A2FB9}" dt="2020-10-19T10:13:40.143" v="43" actId="20577"/>
        <pc:sldMkLst>
          <pc:docMk/>
          <pc:sldMk cId="1468128168" sldId="384"/>
        </pc:sldMkLst>
        <pc:spChg chg="mod">
          <ac:chgData name="Rakesh Lakshmipathy" userId="S::rakeshl@maveric-systems.com::6050c502-d529-4eba-90b2-5e1eb16aa821" providerId="AD" clId="Web-{ED345FCC-8E54-2FE0-C335-D229291A2FB9}" dt="2020-10-19T10:13:40.143" v="43" actId="20577"/>
          <ac:spMkLst>
            <pc:docMk/>
            <pc:sldMk cId="1468128168" sldId="384"/>
            <ac:spMk id="3" creationId="{BF457E7E-29CE-44D3-9538-EEA78906C3FE}"/>
          </ac:spMkLst>
        </pc:spChg>
        <pc:spChg chg="mod">
          <ac:chgData name="Rakesh Lakshmipathy" userId="S::rakeshl@maveric-systems.com::6050c502-d529-4eba-90b2-5e1eb16aa821" providerId="AD" clId="Web-{ED345FCC-8E54-2FE0-C335-D229291A2FB9}" dt="2020-10-19T10:13:38.081" v="41" actId="20577"/>
          <ac:spMkLst>
            <pc:docMk/>
            <pc:sldMk cId="1468128168" sldId="384"/>
            <ac:spMk id="7" creationId="{0EF2C62E-60B3-466F-83F5-D957A422AC14}"/>
          </ac:spMkLst>
        </pc:spChg>
      </pc:sldChg>
      <pc:sldChg chg="modSp">
        <pc:chgData name="Rakesh Lakshmipathy" userId="S::rakeshl@maveric-systems.com::6050c502-d529-4eba-90b2-5e1eb16aa821" providerId="AD" clId="Web-{ED345FCC-8E54-2FE0-C335-D229291A2FB9}" dt="2020-10-19T10:13:54.471" v="53" actId="20577"/>
        <pc:sldMkLst>
          <pc:docMk/>
          <pc:sldMk cId="1748754695" sldId="385"/>
        </pc:sldMkLst>
        <pc:spChg chg="mod">
          <ac:chgData name="Rakesh Lakshmipathy" userId="S::rakeshl@maveric-systems.com::6050c502-d529-4eba-90b2-5e1eb16aa821" providerId="AD" clId="Web-{ED345FCC-8E54-2FE0-C335-D229291A2FB9}" dt="2020-10-19T10:13:48.440" v="48" actId="20577"/>
          <ac:spMkLst>
            <pc:docMk/>
            <pc:sldMk cId="1748754695" sldId="385"/>
            <ac:spMk id="2" creationId="{E3A695E0-82B6-4232-B8D7-71F0C518642C}"/>
          </ac:spMkLst>
        </pc:spChg>
        <pc:spChg chg="mod">
          <ac:chgData name="Rakesh Lakshmipathy" userId="S::rakeshl@maveric-systems.com::6050c502-d529-4eba-90b2-5e1eb16aa821" providerId="AD" clId="Web-{ED345FCC-8E54-2FE0-C335-D229291A2FB9}" dt="2020-10-19T10:13:54.471" v="53" actId="20577"/>
          <ac:spMkLst>
            <pc:docMk/>
            <pc:sldMk cId="1748754695" sldId="385"/>
            <ac:spMk id="3" creationId="{1DFA2C2C-6DDA-4ED0-BA4A-E215AF8AD668}"/>
          </ac:spMkLst>
        </pc:spChg>
      </pc:sldChg>
      <pc:sldChg chg="modSp">
        <pc:chgData name="Rakesh Lakshmipathy" userId="S::rakeshl@maveric-systems.com::6050c502-d529-4eba-90b2-5e1eb16aa821" providerId="AD" clId="Web-{ED345FCC-8E54-2FE0-C335-D229291A2FB9}" dt="2020-10-19T10:14:09.206" v="60" actId="20577"/>
        <pc:sldMkLst>
          <pc:docMk/>
          <pc:sldMk cId="4259825831" sldId="386"/>
        </pc:sldMkLst>
        <pc:spChg chg="mod">
          <ac:chgData name="Rakesh Lakshmipathy" userId="S::rakeshl@maveric-systems.com::6050c502-d529-4eba-90b2-5e1eb16aa821" providerId="AD" clId="Web-{ED345FCC-8E54-2FE0-C335-D229291A2FB9}" dt="2020-10-19T10:14:06.471" v="57" actId="20577"/>
          <ac:spMkLst>
            <pc:docMk/>
            <pc:sldMk cId="4259825831" sldId="386"/>
            <ac:spMk id="2" creationId="{ED7D8EB6-FA2E-41F8-A725-27B029EB5DBD}"/>
          </ac:spMkLst>
        </pc:spChg>
        <pc:spChg chg="mod">
          <ac:chgData name="Rakesh Lakshmipathy" userId="S::rakeshl@maveric-systems.com::6050c502-d529-4eba-90b2-5e1eb16aa821" providerId="AD" clId="Web-{ED345FCC-8E54-2FE0-C335-D229291A2FB9}" dt="2020-10-19T10:14:09.206" v="60" actId="20577"/>
          <ac:spMkLst>
            <pc:docMk/>
            <pc:sldMk cId="4259825831" sldId="386"/>
            <ac:spMk id="3" creationId="{FBB341BF-A1B3-44BE-9338-684B7484A41C}"/>
          </ac:spMkLst>
        </pc:spChg>
      </pc:sldChg>
      <pc:sldChg chg="modSp">
        <pc:chgData name="Rakesh Lakshmipathy" userId="S::rakeshl@maveric-systems.com::6050c502-d529-4eba-90b2-5e1eb16aa821" providerId="AD" clId="Web-{ED345FCC-8E54-2FE0-C335-D229291A2FB9}" dt="2020-10-19T10:14:28.456" v="70" actId="20577"/>
        <pc:sldMkLst>
          <pc:docMk/>
          <pc:sldMk cId="1189829275" sldId="387"/>
        </pc:sldMkLst>
        <pc:spChg chg="mod">
          <ac:chgData name="Rakesh Lakshmipathy" userId="S::rakeshl@maveric-systems.com::6050c502-d529-4eba-90b2-5e1eb16aa821" providerId="AD" clId="Web-{ED345FCC-8E54-2FE0-C335-D229291A2FB9}" dt="2020-10-19T10:14:28.456" v="70" actId="20577"/>
          <ac:spMkLst>
            <pc:docMk/>
            <pc:sldMk cId="1189829275" sldId="387"/>
            <ac:spMk id="2" creationId="{6987F35B-5643-480D-95D9-811BA86C206C}"/>
          </ac:spMkLst>
        </pc:spChg>
      </pc:sldChg>
      <pc:sldChg chg="modSp">
        <pc:chgData name="Rakesh Lakshmipathy" userId="S::rakeshl@maveric-systems.com::6050c502-d529-4eba-90b2-5e1eb16aa821" providerId="AD" clId="Web-{ED345FCC-8E54-2FE0-C335-D229291A2FB9}" dt="2020-10-19T10:14:46.503" v="81" actId="20577"/>
        <pc:sldMkLst>
          <pc:docMk/>
          <pc:sldMk cId="3663969159" sldId="388"/>
        </pc:sldMkLst>
        <pc:spChg chg="mod">
          <ac:chgData name="Rakesh Lakshmipathy" userId="S::rakeshl@maveric-systems.com::6050c502-d529-4eba-90b2-5e1eb16aa821" providerId="AD" clId="Web-{ED345FCC-8E54-2FE0-C335-D229291A2FB9}" dt="2020-10-19T10:14:46.503" v="81" actId="20577"/>
          <ac:spMkLst>
            <pc:docMk/>
            <pc:sldMk cId="3663969159" sldId="388"/>
            <ac:spMk id="2" creationId="{E14C2071-8064-49DA-AF3B-442039B9338C}"/>
          </ac:spMkLst>
        </pc:spChg>
      </pc:sldChg>
      <pc:sldChg chg="modSp">
        <pc:chgData name="Rakesh Lakshmipathy" userId="S::rakeshl@maveric-systems.com::6050c502-d529-4eba-90b2-5e1eb16aa821" providerId="AD" clId="Web-{ED345FCC-8E54-2FE0-C335-D229291A2FB9}" dt="2020-10-19T10:15:02.581" v="90" actId="20577"/>
        <pc:sldMkLst>
          <pc:docMk/>
          <pc:sldMk cId="1715610882" sldId="389"/>
        </pc:sldMkLst>
        <pc:spChg chg="mod">
          <ac:chgData name="Rakesh Lakshmipathy" userId="S::rakeshl@maveric-systems.com::6050c502-d529-4eba-90b2-5e1eb16aa821" providerId="AD" clId="Web-{ED345FCC-8E54-2FE0-C335-D229291A2FB9}" dt="2020-10-19T10:15:02.581" v="90" actId="20577"/>
          <ac:spMkLst>
            <pc:docMk/>
            <pc:sldMk cId="1715610882" sldId="389"/>
            <ac:spMk id="2" creationId="{04EAE4A3-A14B-472B-AA59-22414DC38381}"/>
          </ac:spMkLst>
        </pc:spChg>
      </pc:sldChg>
      <pc:sldChg chg="modSp">
        <pc:chgData name="Rakesh Lakshmipathy" userId="S::rakeshl@maveric-systems.com::6050c502-d529-4eba-90b2-5e1eb16aa821" providerId="AD" clId="Web-{ED345FCC-8E54-2FE0-C335-D229291A2FB9}" dt="2020-10-19T10:15:30.331" v="109" actId="20577"/>
        <pc:sldMkLst>
          <pc:docMk/>
          <pc:sldMk cId="2289401578" sldId="390"/>
        </pc:sldMkLst>
        <pc:spChg chg="mod">
          <ac:chgData name="Rakesh Lakshmipathy" userId="S::rakeshl@maveric-systems.com::6050c502-d529-4eba-90b2-5e1eb16aa821" providerId="AD" clId="Web-{ED345FCC-8E54-2FE0-C335-D229291A2FB9}" dt="2020-10-19T10:15:07.878" v="94" actId="20577"/>
          <ac:spMkLst>
            <pc:docMk/>
            <pc:sldMk cId="2289401578" sldId="390"/>
            <ac:spMk id="2" creationId="{D0971AFC-65AF-45B5-B0DA-04ED94C533A8}"/>
          </ac:spMkLst>
        </pc:spChg>
        <pc:spChg chg="mod">
          <ac:chgData name="Rakesh Lakshmipathy" userId="S::rakeshl@maveric-systems.com::6050c502-d529-4eba-90b2-5e1eb16aa821" providerId="AD" clId="Web-{ED345FCC-8E54-2FE0-C335-D229291A2FB9}" dt="2020-10-19T10:15:30.331" v="109" actId="20577"/>
          <ac:spMkLst>
            <pc:docMk/>
            <pc:sldMk cId="2289401578" sldId="390"/>
            <ac:spMk id="3" creationId="{447F2E54-8B9E-4C6C-8E8C-3DDFC162E2E6}"/>
          </ac:spMkLst>
        </pc:spChg>
      </pc:sldChg>
      <pc:sldChg chg="modSp">
        <pc:chgData name="Rakesh Lakshmipathy" userId="S::rakeshl@maveric-systems.com::6050c502-d529-4eba-90b2-5e1eb16aa821" providerId="AD" clId="Web-{ED345FCC-8E54-2FE0-C335-D229291A2FB9}" dt="2020-10-19T10:15:14.893" v="100" actId="20577"/>
        <pc:sldMkLst>
          <pc:docMk/>
          <pc:sldMk cId="2364483620" sldId="391"/>
        </pc:sldMkLst>
        <pc:spChg chg="mod">
          <ac:chgData name="Rakesh Lakshmipathy" userId="S::rakeshl@maveric-systems.com::6050c502-d529-4eba-90b2-5e1eb16aa821" providerId="AD" clId="Web-{ED345FCC-8E54-2FE0-C335-D229291A2FB9}" dt="2020-10-19T10:15:11.862" v="98" actId="20577"/>
          <ac:spMkLst>
            <pc:docMk/>
            <pc:sldMk cId="2364483620" sldId="391"/>
            <ac:spMk id="2" creationId="{55CD59C9-1E8A-43F3-BAF4-6246FA5BC76D}"/>
          </ac:spMkLst>
        </pc:spChg>
        <pc:spChg chg="mod">
          <ac:chgData name="Rakesh Lakshmipathy" userId="S::rakeshl@maveric-systems.com::6050c502-d529-4eba-90b2-5e1eb16aa821" providerId="AD" clId="Web-{ED345FCC-8E54-2FE0-C335-D229291A2FB9}" dt="2020-10-19T10:15:14.893" v="100" actId="20577"/>
          <ac:spMkLst>
            <pc:docMk/>
            <pc:sldMk cId="2364483620" sldId="391"/>
            <ac:spMk id="3" creationId="{D9B546C1-363F-426E-8AE8-9342F8C415C1}"/>
          </ac:spMkLst>
        </pc:spChg>
      </pc:sldChg>
      <pc:sldChg chg="modSp">
        <pc:chgData name="Rakesh Lakshmipathy" userId="S::rakeshl@maveric-systems.com::6050c502-d529-4eba-90b2-5e1eb16aa821" providerId="AD" clId="Web-{ED345FCC-8E54-2FE0-C335-D229291A2FB9}" dt="2020-10-19T10:15:46.659" v="117" actId="20577"/>
        <pc:sldMkLst>
          <pc:docMk/>
          <pc:sldMk cId="3903126931" sldId="392"/>
        </pc:sldMkLst>
        <pc:spChg chg="mod">
          <ac:chgData name="Rakesh Lakshmipathy" userId="S::rakeshl@maveric-systems.com::6050c502-d529-4eba-90b2-5e1eb16aa821" providerId="AD" clId="Web-{ED345FCC-8E54-2FE0-C335-D229291A2FB9}" dt="2020-10-19T10:15:44.159" v="115" actId="20577"/>
          <ac:spMkLst>
            <pc:docMk/>
            <pc:sldMk cId="3903126931" sldId="392"/>
            <ac:spMk id="2" creationId="{42A8FC35-4DCA-4EC4-AA8B-6144BC0DAE26}"/>
          </ac:spMkLst>
        </pc:spChg>
        <pc:spChg chg="mod">
          <ac:chgData name="Rakesh Lakshmipathy" userId="S::rakeshl@maveric-systems.com::6050c502-d529-4eba-90b2-5e1eb16aa821" providerId="AD" clId="Web-{ED345FCC-8E54-2FE0-C335-D229291A2FB9}" dt="2020-10-19T10:15:46.659" v="117" actId="20577"/>
          <ac:spMkLst>
            <pc:docMk/>
            <pc:sldMk cId="3903126931" sldId="392"/>
            <ac:spMk id="3" creationId="{C7B2F0B2-C071-487D-B2F3-71F6AD59E2CA}"/>
          </ac:spMkLst>
        </pc:spChg>
      </pc:sldChg>
      <pc:sldChg chg="modSp">
        <pc:chgData name="Rakesh Lakshmipathy" userId="S::rakeshl@maveric-systems.com::6050c502-d529-4eba-90b2-5e1eb16aa821" providerId="AD" clId="Web-{ED345FCC-8E54-2FE0-C335-D229291A2FB9}" dt="2020-10-19T10:16:01.003" v="126" actId="20577"/>
        <pc:sldMkLst>
          <pc:docMk/>
          <pc:sldMk cId="2886928943" sldId="393"/>
        </pc:sldMkLst>
        <pc:spChg chg="mod">
          <ac:chgData name="Rakesh Lakshmipathy" userId="S::rakeshl@maveric-systems.com::6050c502-d529-4eba-90b2-5e1eb16aa821" providerId="AD" clId="Web-{ED345FCC-8E54-2FE0-C335-D229291A2FB9}" dt="2020-10-19T10:15:57.753" v="124" actId="20577"/>
          <ac:spMkLst>
            <pc:docMk/>
            <pc:sldMk cId="2886928943" sldId="393"/>
            <ac:spMk id="2" creationId="{42A8FC35-4DCA-4EC4-AA8B-6144BC0DAE26}"/>
          </ac:spMkLst>
        </pc:spChg>
        <pc:spChg chg="mod">
          <ac:chgData name="Rakesh Lakshmipathy" userId="S::rakeshl@maveric-systems.com::6050c502-d529-4eba-90b2-5e1eb16aa821" providerId="AD" clId="Web-{ED345FCC-8E54-2FE0-C335-D229291A2FB9}" dt="2020-10-19T10:16:01.003" v="126" actId="20577"/>
          <ac:spMkLst>
            <pc:docMk/>
            <pc:sldMk cId="2886928943" sldId="393"/>
            <ac:spMk id="3" creationId="{C7B2F0B2-C071-487D-B2F3-71F6AD59E2CA}"/>
          </ac:spMkLst>
        </pc:spChg>
      </pc:sldChg>
      <pc:sldChg chg="modSp">
        <pc:chgData name="Rakesh Lakshmipathy" userId="S::rakeshl@maveric-systems.com::6050c502-d529-4eba-90b2-5e1eb16aa821" providerId="AD" clId="Web-{ED345FCC-8E54-2FE0-C335-D229291A2FB9}" dt="2020-10-19T10:23:34.848" v="136" actId="20577"/>
        <pc:sldMkLst>
          <pc:docMk/>
          <pc:sldMk cId="2606365400" sldId="394"/>
        </pc:sldMkLst>
        <pc:spChg chg="mod">
          <ac:chgData name="Rakesh Lakshmipathy" userId="S::rakeshl@maveric-systems.com::6050c502-d529-4eba-90b2-5e1eb16aa821" providerId="AD" clId="Web-{ED345FCC-8E54-2FE0-C335-D229291A2FB9}" dt="2020-10-19T10:23:32.473" v="132" actId="20577"/>
          <ac:spMkLst>
            <pc:docMk/>
            <pc:sldMk cId="2606365400" sldId="394"/>
            <ac:spMk id="2" creationId="{42A8FC35-4DCA-4EC4-AA8B-6144BC0DAE26}"/>
          </ac:spMkLst>
        </pc:spChg>
        <pc:spChg chg="mod">
          <ac:chgData name="Rakesh Lakshmipathy" userId="S::rakeshl@maveric-systems.com::6050c502-d529-4eba-90b2-5e1eb16aa821" providerId="AD" clId="Web-{ED345FCC-8E54-2FE0-C335-D229291A2FB9}" dt="2020-10-19T10:23:34.848" v="136" actId="20577"/>
          <ac:spMkLst>
            <pc:docMk/>
            <pc:sldMk cId="2606365400" sldId="394"/>
            <ac:spMk id="3" creationId="{C7B2F0B2-C071-487D-B2F3-71F6AD59E2CA}"/>
          </ac:spMkLst>
        </pc:spChg>
      </pc:sldChg>
      <pc:sldChg chg="modSp">
        <pc:chgData name="Rakesh Lakshmipathy" userId="S::rakeshl@maveric-systems.com::6050c502-d529-4eba-90b2-5e1eb16aa821" providerId="AD" clId="Web-{ED345FCC-8E54-2FE0-C335-D229291A2FB9}" dt="2020-10-19T10:23:50.473" v="145" actId="20577"/>
        <pc:sldMkLst>
          <pc:docMk/>
          <pc:sldMk cId="28492227" sldId="395"/>
        </pc:sldMkLst>
        <pc:spChg chg="mod">
          <ac:chgData name="Rakesh Lakshmipathy" userId="S::rakeshl@maveric-systems.com::6050c502-d529-4eba-90b2-5e1eb16aa821" providerId="AD" clId="Web-{ED345FCC-8E54-2FE0-C335-D229291A2FB9}" dt="2020-10-19T10:23:50.473" v="145" actId="20577"/>
          <ac:spMkLst>
            <pc:docMk/>
            <pc:sldMk cId="28492227" sldId="395"/>
            <ac:spMk id="2" creationId="{261370F0-C933-45C1-8189-12F6C67523D0}"/>
          </ac:spMkLst>
        </pc:spChg>
        <pc:spChg chg="mod">
          <ac:chgData name="Rakesh Lakshmipathy" userId="S::rakeshl@maveric-systems.com::6050c502-d529-4eba-90b2-5e1eb16aa821" providerId="AD" clId="Web-{ED345FCC-8E54-2FE0-C335-D229291A2FB9}" dt="2020-10-19T10:23:38.208" v="138" actId="20577"/>
          <ac:spMkLst>
            <pc:docMk/>
            <pc:sldMk cId="28492227" sldId="395"/>
            <ac:spMk id="3" creationId="{8CB422CE-0BE8-4F65-9659-E547E56629BD}"/>
          </ac:spMkLst>
        </pc:spChg>
      </pc:sldChg>
      <pc:sldChg chg="modSp">
        <pc:chgData name="Rakesh Lakshmipathy" userId="S::rakeshl@maveric-systems.com::6050c502-d529-4eba-90b2-5e1eb16aa821" providerId="AD" clId="Web-{ED345FCC-8E54-2FE0-C335-D229291A2FB9}" dt="2020-10-19T10:23:58.614" v="151" actId="20577"/>
        <pc:sldMkLst>
          <pc:docMk/>
          <pc:sldMk cId="3975010555" sldId="396"/>
        </pc:sldMkLst>
        <pc:spChg chg="mod">
          <ac:chgData name="Rakesh Lakshmipathy" userId="S::rakeshl@maveric-systems.com::6050c502-d529-4eba-90b2-5e1eb16aa821" providerId="AD" clId="Web-{ED345FCC-8E54-2FE0-C335-D229291A2FB9}" dt="2020-10-19T10:23:56.723" v="149" actId="20577"/>
          <ac:spMkLst>
            <pc:docMk/>
            <pc:sldMk cId="3975010555" sldId="396"/>
            <ac:spMk id="2" creationId="{8850BA58-206D-4AF7-AA88-48ACE38EA83A}"/>
          </ac:spMkLst>
        </pc:spChg>
        <pc:spChg chg="mod">
          <ac:chgData name="Rakesh Lakshmipathy" userId="S::rakeshl@maveric-systems.com::6050c502-d529-4eba-90b2-5e1eb16aa821" providerId="AD" clId="Web-{ED345FCC-8E54-2FE0-C335-D229291A2FB9}" dt="2020-10-19T10:23:58.614" v="151" actId="20577"/>
          <ac:spMkLst>
            <pc:docMk/>
            <pc:sldMk cId="3975010555" sldId="396"/>
            <ac:spMk id="3" creationId="{B8488F26-D8B4-4DC3-A0F5-2C212591F99E}"/>
          </ac:spMkLst>
        </pc:spChg>
      </pc:sldChg>
      <pc:sldChg chg="modSp">
        <pc:chgData name="Rakesh Lakshmipathy" userId="S::rakeshl@maveric-systems.com::6050c502-d529-4eba-90b2-5e1eb16aa821" providerId="AD" clId="Web-{ED345FCC-8E54-2FE0-C335-D229291A2FB9}" dt="2020-10-19T10:24:08.739" v="158" actId="20577"/>
        <pc:sldMkLst>
          <pc:docMk/>
          <pc:sldMk cId="663884946" sldId="397"/>
        </pc:sldMkLst>
        <pc:spChg chg="mod">
          <ac:chgData name="Rakesh Lakshmipathy" userId="S::rakeshl@maveric-systems.com::6050c502-d529-4eba-90b2-5e1eb16aa821" providerId="AD" clId="Web-{ED345FCC-8E54-2FE0-C335-D229291A2FB9}" dt="2020-10-19T10:24:06.239" v="156" actId="20577"/>
          <ac:spMkLst>
            <pc:docMk/>
            <pc:sldMk cId="663884946" sldId="397"/>
            <ac:spMk id="2" creationId="{8850BA58-206D-4AF7-AA88-48ACE38EA83A}"/>
          </ac:spMkLst>
        </pc:spChg>
        <pc:spChg chg="mod">
          <ac:chgData name="Rakesh Lakshmipathy" userId="S::rakeshl@maveric-systems.com::6050c502-d529-4eba-90b2-5e1eb16aa821" providerId="AD" clId="Web-{ED345FCC-8E54-2FE0-C335-D229291A2FB9}" dt="2020-10-19T10:24:08.739" v="158" actId="20577"/>
          <ac:spMkLst>
            <pc:docMk/>
            <pc:sldMk cId="663884946" sldId="397"/>
            <ac:spMk id="3" creationId="{B8488F26-D8B4-4DC3-A0F5-2C212591F99E}"/>
          </ac:spMkLst>
        </pc:spChg>
      </pc:sldChg>
      <pc:sldChg chg="modSp">
        <pc:chgData name="Rakesh Lakshmipathy" userId="S::rakeshl@maveric-systems.com::6050c502-d529-4eba-90b2-5e1eb16aa821" providerId="AD" clId="Web-{ED345FCC-8E54-2FE0-C335-D229291A2FB9}" dt="2020-10-19T10:24:20.661" v="165" actId="20577"/>
        <pc:sldMkLst>
          <pc:docMk/>
          <pc:sldMk cId="1228020704" sldId="398"/>
        </pc:sldMkLst>
        <pc:spChg chg="mod">
          <ac:chgData name="Rakesh Lakshmipathy" userId="S::rakeshl@maveric-systems.com::6050c502-d529-4eba-90b2-5e1eb16aa821" providerId="AD" clId="Web-{ED345FCC-8E54-2FE0-C335-D229291A2FB9}" dt="2020-10-19T10:24:16.583" v="163" actId="20577"/>
          <ac:spMkLst>
            <pc:docMk/>
            <pc:sldMk cId="1228020704" sldId="398"/>
            <ac:spMk id="2" creationId="{0891CA08-0477-4333-95A9-90FAD43E3CE9}"/>
          </ac:spMkLst>
        </pc:spChg>
        <pc:spChg chg="mod">
          <ac:chgData name="Rakesh Lakshmipathy" userId="S::rakeshl@maveric-systems.com::6050c502-d529-4eba-90b2-5e1eb16aa821" providerId="AD" clId="Web-{ED345FCC-8E54-2FE0-C335-D229291A2FB9}" dt="2020-10-19T10:24:20.661" v="165" actId="20577"/>
          <ac:spMkLst>
            <pc:docMk/>
            <pc:sldMk cId="1228020704" sldId="398"/>
            <ac:spMk id="3" creationId="{6D58D564-D497-4BC8-B85D-CAF0AA07BC4E}"/>
          </ac:spMkLst>
        </pc:spChg>
      </pc:sldChg>
      <pc:sldChg chg="modSp">
        <pc:chgData name="Rakesh Lakshmipathy" userId="S::rakeshl@maveric-systems.com::6050c502-d529-4eba-90b2-5e1eb16aa821" providerId="AD" clId="Web-{ED345FCC-8E54-2FE0-C335-D229291A2FB9}" dt="2020-10-19T10:24:34.270" v="172" actId="20577"/>
        <pc:sldMkLst>
          <pc:docMk/>
          <pc:sldMk cId="3825303381" sldId="399"/>
        </pc:sldMkLst>
        <pc:spChg chg="mod">
          <ac:chgData name="Rakesh Lakshmipathy" userId="S::rakeshl@maveric-systems.com::6050c502-d529-4eba-90b2-5e1eb16aa821" providerId="AD" clId="Web-{ED345FCC-8E54-2FE0-C335-D229291A2FB9}" dt="2020-10-19T10:24:31.880" v="170" actId="20577"/>
          <ac:spMkLst>
            <pc:docMk/>
            <pc:sldMk cId="3825303381" sldId="399"/>
            <ac:spMk id="2" creationId="{3E90449F-C959-4D43-95BC-D565C8D23542}"/>
          </ac:spMkLst>
        </pc:spChg>
        <pc:spChg chg="mod">
          <ac:chgData name="Rakesh Lakshmipathy" userId="S::rakeshl@maveric-systems.com::6050c502-d529-4eba-90b2-5e1eb16aa821" providerId="AD" clId="Web-{ED345FCC-8E54-2FE0-C335-D229291A2FB9}" dt="2020-10-19T10:24:34.270" v="172" actId="20577"/>
          <ac:spMkLst>
            <pc:docMk/>
            <pc:sldMk cId="3825303381" sldId="399"/>
            <ac:spMk id="3" creationId="{1F594FE4-AE5C-47C9-8876-E8617E61C744}"/>
          </ac:spMkLst>
        </pc:spChg>
      </pc:sldChg>
      <pc:sldChg chg="modSp">
        <pc:chgData name="Rakesh Lakshmipathy" userId="S::rakeshl@maveric-systems.com::6050c502-d529-4eba-90b2-5e1eb16aa821" providerId="AD" clId="Web-{ED345FCC-8E54-2FE0-C335-D229291A2FB9}" dt="2020-10-19T10:25:08.817" v="219" actId="20577"/>
        <pc:sldMkLst>
          <pc:docMk/>
          <pc:sldMk cId="3646186606" sldId="400"/>
        </pc:sldMkLst>
        <pc:spChg chg="mod">
          <ac:chgData name="Rakesh Lakshmipathy" userId="S::rakeshl@maveric-systems.com::6050c502-d529-4eba-90b2-5e1eb16aa821" providerId="AD" clId="Web-{ED345FCC-8E54-2FE0-C335-D229291A2FB9}" dt="2020-10-19T10:25:08.817" v="219" actId="20577"/>
          <ac:spMkLst>
            <pc:docMk/>
            <pc:sldMk cId="3646186606" sldId="400"/>
            <ac:spMk id="3" creationId="{1E244992-97C8-4B58-956F-FC4DAF38B081}"/>
          </ac:spMkLst>
        </pc:spChg>
        <pc:spChg chg="mod">
          <ac:chgData name="Rakesh Lakshmipathy" userId="S::rakeshl@maveric-systems.com::6050c502-d529-4eba-90b2-5e1eb16aa821" providerId="AD" clId="Web-{ED345FCC-8E54-2FE0-C335-D229291A2FB9}" dt="2020-10-19T10:24:52.099" v="176" actId="1076"/>
          <ac:spMkLst>
            <pc:docMk/>
            <pc:sldMk cId="3646186606" sldId="400"/>
            <ac:spMk id="4" creationId="{A144129E-5D2E-4C36-801A-CCD400C15D24}"/>
          </ac:spMkLst>
        </pc:spChg>
        <pc:spChg chg="mod">
          <ac:chgData name="Rakesh Lakshmipathy" userId="S::rakeshl@maveric-systems.com::6050c502-d529-4eba-90b2-5e1eb16aa821" providerId="AD" clId="Web-{ED345FCC-8E54-2FE0-C335-D229291A2FB9}" dt="2020-10-19T10:24:52.146" v="177" actId="1076"/>
          <ac:spMkLst>
            <pc:docMk/>
            <pc:sldMk cId="3646186606" sldId="400"/>
            <ac:spMk id="42" creationId="{026231BB-0FD7-42AA-8585-9D27B50CAED2}"/>
          </ac:spMkLst>
        </pc:spChg>
        <pc:spChg chg="mod">
          <ac:chgData name="Rakesh Lakshmipathy" userId="S::rakeshl@maveric-systems.com::6050c502-d529-4eba-90b2-5e1eb16aa821" providerId="AD" clId="Web-{ED345FCC-8E54-2FE0-C335-D229291A2FB9}" dt="2020-10-19T10:24:52.177" v="178" actId="1076"/>
          <ac:spMkLst>
            <pc:docMk/>
            <pc:sldMk cId="3646186606" sldId="400"/>
            <ac:spMk id="43" creationId="{79313F71-C963-4C7F-BA3F-FC967ED47593}"/>
          </ac:spMkLst>
        </pc:spChg>
        <pc:spChg chg="mod">
          <ac:chgData name="Rakesh Lakshmipathy" userId="S::rakeshl@maveric-systems.com::6050c502-d529-4eba-90b2-5e1eb16aa821" providerId="AD" clId="Web-{ED345FCC-8E54-2FE0-C335-D229291A2FB9}" dt="2020-10-19T10:24:52.224" v="179" actId="1076"/>
          <ac:spMkLst>
            <pc:docMk/>
            <pc:sldMk cId="3646186606" sldId="400"/>
            <ac:spMk id="44" creationId="{0F3B9D84-96B3-4D58-ACB3-C19B2EA49A59}"/>
          </ac:spMkLst>
        </pc:spChg>
        <pc:spChg chg="mod">
          <ac:chgData name="Rakesh Lakshmipathy" userId="S::rakeshl@maveric-systems.com::6050c502-d529-4eba-90b2-5e1eb16aa821" providerId="AD" clId="Web-{ED345FCC-8E54-2FE0-C335-D229291A2FB9}" dt="2020-10-19T10:24:52.255" v="180" actId="1076"/>
          <ac:spMkLst>
            <pc:docMk/>
            <pc:sldMk cId="3646186606" sldId="400"/>
            <ac:spMk id="45" creationId="{611FEA52-D3E8-46F2-A4A6-1A6D5CE39A5B}"/>
          </ac:spMkLst>
        </pc:spChg>
        <pc:spChg chg="mod">
          <ac:chgData name="Rakesh Lakshmipathy" userId="S::rakeshl@maveric-systems.com::6050c502-d529-4eba-90b2-5e1eb16aa821" providerId="AD" clId="Web-{ED345FCC-8E54-2FE0-C335-D229291A2FB9}" dt="2020-10-19T10:24:52.302" v="181" actId="1076"/>
          <ac:spMkLst>
            <pc:docMk/>
            <pc:sldMk cId="3646186606" sldId="400"/>
            <ac:spMk id="46" creationId="{E238A671-AFAD-43C3-B8AF-B2EBFC7049F5}"/>
          </ac:spMkLst>
        </pc:spChg>
        <pc:spChg chg="mod">
          <ac:chgData name="Rakesh Lakshmipathy" userId="S::rakeshl@maveric-systems.com::6050c502-d529-4eba-90b2-5e1eb16aa821" providerId="AD" clId="Web-{ED345FCC-8E54-2FE0-C335-D229291A2FB9}" dt="2020-10-19T10:24:52.333" v="182" actId="1076"/>
          <ac:spMkLst>
            <pc:docMk/>
            <pc:sldMk cId="3646186606" sldId="400"/>
            <ac:spMk id="47" creationId="{8C99F02F-C6EB-4698-BF57-F3AC295D0931}"/>
          </ac:spMkLst>
        </pc:spChg>
        <pc:spChg chg="mod">
          <ac:chgData name="Rakesh Lakshmipathy" userId="S::rakeshl@maveric-systems.com::6050c502-d529-4eba-90b2-5e1eb16aa821" providerId="AD" clId="Web-{ED345FCC-8E54-2FE0-C335-D229291A2FB9}" dt="2020-10-19T10:24:52.380" v="183" actId="1076"/>
          <ac:spMkLst>
            <pc:docMk/>
            <pc:sldMk cId="3646186606" sldId="400"/>
            <ac:spMk id="48" creationId="{317954F9-AE47-4409-8B60-7AF4B45EF0D6}"/>
          </ac:spMkLst>
        </pc:spChg>
        <pc:spChg chg="mod">
          <ac:chgData name="Rakesh Lakshmipathy" userId="S::rakeshl@maveric-systems.com::6050c502-d529-4eba-90b2-5e1eb16aa821" providerId="AD" clId="Web-{ED345FCC-8E54-2FE0-C335-D229291A2FB9}" dt="2020-10-19T10:24:52.427" v="184" actId="1076"/>
          <ac:spMkLst>
            <pc:docMk/>
            <pc:sldMk cId="3646186606" sldId="400"/>
            <ac:spMk id="49" creationId="{133C4895-2CCB-4412-B8AC-E4C9CA97E416}"/>
          </ac:spMkLst>
        </pc:spChg>
        <pc:spChg chg="mod">
          <ac:chgData name="Rakesh Lakshmipathy" userId="S::rakeshl@maveric-systems.com::6050c502-d529-4eba-90b2-5e1eb16aa821" providerId="AD" clId="Web-{ED345FCC-8E54-2FE0-C335-D229291A2FB9}" dt="2020-10-19T10:24:52.458" v="185" actId="1076"/>
          <ac:spMkLst>
            <pc:docMk/>
            <pc:sldMk cId="3646186606" sldId="400"/>
            <ac:spMk id="50" creationId="{62016C55-5762-4E4C-AA57-A49D59058B8D}"/>
          </ac:spMkLst>
        </pc:spChg>
        <pc:spChg chg="mod">
          <ac:chgData name="Rakesh Lakshmipathy" userId="S::rakeshl@maveric-systems.com::6050c502-d529-4eba-90b2-5e1eb16aa821" providerId="AD" clId="Web-{ED345FCC-8E54-2FE0-C335-D229291A2FB9}" dt="2020-10-19T10:24:52.489" v="186" actId="1076"/>
          <ac:spMkLst>
            <pc:docMk/>
            <pc:sldMk cId="3646186606" sldId="400"/>
            <ac:spMk id="51" creationId="{41BCB0F3-FF5B-46EA-9327-E1C48A542FF5}"/>
          </ac:spMkLst>
        </pc:spChg>
        <pc:spChg chg="mod">
          <ac:chgData name="Rakesh Lakshmipathy" userId="S::rakeshl@maveric-systems.com::6050c502-d529-4eba-90b2-5e1eb16aa821" providerId="AD" clId="Web-{ED345FCC-8E54-2FE0-C335-D229291A2FB9}" dt="2020-10-19T10:24:52.599" v="189" actId="1076"/>
          <ac:spMkLst>
            <pc:docMk/>
            <pc:sldMk cId="3646186606" sldId="400"/>
            <ac:spMk id="54" creationId="{E5F1ED7C-26EA-418B-956A-C5CE4F1BA629}"/>
          </ac:spMkLst>
        </pc:spChg>
        <pc:spChg chg="mod">
          <ac:chgData name="Rakesh Lakshmipathy" userId="S::rakeshl@maveric-systems.com::6050c502-d529-4eba-90b2-5e1eb16aa821" providerId="AD" clId="Web-{ED345FCC-8E54-2FE0-C335-D229291A2FB9}" dt="2020-10-19T10:24:52.646" v="190" actId="1076"/>
          <ac:spMkLst>
            <pc:docMk/>
            <pc:sldMk cId="3646186606" sldId="400"/>
            <ac:spMk id="55" creationId="{A679BB17-3117-48DF-9EED-6726FCCD4C0B}"/>
          </ac:spMkLst>
        </pc:spChg>
        <pc:spChg chg="mod">
          <ac:chgData name="Rakesh Lakshmipathy" userId="S::rakeshl@maveric-systems.com::6050c502-d529-4eba-90b2-5e1eb16aa821" providerId="AD" clId="Web-{ED345FCC-8E54-2FE0-C335-D229291A2FB9}" dt="2020-10-19T10:24:52.677" v="191" actId="1076"/>
          <ac:spMkLst>
            <pc:docMk/>
            <pc:sldMk cId="3646186606" sldId="400"/>
            <ac:spMk id="56" creationId="{90C1A302-6B8B-46D6-8A3D-EEE53BD6581F}"/>
          </ac:spMkLst>
        </pc:spChg>
        <pc:spChg chg="mod">
          <ac:chgData name="Rakesh Lakshmipathy" userId="S::rakeshl@maveric-systems.com::6050c502-d529-4eba-90b2-5e1eb16aa821" providerId="AD" clId="Web-{ED345FCC-8E54-2FE0-C335-D229291A2FB9}" dt="2020-10-19T10:24:52.724" v="192" actId="1076"/>
          <ac:spMkLst>
            <pc:docMk/>
            <pc:sldMk cId="3646186606" sldId="400"/>
            <ac:spMk id="57" creationId="{FB6CD1A7-919B-4AED-BC6F-6BF25BF32038}"/>
          </ac:spMkLst>
        </pc:spChg>
        <pc:spChg chg="mod">
          <ac:chgData name="Rakesh Lakshmipathy" userId="S::rakeshl@maveric-systems.com::6050c502-d529-4eba-90b2-5e1eb16aa821" providerId="AD" clId="Web-{ED345FCC-8E54-2FE0-C335-D229291A2FB9}" dt="2020-10-19T10:24:52.755" v="193" actId="1076"/>
          <ac:spMkLst>
            <pc:docMk/>
            <pc:sldMk cId="3646186606" sldId="400"/>
            <ac:spMk id="58" creationId="{D7B66236-5A70-44DE-AC48-99C4C8BEFB54}"/>
          </ac:spMkLst>
        </pc:spChg>
        <pc:spChg chg="mod">
          <ac:chgData name="Rakesh Lakshmipathy" userId="S::rakeshl@maveric-systems.com::6050c502-d529-4eba-90b2-5e1eb16aa821" providerId="AD" clId="Web-{ED345FCC-8E54-2FE0-C335-D229291A2FB9}" dt="2020-10-19T10:24:52.786" v="194" actId="1076"/>
          <ac:spMkLst>
            <pc:docMk/>
            <pc:sldMk cId="3646186606" sldId="400"/>
            <ac:spMk id="59" creationId="{95C06421-8690-4E6A-A37D-FA49BB934309}"/>
          </ac:spMkLst>
        </pc:spChg>
        <pc:spChg chg="mod">
          <ac:chgData name="Rakesh Lakshmipathy" userId="S::rakeshl@maveric-systems.com::6050c502-d529-4eba-90b2-5e1eb16aa821" providerId="AD" clId="Web-{ED345FCC-8E54-2FE0-C335-D229291A2FB9}" dt="2020-10-19T10:24:52.833" v="195" actId="1076"/>
          <ac:spMkLst>
            <pc:docMk/>
            <pc:sldMk cId="3646186606" sldId="400"/>
            <ac:spMk id="60" creationId="{57D8BE1E-D63C-4811-B43A-D779864894E7}"/>
          </ac:spMkLst>
        </pc:spChg>
        <pc:spChg chg="mod">
          <ac:chgData name="Rakesh Lakshmipathy" userId="S::rakeshl@maveric-systems.com::6050c502-d529-4eba-90b2-5e1eb16aa821" providerId="AD" clId="Web-{ED345FCC-8E54-2FE0-C335-D229291A2FB9}" dt="2020-10-19T10:24:52.880" v="196" actId="1076"/>
          <ac:spMkLst>
            <pc:docMk/>
            <pc:sldMk cId="3646186606" sldId="400"/>
            <ac:spMk id="61" creationId="{2C8BFA5C-C049-4220-9447-AA7A910F207A}"/>
          </ac:spMkLst>
        </pc:spChg>
        <pc:spChg chg="mod">
          <ac:chgData name="Rakesh Lakshmipathy" userId="S::rakeshl@maveric-systems.com::6050c502-d529-4eba-90b2-5e1eb16aa821" providerId="AD" clId="Web-{ED345FCC-8E54-2FE0-C335-D229291A2FB9}" dt="2020-10-19T10:24:53.474" v="212" actId="1076"/>
          <ac:spMkLst>
            <pc:docMk/>
            <pc:sldMk cId="3646186606" sldId="400"/>
            <ac:spMk id="77" creationId="{BBE1AF79-18C3-419F-8E6E-5BCC002F569C}"/>
          </ac:spMkLst>
        </pc:spChg>
        <pc:cxnChg chg="mod">
          <ac:chgData name="Rakesh Lakshmipathy" userId="S::rakeshl@maveric-systems.com::6050c502-d529-4eba-90b2-5e1eb16aa821" providerId="AD" clId="Web-{ED345FCC-8E54-2FE0-C335-D229291A2FB9}" dt="2020-10-19T10:24:52.536" v="187" actId="1076"/>
          <ac:cxnSpMkLst>
            <pc:docMk/>
            <pc:sldMk cId="3646186606" sldId="400"/>
            <ac:cxnSpMk id="52" creationId="{9F5445E9-2EF3-400C-BCC9-394B157FE6CC}"/>
          </ac:cxnSpMkLst>
        </pc:cxnChg>
        <pc:cxnChg chg="mod">
          <ac:chgData name="Rakesh Lakshmipathy" userId="S::rakeshl@maveric-systems.com::6050c502-d529-4eba-90b2-5e1eb16aa821" providerId="AD" clId="Web-{ED345FCC-8E54-2FE0-C335-D229291A2FB9}" dt="2020-10-19T10:24:52.567" v="188" actId="1076"/>
          <ac:cxnSpMkLst>
            <pc:docMk/>
            <pc:sldMk cId="3646186606" sldId="400"/>
            <ac:cxnSpMk id="53" creationId="{2C7DE36A-1F61-4B20-BE43-97ED99BE5293}"/>
          </ac:cxnSpMkLst>
        </pc:cxnChg>
        <pc:cxnChg chg="mod">
          <ac:chgData name="Rakesh Lakshmipathy" userId="S::rakeshl@maveric-systems.com::6050c502-d529-4eba-90b2-5e1eb16aa821" providerId="AD" clId="Web-{ED345FCC-8E54-2FE0-C335-D229291A2FB9}" dt="2020-10-19T10:24:52.911" v="197" actId="1076"/>
          <ac:cxnSpMkLst>
            <pc:docMk/>
            <pc:sldMk cId="3646186606" sldId="400"/>
            <ac:cxnSpMk id="62" creationId="{C1BFEEB3-D6B1-44C5-B9E5-8373747AF5A9}"/>
          </ac:cxnSpMkLst>
        </pc:cxnChg>
        <pc:cxnChg chg="mod">
          <ac:chgData name="Rakesh Lakshmipathy" userId="S::rakeshl@maveric-systems.com::6050c502-d529-4eba-90b2-5e1eb16aa821" providerId="AD" clId="Web-{ED345FCC-8E54-2FE0-C335-D229291A2FB9}" dt="2020-10-19T10:24:52.942" v="198" actId="1076"/>
          <ac:cxnSpMkLst>
            <pc:docMk/>
            <pc:sldMk cId="3646186606" sldId="400"/>
            <ac:cxnSpMk id="63" creationId="{E350EF48-0869-4242-A0B8-6C90A4613165}"/>
          </ac:cxnSpMkLst>
        </pc:cxnChg>
        <pc:cxnChg chg="mod">
          <ac:chgData name="Rakesh Lakshmipathy" userId="S::rakeshl@maveric-systems.com::6050c502-d529-4eba-90b2-5e1eb16aa821" providerId="AD" clId="Web-{ED345FCC-8E54-2FE0-C335-D229291A2FB9}" dt="2020-10-19T10:24:52.989" v="199" actId="1076"/>
          <ac:cxnSpMkLst>
            <pc:docMk/>
            <pc:sldMk cId="3646186606" sldId="400"/>
            <ac:cxnSpMk id="64" creationId="{910F3B01-7F2E-44C9-8E99-E612181AE4A3}"/>
          </ac:cxnSpMkLst>
        </pc:cxnChg>
        <pc:cxnChg chg="mod">
          <ac:chgData name="Rakesh Lakshmipathy" userId="S::rakeshl@maveric-systems.com::6050c502-d529-4eba-90b2-5e1eb16aa821" providerId="AD" clId="Web-{ED345FCC-8E54-2FE0-C335-D229291A2FB9}" dt="2020-10-19T10:24:53.036" v="200" actId="1076"/>
          <ac:cxnSpMkLst>
            <pc:docMk/>
            <pc:sldMk cId="3646186606" sldId="400"/>
            <ac:cxnSpMk id="65" creationId="{FC039CE7-1D55-4F45-A709-3B690AD8EB6E}"/>
          </ac:cxnSpMkLst>
        </pc:cxnChg>
        <pc:cxnChg chg="mod">
          <ac:chgData name="Rakesh Lakshmipathy" userId="S::rakeshl@maveric-systems.com::6050c502-d529-4eba-90b2-5e1eb16aa821" providerId="AD" clId="Web-{ED345FCC-8E54-2FE0-C335-D229291A2FB9}" dt="2020-10-19T10:24:53.067" v="201" actId="1076"/>
          <ac:cxnSpMkLst>
            <pc:docMk/>
            <pc:sldMk cId="3646186606" sldId="400"/>
            <ac:cxnSpMk id="66" creationId="{36ED2E56-CC03-4CB8-B789-74C1FB24FE45}"/>
          </ac:cxnSpMkLst>
        </pc:cxnChg>
        <pc:cxnChg chg="mod">
          <ac:chgData name="Rakesh Lakshmipathy" userId="S::rakeshl@maveric-systems.com::6050c502-d529-4eba-90b2-5e1eb16aa821" providerId="AD" clId="Web-{ED345FCC-8E54-2FE0-C335-D229291A2FB9}" dt="2020-10-19T10:24:53.114" v="202" actId="1076"/>
          <ac:cxnSpMkLst>
            <pc:docMk/>
            <pc:sldMk cId="3646186606" sldId="400"/>
            <ac:cxnSpMk id="67" creationId="{9ED0A283-B9BA-41FA-A176-AE1FD876816A}"/>
          </ac:cxnSpMkLst>
        </pc:cxnChg>
        <pc:cxnChg chg="mod">
          <ac:chgData name="Rakesh Lakshmipathy" userId="S::rakeshl@maveric-systems.com::6050c502-d529-4eba-90b2-5e1eb16aa821" providerId="AD" clId="Web-{ED345FCC-8E54-2FE0-C335-D229291A2FB9}" dt="2020-10-19T10:24:53.146" v="203" actId="1076"/>
          <ac:cxnSpMkLst>
            <pc:docMk/>
            <pc:sldMk cId="3646186606" sldId="400"/>
            <ac:cxnSpMk id="68" creationId="{DD2341EB-60C6-4D68-9CE9-1B789CAB8ABF}"/>
          </ac:cxnSpMkLst>
        </pc:cxnChg>
        <pc:cxnChg chg="mod">
          <ac:chgData name="Rakesh Lakshmipathy" userId="S::rakeshl@maveric-systems.com::6050c502-d529-4eba-90b2-5e1eb16aa821" providerId="AD" clId="Web-{ED345FCC-8E54-2FE0-C335-D229291A2FB9}" dt="2020-10-19T10:24:53.177" v="204" actId="1076"/>
          <ac:cxnSpMkLst>
            <pc:docMk/>
            <pc:sldMk cId="3646186606" sldId="400"/>
            <ac:cxnSpMk id="69" creationId="{75ED9585-4A79-4E19-AFD6-AAC8C9294B24}"/>
          </ac:cxnSpMkLst>
        </pc:cxnChg>
        <pc:cxnChg chg="mod">
          <ac:chgData name="Rakesh Lakshmipathy" userId="S::rakeshl@maveric-systems.com::6050c502-d529-4eba-90b2-5e1eb16aa821" providerId="AD" clId="Web-{ED345FCC-8E54-2FE0-C335-D229291A2FB9}" dt="2020-10-19T10:24:53.224" v="205" actId="1076"/>
          <ac:cxnSpMkLst>
            <pc:docMk/>
            <pc:sldMk cId="3646186606" sldId="400"/>
            <ac:cxnSpMk id="70" creationId="{A9743BD9-F2C1-439E-A6D8-377B195984FD}"/>
          </ac:cxnSpMkLst>
        </pc:cxnChg>
        <pc:cxnChg chg="mod">
          <ac:chgData name="Rakesh Lakshmipathy" userId="S::rakeshl@maveric-systems.com::6050c502-d529-4eba-90b2-5e1eb16aa821" providerId="AD" clId="Web-{ED345FCC-8E54-2FE0-C335-D229291A2FB9}" dt="2020-10-19T10:24:53.255" v="206" actId="1076"/>
          <ac:cxnSpMkLst>
            <pc:docMk/>
            <pc:sldMk cId="3646186606" sldId="400"/>
            <ac:cxnSpMk id="71" creationId="{F37E95DB-2BAF-4CEE-80A1-DED92EAF1FEA}"/>
          </ac:cxnSpMkLst>
        </pc:cxnChg>
        <pc:cxnChg chg="mod">
          <ac:chgData name="Rakesh Lakshmipathy" userId="S::rakeshl@maveric-systems.com::6050c502-d529-4eba-90b2-5e1eb16aa821" providerId="AD" clId="Web-{ED345FCC-8E54-2FE0-C335-D229291A2FB9}" dt="2020-10-19T10:24:53.286" v="207" actId="1076"/>
          <ac:cxnSpMkLst>
            <pc:docMk/>
            <pc:sldMk cId="3646186606" sldId="400"/>
            <ac:cxnSpMk id="72" creationId="{136049E0-C5E0-4AF8-9B06-88F335AF5B8E}"/>
          </ac:cxnSpMkLst>
        </pc:cxnChg>
        <pc:cxnChg chg="mod">
          <ac:chgData name="Rakesh Lakshmipathy" userId="S::rakeshl@maveric-systems.com::6050c502-d529-4eba-90b2-5e1eb16aa821" providerId="AD" clId="Web-{ED345FCC-8E54-2FE0-C335-D229291A2FB9}" dt="2020-10-19T10:24:53.317" v="208" actId="1076"/>
          <ac:cxnSpMkLst>
            <pc:docMk/>
            <pc:sldMk cId="3646186606" sldId="400"/>
            <ac:cxnSpMk id="73" creationId="{9711E4BA-42C2-406B-BA5B-E5E78D30B981}"/>
          </ac:cxnSpMkLst>
        </pc:cxnChg>
        <pc:cxnChg chg="mod">
          <ac:chgData name="Rakesh Lakshmipathy" userId="S::rakeshl@maveric-systems.com::6050c502-d529-4eba-90b2-5e1eb16aa821" providerId="AD" clId="Web-{ED345FCC-8E54-2FE0-C335-D229291A2FB9}" dt="2020-10-19T10:24:53.364" v="209" actId="1076"/>
          <ac:cxnSpMkLst>
            <pc:docMk/>
            <pc:sldMk cId="3646186606" sldId="400"/>
            <ac:cxnSpMk id="74" creationId="{328917CF-C01A-44F1-84A2-90795505D739}"/>
          </ac:cxnSpMkLst>
        </pc:cxnChg>
        <pc:cxnChg chg="mod">
          <ac:chgData name="Rakesh Lakshmipathy" userId="S::rakeshl@maveric-systems.com::6050c502-d529-4eba-90b2-5e1eb16aa821" providerId="AD" clId="Web-{ED345FCC-8E54-2FE0-C335-D229291A2FB9}" dt="2020-10-19T10:24:53.395" v="210" actId="1076"/>
          <ac:cxnSpMkLst>
            <pc:docMk/>
            <pc:sldMk cId="3646186606" sldId="400"/>
            <ac:cxnSpMk id="75" creationId="{846821B0-5A35-4138-A97F-4CDB75E82293}"/>
          </ac:cxnSpMkLst>
        </pc:cxnChg>
        <pc:cxnChg chg="mod">
          <ac:chgData name="Rakesh Lakshmipathy" userId="S::rakeshl@maveric-systems.com::6050c502-d529-4eba-90b2-5e1eb16aa821" providerId="AD" clId="Web-{ED345FCC-8E54-2FE0-C335-D229291A2FB9}" dt="2020-10-19T10:24:53.427" v="211" actId="1076"/>
          <ac:cxnSpMkLst>
            <pc:docMk/>
            <pc:sldMk cId="3646186606" sldId="400"/>
            <ac:cxnSpMk id="76" creationId="{9F6D5219-167F-448A-B125-2CCE21980CC0}"/>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96C064A-D61B-4B21-B757-51A9B82445B8}" type="datetimeFigureOut">
              <a:rPr lang="en-US" smtClean="0"/>
              <a:t>7/27/20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305E07-67EA-4042-A3F6-853A8AD8D209}" type="slidenum">
              <a:rPr lang="en-US" smtClean="0"/>
              <a:t>‹#›</a:t>
            </a:fld>
            <a:endParaRPr lang="en-US"/>
          </a:p>
        </p:txBody>
      </p:sp>
    </p:spTree>
    <p:extLst>
      <p:ext uri="{BB962C8B-B14F-4D97-AF65-F5344CB8AC3E}">
        <p14:creationId xmlns:p14="http://schemas.microsoft.com/office/powerpoint/2010/main" val="962827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3F7AF0-D505-479B-BEC2-B9FFB4EE9C73}" type="datetimeFigureOut">
              <a:rPr lang="en-GB" smtClean="0"/>
              <a:t>27/07/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41476EC-37EB-4AAB-B35A-28AF112322A8}" type="slidenum">
              <a:rPr lang="en-GB" smtClean="0"/>
              <a:t>‹#›</a:t>
            </a:fld>
            <a:endParaRPr lang="en-GB"/>
          </a:p>
        </p:txBody>
      </p:sp>
    </p:spTree>
    <p:extLst>
      <p:ext uri="{BB962C8B-B14F-4D97-AF65-F5344CB8AC3E}">
        <p14:creationId xmlns:p14="http://schemas.microsoft.com/office/powerpoint/2010/main" val="38344041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41476EC-37EB-4AAB-B35A-28AF112322A8}" type="slidenum">
              <a:rPr lang="en-GB" smtClean="0"/>
              <a:t>7</a:t>
            </a:fld>
            <a:endParaRPr lang="en-GB"/>
          </a:p>
        </p:txBody>
      </p:sp>
    </p:spTree>
    <p:extLst>
      <p:ext uri="{BB962C8B-B14F-4D97-AF65-F5344CB8AC3E}">
        <p14:creationId xmlns:p14="http://schemas.microsoft.com/office/powerpoint/2010/main" val="13086548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41476EC-37EB-4AAB-B35A-28AF112322A8}" type="slidenum">
              <a:rPr lang="en-GB" smtClean="0"/>
              <a:t>8</a:t>
            </a:fld>
            <a:endParaRPr lang="en-GB"/>
          </a:p>
        </p:txBody>
      </p:sp>
    </p:spTree>
    <p:extLst>
      <p:ext uri="{BB962C8B-B14F-4D97-AF65-F5344CB8AC3E}">
        <p14:creationId xmlns:p14="http://schemas.microsoft.com/office/powerpoint/2010/main" val="9540533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08" name="Freeform: Shape 7"/>
          <p:cNvSpPr/>
          <p:nvPr userDrawn="1"/>
        </p:nvSpPr>
        <p:spPr>
          <a:xfrm>
            <a:off x="3841765" y="2731325"/>
            <a:ext cx="4102122" cy="4128576"/>
          </a:xfrm>
          <a:custGeom>
            <a:avLst/>
            <a:gdLst>
              <a:gd name="connsiteX0" fmla="*/ 3907233 w 4102122"/>
              <a:gd name="connsiteY0" fmla="*/ 1804849 h 4128576"/>
              <a:gd name="connsiteX1" fmla="*/ 0 w 4102122"/>
              <a:gd name="connsiteY1" fmla="*/ 0 h 4128576"/>
              <a:gd name="connsiteX2" fmla="*/ 0 w 4102122"/>
              <a:gd name="connsiteY2" fmla="*/ 4128577 h 4128576"/>
              <a:gd name="connsiteX3" fmla="*/ 3203394 w 4102122"/>
              <a:gd name="connsiteY3" fmla="*/ 4128577 h 4128576"/>
              <a:gd name="connsiteX4" fmla="*/ 4071109 w 4102122"/>
              <a:gd name="connsiteY4" fmla="*/ 2250048 h 4128576"/>
              <a:gd name="connsiteX5" fmla="*/ 3907233 w 4102122"/>
              <a:gd name="connsiteY5" fmla="*/ 1804849 h 4128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02122" h="4128576">
                <a:moveTo>
                  <a:pt x="3907233" y="1804849"/>
                </a:moveTo>
                <a:lnTo>
                  <a:pt x="0" y="0"/>
                </a:lnTo>
                <a:lnTo>
                  <a:pt x="0" y="4128577"/>
                </a:lnTo>
                <a:lnTo>
                  <a:pt x="3203394" y="4128577"/>
                </a:lnTo>
                <a:lnTo>
                  <a:pt x="4071109" y="2250048"/>
                </a:lnTo>
                <a:cubicBezTo>
                  <a:pt x="4148824" y="2081833"/>
                  <a:pt x="4075449" y="1882563"/>
                  <a:pt x="3907233" y="1804849"/>
                </a:cubicBezTo>
                <a:close/>
              </a:path>
            </a:pathLst>
          </a:custGeom>
          <a:solidFill>
            <a:srgbClr val="224F90"/>
          </a:solidFill>
          <a:ln w="7608" cap="flat">
            <a:noFill/>
            <a:prstDash val="solid"/>
            <a:miter/>
          </a:ln>
        </p:spPr>
        <p:txBody>
          <a:bodyPr rtlCol="0" anchor="ctr"/>
          <a:lstStyle/>
          <a:p>
            <a:endParaRPr lang="hi-IN"/>
          </a:p>
        </p:txBody>
      </p:sp>
      <p:sp>
        <p:nvSpPr>
          <p:cNvPr id="1009" name="Freeform: Shape 8"/>
          <p:cNvSpPr/>
          <p:nvPr userDrawn="1"/>
        </p:nvSpPr>
        <p:spPr>
          <a:xfrm>
            <a:off x="3841765" y="9514"/>
            <a:ext cx="4529129" cy="6850388"/>
          </a:xfrm>
          <a:custGeom>
            <a:avLst/>
            <a:gdLst>
              <a:gd name="connsiteX0" fmla="*/ 0 w 4529129"/>
              <a:gd name="connsiteY0" fmla="*/ 6850389 h 6850388"/>
              <a:gd name="connsiteX1" fmla="*/ 1960277 w 4529129"/>
              <a:gd name="connsiteY1" fmla="*/ 6850389 h 6850388"/>
              <a:gd name="connsiteX2" fmla="*/ 4498118 w 4529129"/>
              <a:gd name="connsiteY2" fmla="*/ 1356225 h 6850388"/>
              <a:gd name="connsiteX3" fmla="*/ 4334241 w 4529129"/>
              <a:gd name="connsiteY3" fmla="*/ 911026 h 6850388"/>
              <a:gd name="connsiteX4" fmla="*/ 2362014 w 4529129"/>
              <a:gd name="connsiteY4" fmla="*/ 0 h 6850388"/>
              <a:gd name="connsiteX5" fmla="*/ 0 w 4529129"/>
              <a:gd name="connsiteY5" fmla="*/ 0 h 6850388"/>
              <a:gd name="connsiteX6" fmla="*/ 0 w 4529129"/>
              <a:gd name="connsiteY6" fmla="*/ 6850389 h 685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129" h="6850388">
                <a:moveTo>
                  <a:pt x="0" y="6850389"/>
                </a:moveTo>
                <a:lnTo>
                  <a:pt x="1960277" y="6850389"/>
                </a:lnTo>
                <a:lnTo>
                  <a:pt x="4498118" y="1356225"/>
                </a:lnTo>
                <a:cubicBezTo>
                  <a:pt x="4575831" y="1188010"/>
                  <a:pt x="4502456" y="988739"/>
                  <a:pt x="4334241" y="911026"/>
                </a:cubicBezTo>
                <a:lnTo>
                  <a:pt x="2362014" y="0"/>
                </a:lnTo>
                <a:lnTo>
                  <a:pt x="0" y="0"/>
                </a:lnTo>
                <a:lnTo>
                  <a:pt x="0" y="6850389"/>
                </a:lnTo>
                <a:close/>
              </a:path>
            </a:pathLst>
          </a:custGeom>
          <a:solidFill>
            <a:srgbClr val="333333">
              <a:alpha val="20000"/>
            </a:srgbClr>
          </a:solidFill>
          <a:ln w="7608" cap="flat">
            <a:noFill/>
            <a:prstDash val="solid"/>
            <a:miter/>
          </a:ln>
        </p:spPr>
        <p:txBody>
          <a:bodyPr rtlCol="0" anchor="ctr"/>
          <a:lstStyle/>
          <a:p>
            <a:endParaRPr lang="hi-IN"/>
          </a:p>
        </p:txBody>
      </p:sp>
      <p:sp>
        <p:nvSpPr>
          <p:cNvPr id="1010" name="Freeform: Shape 10"/>
          <p:cNvSpPr/>
          <p:nvPr userDrawn="1"/>
        </p:nvSpPr>
        <p:spPr>
          <a:xfrm>
            <a:off x="6728747" y="9514"/>
            <a:ext cx="1699283" cy="2383554"/>
          </a:xfrm>
          <a:custGeom>
            <a:avLst/>
            <a:gdLst>
              <a:gd name="connsiteX0" fmla="*/ 0 w 1699283"/>
              <a:gd name="connsiteY0" fmla="*/ 0 h 2383554"/>
              <a:gd name="connsiteX1" fmla="*/ 1445204 w 1699283"/>
              <a:gd name="connsiteY1" fmla="*/ 667532 h 2383554"/>
              <a:gd name="connsiteX2" fmla="*/ 1658859 w 1699283"/>
              <a:gd name="connsiteY2" fmla="*/ 1248065 h 2383554"/>
              <a:gd name="connsiteX3" fmla="*/ 1134348 w 1699283"/>
              <a:gd name="connsiteY3" fmla="*/ 2383555 h 2383554"/>
            </a:gdLst>
            <a:ahLst/>
            <a:cxnLst>
              <a:cxn ang="0">
                <a:pos x="connsiteX0" y="connsiteY0"/>
              </a:cxn>
              <a:cxn ang="0">
                <a:pos x="connsiteX1" y="connsiteY1"/>
              </a:cxn>
              <a:cxn ang="0">
                <a:pos x="connsiteX2" y="connsiteY2"/>
              </a:cxn>
              <a:cxn ang="0">
                <a:pos x="connsiteX3" y="connsiteY3"/>
              </a:cxn>
            </a:cxnLst>
            <a:rect l="l" t="t" r="r" b="b"/>
            <a:pathLst>
              <a:path w="1699283" h="2383554">
                <a:moveTo>
                  <a:pt x="0" y="0"/>
                </a:moveTo>
                <a:lnTo>
                  <a:pt x="1445204" y="667532"/>
                </a:lnTo>
                <a:cubicBezTo>
                  <a:pt x="1664493" y="768842"/>
                  <a:pt x="1760169" y="1028776"/>
                  <a:pt x="1658859" y="1248065"/>
                </a:cubicBezTo>
                <a:lnTo>
                  <a:pt x="1134348" y="2383555"/>
                </a:lnTo>
              </a:path>
            </a:pathLst>
          </a:custGeom>
          <a:noFill/>
          <a:ln w="19020" cap="rnd">
            <a:solidFill>
              <a:srgbClr val="224F90"/>
            </a:solidFill>
            <a:prstDash val="solid"/>
            <a:round/>
          </a:ln>
        </p:spPr>
        <p:txBody>
          <a:bodyPr rtlCol="0" anchor="ctr"/>
          <a:lstStyle/>
          <a:p>
            <a:endParaRPr lang="hi-IN"/>
          </a:p>
        </p:txBody>
      </p:sp>
      <p:sp>
        <p:nvSpPr>
          <p:cNvPr id="1012" name="Freeform: Shape 11"/>
          <p:cNvSpPr/>
          <p:nvPr userDrawn="1"/>
        </p:nvSpPr>
        <p:spPr>
          <a:xfrm>
            <a:off x="3841765" y="9514"/>
            <a:ext cx="4453014" cy="6850388"/>
          </a:xfrm>
          <a:custGeom>
            <a:avLst/>
            <a:gdLst>
              <a:gd name="connsiteX0" fmla="*/ 0 w 4453014"/>
              <a:gd name="connsiteY0" fmla="*/ 6850389 h 6850388"/>
              <a:gd name="connsiteX1" fmla="*/ 1813755 w 4453014"/>
              <a:gd name="connsiteY1" fmla="*/ 6850389 h 6850388"/>
              <a:gd name="connsiteX2" fmla="*/ 4422002 w 4453014"/>
              <a:gd name="connsiteY2" fmla="*/ 1203842 h 6850388"/>
              <a:gd name="connsiteX3" fmla="*/ 4258126 w 4453014"/>
              <a:gd name="connsiteY3" fmla="*/ 758642 h 6850388"/>
              <a:gd name="connsiteX4" fmla="*/ 2615630 w 4453014"/>
              <a:gd name="connsiteY4" fmla="*/ 0 h 6850388"/>
              <a:gd name="connsiteX5" fmla="*/ 0 w 4453014"/>
              <a:gd name="connsiteY5" fmla="*/ 0 h 6850388"/>
              <a:gd name="connsiteX6" fmla="*/ 0 w 4453014"/>
              <a:gd name="connsiteY6" fmla="*/ 6850389 h 685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3014" h="6850388">
                <a:moveTo>
                  <a:pt x="0" y="6850389"/>
                </a:moveTo>
                <a:lnTo>
                  <a:pt x="1813755" y="6850389"/>
                </a:lnTo>
                <a:lnTo>
                  <a:pt x="4422002" y="1203842"/>
                </a:lnTo>
                <a:cubicBezTo>
                  <a:pt x="4499716" y="1035627"/>
                  <a:pt x="4426341" y="836356"/>
                  <a:pt x="4258126" y="758642"/>
                </a:cubicBezTo>
                <a:lnTo>
                  <a:pt x="2615630" y="0"/>
                </a:lnTo>
                <a:lnTo>
                  <a:pt x="0" y="0"/>
                </a:lnTo>
                <a:lnTo>
                  <a:pt x="0" y="6850389"/>
                </a:lnTo>
                <a:close/>
              </a:path>
            </a:pathLst>
          </a:custGeom>
          <a:solidFill>
            <a:srgbClr val="D0217C"/>
          </a:solidFill>
          <a:ln w="7608" cap="flat">
            <a:noFill/>
            <a:prstDash val="solid"/>
            <a:miter/>
          </a:ln>
        </p:spPr>
        <p:txBody>
          <a:bodyPr rtlCol="0" anchor="ctr"/>
          <a:lstStyle/>
          <a:p>
            <a:endParaRPr lang="hi-IN"/>
          </a:p>
        </p:txBody>
      </p:sp>
      <p:sp>
        <p:nvSpPr>
          <p:cNvPr id="1013" name="Freeform: Shape 12"/>
          <p:cNvSpPr/>
          <p:nvPr userDrawn="1"/>
        </p:nvSpPr>
        <p:spPr>
          <a:xfrm>
            <a:off x="3841765" y="9514"/>
            <a:ext cx="4549343" cy="6850388"/>
          </a:xfrm>
          <a:custGeom>
            <a:avLst/>
            <a:gdLst>
              <a:gd name="connsiteX0" fmla="*/ 1408516 w 4549343"/>
              <a:gd name="connsiteY0" fmla="*/ 6850389 h 6850388"/>
              <a:gd name="connsiteX1" fmla="*/ 4549343 w 4549343"/>
              <a:gd name="connsiteY1" fmla="*/ 0 h 6850388"/>
              <a:gd name="connsiteX2" fmla="*/ 0 w 4549343"/>
              <a:gd name="connsiteY2" fmla="*/ 0 h 6850388"/>
              <a:gd name="connsiteX3" fmla="*/ 0 w 4549343"/>
              <a:gd name="connsiteY3" fmla="*/ 6850389 h 6850388"/>
            </a:gdLst>
            <a:ahLst/>
            <a:cxnLst>
              <a:cxn ang="0">
                <a:pos x="connsiteX0" y="connsiteY0"/>
              </a:cxn>
              <a:cxn ang="0">
                <a:pos x="connsiteX1" y="connsiteY1"/>
              </a:cxn>
              <a:cxn ang="0">
                <a:pos x="connsiteX2" y="connsiteY2"/>
              </a:cxn>
              <a:cxn ang="0">
                <a:pos x="connsiteX3" y="connsiteY3"/>
              </a:cxn>
            </a:cxnLst>
            <a:rect l="l" t="t" r="r" b="b"/>
            <a:pathLst>
              <a:path w="4549343" h="6850388">
                <a:moveTo>
                  <a:pt x="1408516" y="6850389"/>
                </a:moveTo>
                <a:lnTo>
                  <a:pt x="4549343" y="0"/>
                </a:lnTo>
                <a:lnTo>
                  <a:pt x="0" y="0"/>
                </a:lnTo>
                <a:lnTo>
                  <a:pt x="0" y="6850389"/>
                </a:lnTo>
                <a:close/>
              </a:path>
            </a:pathLst>
          </a:custGeom>
          <a:solidFill>
            <a:srgbClr val="333333">
              <a:alpha val="20000"/>
            </a:srgbClr>
          </a:solidFill>
          <a:ln w="7608" cap="flat">
            <a:noFill/>
            <a:prstDash val="solid"/>
            <a:miter/>
          </a:ln>
        </p:spPr>
        <p:txBody>
          <a:bodyPr rtlCol="0" anchor="ctr"/>
          <a:lstStyle/>
          <a:p>
            <a:endParaRPr lang="hi-IN"/>
          </a:p>
        </p:txBody>
      </p:sp>
      <p:sp>
        <p:nvSpPr>
          <p:cNvPr id="13" name="Freeform: Shape 13"/>
          <p:cNvSpPr/>
          <p:nvPr userDrawn="1"/>
        </p:nvSpPr>
        <p:spPr>
          <a:xfrm>
            <a:off x="0" y="0"/>
            <a:ext cx="8273822" cy="6859902"/>
          </a:xfrm>
          <a:custGeom>
            <a:avLst/>
            <a:gdLst>
              <a:gd name="connsiteX0" fmla="*/ 8273823 w 8273822"/>
              <a:gd name="connsiteY0" fmla="*/ 0 h 6850388"/>
              <a:gd name="connsiteX1" fmla="*/ 5132387 w 8273822"/>
              <a:gd name="connsiteY1" fmla="*/ 6850389 h 6850388"/>
              <a:gd name="connsiteX2" fmla="*/ 0 w 8273822"/>
              <a:gd name="connsiteY2" fmla="*/ 6850389 h 6850388"/>
              <a:gd name="connsiteX3" fmla="*/ 0 w 8273822"/>
              <a:gd name="connsiteY3" fmla="*/ 0 h 6850388"/>
            </a:gdLst>
            <a:ahLst/>
            <a:cxnLst>
              <a:cxn ang="0">
                <a:pos x="connsiteX0" y="connsiteY0"/>
              </a:cxn>
              <a:cxn ang="0">
                <a:pos x="connsiteX1" y="connsiteY1"/>
              </a:cxn>
              <a:cxn ang="0">
                <a:pos x="connsiteX2" y="connsiteY2"/>
              </a:cxn>
              <a:cxn ang="0">
                <a:pos x="connsiteX3" y="connsiteY3"/>
              </a:cxn>
            </a:cxnLst>
            <a:rect l="l" t="t" r="r" b="b"/>
            <a:pathLst>
              <a:path w="8273822" h="6850388">
                <a:moveTo>
                  <a:pt x="8273823" y="0"/>
                </a:moveTo>
                <a:lnTo>
                  <a:pt x="5132387" y="6850389"/>
                </a:lnTo>
                <a:lnTo>
                  <a:pt x="0" y="6850389"/>
                </a:lnTo>
                <a:lnTo>
                  <a:pt x="0" y="0"/>
                </a:lnTo>
                <a:close/>
              </a:path>
            </a:pathLst>
          </a:custGeom>
          <a:blipFill dpi="0" rotWithShape="1">
            <a:blip r:embed="rId2" cstate="email"/>
            <a:srcRect/>
            <a:stretch>
              <a:fillRect/>
            </a:stretch>
          </a:blipFill>
          <a:ln w="7608" cap="flat">
            <a:noFill/>
            <a:prstDash val="solid"/>
            <a:miter/>
          </a:ln>
        </p:spPr>
        <p:txBody>
          <a:bodyPr rtlCol="0" anchor="ctr"/>
          <a:lstStyle/>
          <a:p>
            <a:endParaRPr lang="hi-IN"/>
          </a:p>
        </p:txBody>
      </p:sp>
      <p:grpSp>
        <p:nvGrpSpPr>
          <p:cNvPr id="2010" name="Group 2009"/>
          <p:cNvGrpSpPr/>
          <p:nvPr userDrawn="1"/>
        </p:nvGrpSpPr>
        <p:grpSpPr>
          <a:xfrm>
            <a:off x="495064" y="352425"/>
            <a:ext cx="1551631" cy="414716"/>
            <a:chOff x="4971814" y="299551"/>
            <a:chExt cx="2248375" cy="600940"/>
          </a:xfrm>
          <a:solidFill>
            <a:schemeClr val="accent2"/>
          </a:solidFill>
        </p:grpSpPr>
        <p:sp>
          <p:nvSpPr>
            <p:cNvPr id="2011" name="Freeform 2010"/>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2" name="Freeform 2011"/>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3" name="Freeform 28"/>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4" name="Freeform 29"/>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chemeClr val="accent3"/>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5" name="Freeform 30"/>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chemeClr val="accent1"/>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6" name="Freeform 31"/>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7"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8"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grpSp>
      <p:sp>
        <p:nvSpPr>
          <p:cNvPr id="2019" name="Text Placeholder 1018"/>
          <p:cNvSpPr>
            <a:spLocks noGrp="1"/>
          </p:cNvSpPr>
          <p:nvPr>
            <p:ph type="body" sz="quarter" idx="14" hasCustomPrompt="1"/>
          </p:nvPr>
        </p:nvSpPr>
        <p:spPr>
          <a:xfrm>
            <a:off x="2597685" y="488670"/>
            <a:ext cx="2050515" cy="341632"/>
          </a:xfrm>
        </p:spPr>
        <p:txBody>
          <a:bodyPr wrap="square">
            <a:spAutoFit/>
          </a:bodyPr>
          <a:lstStyle>
            <a:lvl1pPr marL="0" indent="0" algn="l" defTabSz="914400" rtl="0" eaLnBrk="1" latinLnBrk="0" hangingPunct="1">
              <a:lnSpc>
                <a:spcPct val="90000"/>
              </a:lnSpc>
              <a:spcBef>
                <a:spcPts val="1000"/>
              </a:spcBef>
              <a:buFontTx/>
              <a:buNone/>
              <a:defRPr lang="en-US" sz="1800" kern="1200" dirty="0" smtClean="0">
                <a:solidFill>
                  <a:schemeClr val="bg1">
                    <a:lumMod val="65000"/>
                  </a:schemeClr>
                </a:solidFill>
                <a:latin typeface="+mj-lt"/>
                <a:ea typeface="+mn-ea"/>
                <a:cs typeface="+mn-cs"/>
              </a:defRPr>
            </a:lvl1pPr>
            <a:lvl2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2pPr>
            <a:lvl3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3pPr>
            <a:lvl4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4pPr>
            <a:lvl5pPr marL="0" indent="0" algn="l" defTabSz="914400" rtl="0" eaLnBrk="1" latinLnBrk="0" hangingPunct="1">
              <a:lnSpc>
                <a:spcPct val="90000"/>
              </a:lnSpc>
              <a:spcBef>
                <a:spcPts val="1000"/>
              </a:spcBef>
              <a:buFontTx/>
              <a:buNone/>
              <a:defRPr lang="en-GB" sz="2000" kern="1200" dirty="0">
                <a:solidFill>
                  <a:schemeClr val="tx2"/>
                </a:solidFill>
                <a:latin typeface="+mj-lt"/>
                <a:ea typeface="+mn-ea"/>
                <a:cs typeface="+mn-cs"/>
              </a:defRPr>
            </a:lvl5pPr>
          </a:lstStyle>
          <a:p>
            <a:pPr lvl="0"/>
            <a:r>
              <a:rPr lang="en-IN"/>
              <a:t>Client Logo Here</a:t>
            </a:r>
            <a:endParaRPr lang="en-GB"/>
          </a:p>
        </p:txBody>
      </p:sp>
      <p:sp>
        <p:nvSpPr>
          <p:cNvPr id="1014" name="Freeform: Shape 9"/>
          <p:cNvSpPr/>
          <p:nvPr userDrawn="1"/>
        </p:nvSpPr>
        <p:spPr>
          <a:xfrm>
            <a:off x="7194421" y="4328075"/>
            <a:ext cx="882793" cy="2521171"/>
          </a:xfrm>
          <a:custGeom>
            <a:avLst/>
            <a:gdLst>
              <a:gd name="connsiteX0" fmla="*/ 375401 w 882793"/>
              <a:gd name="connsiteY0" fmla="*/ 0 h 2521171"/>
              <a:gd name="connsiteX1" fmla="*/ 628714 w 882793"/>
              <a:gd name="connsiteY1" fmla="*/ 116989 h 2521171"/>
              <a:gd name="connsiteX2" fmla="*/ 842369 w 882793"/>
              <a:gd name="connsiteY2" fmla="*/ 697522 h 2521171"/>
              <a:gd name="connsiteX3" fmla="*/ 0 w 882793"/>
              <a:gd name="connsiteY3" fmla="*/ 2521171 h 2521171"/>
            </a:gdLst>
            <a:ahLst/>
            <a:cxnLst>
              <a:cxn ang="0">
                <a:pos x="connsiteX0" y="connsiteY0"/>
              </a:cxn>
              <a:cxn ang="0">
                <a:pos x="connsiteX1" y="connsiteY1"/>
              </a:cxn>
              <a:cxn ang="0">
                <a:pos x="connsiteX2" y="connsiteY2"/>
              </a:cxn>
              <a:cxn ang="0">
                <a:pos x="connsiteX3" y="connsiteY3"/>
              </a:cxn>
            </a:cxnLst>
            <a:rect l="l" t="t" r="r" b="b"/>
            <a:pathLst>
              <a:path w="882793" h="2521171">
                <a:moveTo>
                  <a:pt x="375401" y="0"/>
                </a:moveTo>
                <a:lnTo>
                  <a:pt x="628714" y="116989"/>
                </a:lnTo>
                <a:cubicBezTo>
                  <a:pt x="848002" y="218299"/>
                  <a:pt x="943679" y="478233"/>
                  <a:pt x="842369" y="697522"/>
                </a:cubicBezTo>
                <a:lnTo>
                  <a:pt x="0" y="2521171"/>
                </a:lnTo>
              </a:path>
            </a:pathLst>
          </a:custGeom>
          <a:noFill/>
          <a:ln w="19020" cap="rnd">
            <a:solidFill>
              <a:srgbClr val="D1247C"/>
            </a:solidFill>
            <a:prstDash val="solid"/>
            <a:round/>
          </a:ln>
        </p:spPr>
        <p:txBody>
          <a:bodyPr rtlCol="0" anchor="ctr"/>
          <a:lstStyle/>
          <a:p>
            <a:endParaRPr lang="hi-IN"/>
          </a:p>
        </p:txBody>
      </p:sp>
      <p:grpSp>
        <p:nvGrpSpPr>
          <p:cNvPr id="1015" name="Graphic 5"/>
          <p:cNvGrpSpPr/>
          <p:nvPr userDrawn="1"/>
        </p:nvGrpSpPr>
        <p:grpSpPr>
          <a:xfrm>
            <a:off x="7501242" y="4259419"/>
            <a:ext cx="137255" cy="137312"/>
            <a:chOff x="7501242" y="4259419"/>
            <a:chExt cx="137255" cy="137312"/>
          </a:xfrm>
          <a:solidFill>
            <a:schemeClr val="accent1"/>
          </a:solidFill>
        </p:grpSpPr>
        <p:sp>
          <p:nvSpPr>
            <p:cNvPr id="1016" name="Freeform: Shape 15"/>
            <p:cNvSpPr/>
            <p:nvPr/>
          </p:nvSpPr>
          <p:spPr>
            <a:xfrm>
              <a:off x="7501242" y="4259419"/>
              <a:ext cx="137255" cy="137312"/>
            </a:xfrm>
            <a:custGeom>
              <a:avLst/>
              <a:gdLst>
                <a:gd name="connsiteX0" fmla="*/ 117218 w 137255"/>
                <a:gd name="connsiteY0" fmla="*/ 20095 h 137312"/>
                <a:gd name="connsiteX1" fmla="*/ 20095 w 137255"/>
                <a:gd name="connsiteY1" fmla="*/ 20095 h 137312"/>
                <a:gd name="connsiteX2" fmla="*/ 20095 w 137255"/>
                <a:gd name="connsiteY2" fmla="*/ 117218 h 137312"/>
                <a:gd name="connsiteX3" fmla="*/ 68656 w 137255"/>
                <a:gd name="connsiteY3" fmla="*/ 137313 h 137312"/>
                <a:gd name="connsiteX4" fmla="*/ 117218 w 137255"/>
                <a:gd name="connsiteY4" fmla="*/ 117218 h 137312"/>
                <a:gd name="connsiteX5" fmla="*/ 117218 w 137255"/>
                <a:gd name="connsiteY5" fmla="*/ 20095 h 137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255" h="137312">
                  <a:moveTo>
                    <a:pt x="117218" y="20095"/>
                  </a:moveTo>
                  <a:cubicBezTo>
                    <a:pt x="90425" y="-6698"/>
                    <a:pt x="46887" y="-6698"/>
                    <a:pt x="20095" y="20095"/>
                  </a:cubicBezTo>
                  <a:cubicBezTo>
                    <a:pt x="-6698" y="46887"/>
                    <a:pt x="-6698" y="90425"/>
                    <a:pt x="20095" y="117218"/>
                  </a:cubicBezTo>
                  <a:cubicBezTo>
                    <a:pt x="33491" y="130614"/>
                    <a:pt x="51074" y="137313"/>
                    <a:pt x="68656" y="137313"/>
                  </a:cubicBezTo>
                  <a:cubicBezTo>
                    <a:pt x="86239" y="137313"/>
                    <a:pt x="103822" y="130614"/>
                    <a:pt x="117218" y="117218"/>
                  </a:cubicBezTo>
                  <a:cubicBezTo>
                    <a:pt x="143935" y="90425"/>
                    <a:pt x="143935" y="46887"/>
                    <a:pt x="117218" y="20095"/>
                  </a:cubicBezTo>
                  <a:close/>
                </a:path>
              </a:pathLst>
            </a:custGeom>
            <a:solidFill>
              <a:srgbClr val="EC83B5"/>
            </a:solidFill>
            <a:ln w="7608" cap="flat">
              <a:noFill/>
              <a:prstDash val="solid"/>
              <a:miter/>
            </a:ln>
          </p:spPr>
          <p:txBody>
            <a:bodyPr rtlCol="0" anchor="ctr"/>
            <a:lstStyle/>
            <a:p>
              <a:endParaRPr lang="hi-IN"/>
            </a:p>
          </p:txBody>
        </p:sp>
        <p:sp>
          <p:nvSpPr>
            <p:cNvPr id="1017" name="Freeform: Shape 16"/>
            <p:cNvSpPr/>
            <p:nvPr/>
          </p:nvSpPr>
          <p:spPr>
            <a:xfrm>
              <a:off x="7512584" y="4270836"/>
              <a:ext cx="114477" cy="114477"/>
            </a:xfrm>
            <a:custGeom>
              <a:avLst/>
              <a:gdLst>
                <a:gd name="connsiteX0" fmla="*/ 114478 w 114477"/>
                <a:gd name="connsiteY0" fmla="*/ 57239 h 114477"/>
                <a:gd name="connsiteX1" fmla="*/ 57239 w 114477"/>
                <a:gd name="connsiteY1" fmla="*/ 114478 h 114477"/>
                <a:gd name="connsiteX2" fmla="*/ 0 w 114477"/>
                <a:gd name="connsiteY2" fmla="*/ 57239 h 114477"/>
                <a:gd name="connsiteX3" fmla="*/ 57239 w 114477"/>
                <a:gd name="connsiteY3" fmla="*/ 0 h 114477"/>
                <a:gd name="connsiteX4" fmla="*/ 114478 w 114477"/>
                <a:gd name="connsiteY4" fmla="*/ 57239 h 11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77" h="114477">
                  <a:moveTo>
                    <a:pt x="114478" y="57239"/>
                  </a:moveTo>
                  <a:cubicBezTo>
                    <a:pt x="114478" y="88851"/>
                    <a:pt x="88851" y="114478"/>
                    <a:pt x="57239" y="114478"/>
                  </a:cubicBezTo>
                  <a:cubicBezTo>
                    <a:pt x="25627" y="114478"/>
                    <a:pt x="0" y="88851"/>
                    <a:pt x="0" y="57239"/>
                  </a:cubicBezTo>
                  <a:cubicBezTo>
                    <a:pt x="0" y="25627"/>
                    <a:pt x="25627" y="0"/>
                    <a:pt x="57239" y="0"/>
                  </a:cubicBezTo>
                  <a:cubicBezTo>
                    <a:pt x="88851" y="0"/>
                    <a:pt x="114478" y="25627"/>
                    <a:pt x="114478" y="57239"/>
                  </a:cubicBezTo>
                  <a:close/>
                </a:path>
              </a:pathLst>
            </a:custGeom>
            <a:solidFill>
              <a:srgbClr val="F9C5DB"/>
            </a:solidFill>
            <a:ln w="7608" cap="flat">
              <a:noFill/>
              <a:prstDash val="solid"/>
              <a:miter/>
            </a:ln>
          </p:spPr>
          <p:txBody>
            <a:bodyPr rtlCol="0" anchor="ctr"/>
            <a:lstStyle/>
            <a:p>
              <a:endParaRPr lang="hi-IN"/>
            </a:p>
          </p:txBody>
        </p:sp>
        <p:sp>
          <p:nvSpPr>
            <p:cNvPr id="1018" name="Freeform: Shape 17"/>
            <p:cNvSpPr/>
            <p:nvPr/>
          </p:nvSpPr>
          <p:spPr>
            <a:xfrm>
              <a:off x="7521032" y="4279247"/>
              <a:ext cx="97541" cy="97541"/>
            </a:xfrm>
            <a:custGeom>
              <a:avLst/>
              <a:gdLst>
                <a:gd name="connsiteX0" fmla="*/ 48790 w 97541"/>
                <a:gd name="connsiteY0" fmla="*/ 97542 h 97541"/>
                <a:gd name="connsiteX1" fmla="*/ 14310 w 97541"/>
                <a:gd name="connsiteY1" fmla="*/ 83232 h 97541"/>
                <a:gd name="connsiteX2" fmla="*/ 0 w 97541"/>
                <a:gd name="connsiteY2" fmla="*/ 48752 h 97541"/>
                <a:gd name="connsiteX3" fmla="*/ 14310 w 97541"/>
                <a:gd name="connsiteY3" fmla="*/ 14272 h 97541"/>
                <a:gd name="connsiteX4" fmla="*/ 83270 w 97541"/>
                <a:gd name="connsiteY4" fmla="*/ 14272 h 97541"/>
                <a:gd name="connsiteX5" fmla="*/ 83270 w 97541"/>
                <a:gd name="connsiteY5" fmla="*/ 83232 h 97541"/>
                <a:gd name="connsiteX6" fmla="*/ 48790 w 97541"/>
                <a:gd name="connsiteY6" fmla="*/ 97542 h 97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541" h="97541">
                  <a:moveTo>
                    <a:pt x="48790" y="97542"/>
                  </a:moveTo>
                  <a:cubicBezTo>
                    <a:pt x="35774" y="97542"/>
                    <a:pt x="23520" y="92442"/>
                    <a:pt x="14310" y="83232"/>
                  </a:cubicBezTo>
                  <a:cubicBezTo>
                    <a:pt x="5100" y="74022"/>
                    <a:pt x="0" y="61768"/>
                    <a:pt x="0" y="48752"/>
                  </a:cubicBezTo>
                  <a:cubicBezTo>
                    <a:pt x="0" y="35736"/>
                    <a:pt x="5100" y="23481"/>
                    <a:pt x="14310" y="14272"/>
                  </a:cubicBezTo>
                  <a:cubicBezTo>
                    <a:pt x="33339" y="-4757"/>
                    <a:pt x="64241" y="-4757"/>
                    <a:pt x="83270" y="14272"/>
                  </a:cubicBezTo>
                  <a:cubicBezTo>
                    <a:pt x="102299" y="33301"/>
                    <a:pt x="102299" y="64203"/>
                    <a:pt x="83270" y="83232"/>
                  </a:cubicBezTo>
                  <a:cubicBezTo>
                    <a:pt x="74061" y="92518"/>
                    <a:pt x="61882" y="97542"/>
                    <a:pt x="48790" y="97542"/>
                  </a:cubicBezTo>
                  <a:close/>
                </a:path>
              </a:pathLst>
            </a:custGeom>
            <a:solidFill>
              <a:srgbClr val="205090"/>
            </a:solidFill>
            <a:ln w="7608" cap="flat">
              <a:noFill/>
              <a:prstDash val="solid"/>
              <a:miter/>
            </a:ln>
          </p:spPr>
          <p:txBody>
            <a:bodyPr rtlCol="0" anchor="ctr"/>
            <a:lstStyle/>
            <a:p>
              <a:endParaRPr lang="hi-IN"/>
            </a:p>
          </p:txBody>
        </p:sp>
        <p:sp>
          <p:nvSpPr>
            <p:cNvPr id="1019" name="Freeform: Shape 18"/>
            <p:cNvSpPr/>
            <p:nvPr/>
          </p:nvSpPr>
          <p:spPr>
            <a:xfrm>
              <a:off x="7551517" y="4309807"/>
              <a:ext cx="36611" cy="36402"/>
            </a:xfrm>
            <a:custGeom>
              <a:avLst/>
              <a:gdLst>
                <a:gd name="connsiteX0" fmla="*/ 31246 w 36611"/>
                <a:gd name="connsiteY0" fmla="*/ 31208 h 36402"/>
                <a:gd name="connsiteX1" fmla="*/ 31246 w 36611"/>
                <a:gd name="connsiteY1" fmla="*/ 5328 h 36402"/>
                <a:gd name="connsiteX2" fmla="*/ 18306 w 36611"/>
                <a:gd name="connsiteY2" fmla="*/ 0 h 36402"/>
                <a:gd name="connsiteX3" fmla="*/ 5366 w 36611"/>
                <a:gd name="connsiteY3" fmla="*/ 5328 h 36402"/>
                <a:gd name="connsiteX4" fmla="*/ 5366 w 36611"/>
                <a:gd name="connsiteY4" fmla="*/ 31208 h 36402"/>
                <a:gd name="connsiteX5" fmla="*/ 31246 w 36611"/>
                <a:gd name="connsiteY5" fmla="*/ 31208 h 3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611" h="36402">
                  <a:moveTo>
                    <a:pt x="31246" y="31208"/>
                  </a:moveTo>
                  <a:cubicBezTo>
                    <a:pt x="38400" y="24053"/>
                    <a:pt x="38400" y="12483"/>
                    <a:pt x="31246" y="5328"/>
                  </a:cubicBezTo>
                  <a:cubicBezTo>
                    <a:pt x="27668" y="1751"/>
                    <a:pt x="23025" y="0"/>
                    <a:pt x="18306" y="0"/>
                  </a:cubicBezTo>
                  <a:cubicBezTo>
                    <a:pt x="13587" y="0"/>
                    <a:pt x="8944" y="1751"/>
                    <a:pt x="5366" y="5328"/>
                  </a:cubicBezTo>
                  <a:cubicBezTo>
                    <a:pt x="-1789" y="12483"/>
                    <a:pt x="-1789" y="24053"/>
                    <a:pt x="5366" y="31208"/>
                  </a:cubicBezTo>
                  <a:cubicBezTo>
                    <a:pt x="12293" y="38134"/>
                    <a:pt x="24395" y="38134"/>
                    <a:pt x="31246" y="31208"/>
                  </a:cubicBezTo>
                  <a:close/>
                </a:path>
              </a:pathLst>
            </a:custGeom>
            <a:solidFill>
              <a:srgbClr val="D2247C"/>
            </a:solidFill>
            <a:ln w="7608" cap="flat">
              <a:noFill/>
              <a:prstDash val="solid"/>
              <a:miter/>
            </a:ln>
          </p:spPr>
          <p:txBody>
            <a:bodyPr rtlCol="0" anchor="ctr"/>
            <a:lstStyle/>
            <a:p>
              <a:endParaRPr lang="hi-IN"/>
            </a:p>
          </p:txBody>
        </p:sp>
      </p:grpSp>
      <p:grpSp>
        <p:nvGrpSpPr>
          <p:cNvPr id="1020" name="Graphic 5"/>
          <p:cNvGrpSpPr/>
          <p:nvPr userDrawn="1"/>
        </p:nvGrpSpPr>
        <p:grpSpPr>
          <a:xfrm>
            <a:off x="7794363" y="2324412"/>
            <a:ext cx="137312" cy="137312"/>
            <a:chOff x="7794363" y="2324412"/>
            <a:chExt cx="137312" cy="137312"/>
          </a:xfrm>
          <a:solidFill>
            <a:schemeClr val="accent1"/>
          </a:solidFill>
        </p:grpSpPr>
        <p:sp>
          <p:nvSpPr>
            <p:cNvPr id="1021" name="Freeform: Shape 20"/>
            <p:cNvSpPr/>
            <p:nvPr/>
          </p:nvSpPr>
          <p:spPr>
            <a:xfrm>
              <a:off x="7794363" y="2324412"/>
              <a:ext cx="137312" cy="137312"/>
            </a:xfrm>
            <a:custGeom>
              <a:avLst/>
              <a:gdLst>
                <a:gd name="connsiteX0" fmla="*/ 20095 w 137312"/>
                <a:gd name="connsiteY0" fmla="*/ 117218 h 137312"/>
                <a:gd name="connsiteX1" fmla="*/ 68656 w 137312"/>
                <a:gd name="connsiteY1" fmla="*/ 137312 h 137312"/>
                <a:gd name="connsiteX2" fmla="*/ 117218 w 137312"/>
                <a:gd name="connsiteY2" fmla="*/ 117218 h 137312"/>
                <a:gd name="connsiteX3" fmla="*/ 117218 w 137312"/>
                <a:gd name="connsiteY3" fmla="*/ 20094 h 137312"/>
                <a:gd name="connsiteX4" fmla="*/ 20095 w 137312"/>
                <a:gd name="connsiteY4" fmla="*/ 20094 h 137312"/>
                <a:gd name="connsiteX5" fmla="*/ 20095 w 137312"/>
                <a:gd name="connsiteY5" fmla="*/ 117218 h 137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312" h="137312">
                  <a:moveTo>
                    <a:pt x="20095" y="117218"/>
                  </a:moveTo>
                  <a:cubicBezTo>
                    <a:pt x="33491" y="130614"/>
                    <a:pt x="51073" y="137312"/>
                    <a:pt x="68656" y="137312"/>
                  </a:cubicBezTo>
                  <a:cubicBezTo>
                    <a:pt x="86238" y="137312"/>
                    <a:pt x="103822" y="130614"/>
                    <a:pt x="117218" y="117218"/>
                  </a:cubicBezTo>
                  <a:cubicBezTo>
                    <a:pt x="144011" y="90425"/>
                    <a:pt x="144011" y="46887"/>
                    <a:pt x="117218" y="20094"/>
                  </a:cubicBezTo>
                  <a:cubicBezTo>
                    <a:pt x="90425" y="-6698"/>
                    <a:pt x="46887" y="-6698"/>
                    <a:pt x="20095" y="20094"/>
                  </a:cubicBezTo>
                  <a:cubicBezTo>
                    <a:pt x="-6698" y="46887"/>
                    <a:pt x="-6698" y="90425"/>
                    <a:pt x="20095" y="117218"/>
                  </a:cubicBezTo>
                  <a:close/>
                </a:path>
              </a:pathLst>
            </a:custGeom>
            <a:solidFill>
              <a:srgbClr val="72C4EE"/>
            </a:solidFill>
            <a:ln w="7608" cap="flat">
              <a:noFill/>
              <a:prstDash val="solid"/>
              <a:miter/>
            </a:ln>
          </p:spPr>
          <p:txBody>
            <a:bodyPr rtlCol="0" anchor="ctr"/>
            <a:lstStyle/>
            <a:p>
              <a:endParaRPr lang="hi-IN"/>
            </a:p>
          </p:txBody>
        </p:sp>
        <p:sp>
          <p:nvSpPr>
            <p:cNvPr id="1022" name="Freeform: Shape 21"/>
            <p:cNvSpPr/>
            <p:nvPr/>
          </p:nvSpPr>
          <p:spPr>
            <a:xfrm>
              <a:off x="7805780" y="2335830"/>
              <a:ext cx="114477" cy="114477"/>
            </a:xfrm>
            <a:custGeom>
              <a:avLst/>
              <a:gdLst>
                <a:gd name="connsiteX0" fmla="*/ 114478 w 114477"/>
                <a:gd name="connsiteY0" fmla="*/ 57239 h 114477"/>
                <a:gd name="connsiteX1" fmla="*/ 57239 w 114477"/>
                <a:gd name="connsiteY1" fmla="*/ 114477 h 114477"/>
                <a:gd name="connsiteX2" fmla="*/ 0 w 114477"/>
                <a:gd name="connsiteY2" fmla="*/ 57239 h 114477"/>
                <a:gd name="connsiteX3" fmla="*/ 57239 w 114477"/>
                <a:gd name="connsiteY3" fmla="*/ 0 h 114477"/>
                <a:gd name="connsiteX4" fmla="*/ 114478 w 114477"/>
                <a:gd name="connsiteY4" fmla="*/ 57239 h 11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77" h="114477">
                  <a:moveTo>
                    <a:pt x="114478" y="57239"/>
                  </a:moveTo>
                  <a:cubicBezTo>
                    <a:pt x="114478" y="88851"/>
                    <a:pt x="88851" y="114477"/>
                    <a:pt x="57239" y="114477"/>
                  </a:cubicBezTo>
                  <a:cubicBezTo>
                    <a:pt x="25627" y="114477"/>
                    <a:pt x="0" y="88851"/>
                    <a:pt x="0" y="57239"/>
                  </a:cubicBezTo>
                  <a:cubicBezTo>
                    <a:pt x="0" y="25627"/>
                    <a:pt x="25627" y="0"/>
                    <a:pt x="57239" y="0"/>
                  </a:cubicBezTo>
                  <a:cubicBezTo>
                    <a:pt x="88851" y="0"/>
                    <a:pt x="114478" y="25627"/>
                    <a:pt x="114478" y="57239"/>
                  </a:cubicBezTo>
                  <a:close/>
                </a:path>
              </a:pathLst>
            </a:custGeom>
            <a:solidFill>
              <a:srgbClr val="C1D9F1"/>
            </a:solidFill>
            <a:ln w="7608" cap="flat">
              <a:noFill/>
              <a:prstDash val="solid"/>
              <a:miter/>
            </a:ln>
          </p:spPr>
          <p:txBody>
            <a:bodyPr rtlCol="0" anchor="ctr"/>
            <a:lstStyle/>
            <a:p>
              <a:endParaRPr lang="hi-IN"/>
            </a:p>
          </p:txBody>
        </p:sp>
        <p:sp>
          <p:nvSpPr>
            <p:cNvPr id="1023" name="Freeform: Shape 22"/>
            <p:cNvSpPr/>
            <p:nvPr/>
          </p:nvSpPr>
          <p:spPr>
            <a:xfrm>
              <a:off x="7814267" y="2344317"/>
              <a:ext cx="97542" cy="97541"/>
            </a:xfrm>
            <a:custGeom>
              <a:avLst/>
              <a:gdLst>
                <a:gd name="connsiteX0" fmla="*/ 14272 w 97542"/>
                <a:gd name="connsiteY0" fmla="*/ 83232 h 97541"/>
                <a:gd name="connsiteX1" fmla="*/ 14272 w 97542"/>
                <a:gd name="connsiteY1" fmla="*/ 14272 h 97541"/>
                <a:gd name="connsiteX2" fmla="*/ 83233 w 97542"/>
                <a:gd name="connsiteY2" fmla="*/ 14272 h 97541"/>
                <a:gd name="connsiteX3" fmla="*/ 97542 w 97542"/>
                <a:gd name="connsiteY3" fmla="*/ 48752 h 97541"/>
                <a:gd name="connsiteX4" fmla="*/ 83233 w 97542"/>
                <a:gd name="connsiteY4" fmla="*/ 83232 h 97541"/>
                <a:gd name="connsiteX5" fmla="*/ 48752 w 97542"/>
                <a:gd name="connsiteY5" fmla="*/ 97542 h 97541"/>
                <a:gd name="connsiteX6" fmla="*/ 14272 w 97542"/>
                <a:gd name="connsiteY6" fmla="*/ 83232 h 97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542" h="97541">
                  <a:moveTo>
                    <a:pt x="14272" y="83232"/>
                  </a:moveTo>
                  <a:cubicBezTo>
                    <a:pt x="-4757" y="64203"/>
                    <a:pt x="-4757" y="33301"/>
                    <a:pt x="14272" y="14272"/>
                  </a:cubicBezTo>
                  <a:cubicBezTo>
                    <a:pt x="33301" y="-4757"/>
                    <a:pt x="64204" y="-4757"/>
                    <a:pt x="83233" y="14272"/>
                  </a:cubicBezTo>
                  <a:cubicBezTo>
                    <a:pt x="92442" y="23482"/>
                    <a:pt x="97542" y="35736"/>
                    <a:pt x="97542" y="48752"/>
                  </a:cubicBezTo>
                  <a:cubicBezTo>
                    <a:pt x="97542" y="61768"/>
                    <a:pt x="92442" y="74022"/>
                    <a:pt x="83233" y="83232"/>
                  </a:cubicBezTo>
                  <a:cubicBezTo>
                    <a:pt x="74022" y="92442"/>
                    <a:pt x="61768" y="97542"/>
                    <a:pt x="48752" y="97542"/>
                  </a:cubicBezTo>
                  <a:cubicBezTo>
                    <a:pt x="35736" y="97466"/>
                    <a:pt x="23481" y="92442"/>
                    <a:pt x="14272" y="83232"/>
                  </a:cubicBezTo>
                  <a:close/>
                </a:path>
              </a:pathLst>
            </a:custGeom>
            <a:solidFill>
              <a:srgbClr val="205090"/>
            </a:solidFill>
            <a:ln w="7608" cap="flat">
              <a:noFill/>
              <a:prstDash val="solid"/>
              <a:miter/>
            </a:ln>
          </p:spPr>
          <p:txBody>
            <a:bodyPr rtlCol="0" anchor="ctr"/>
            <a:lstStyle/>
            <a:p>
              <a:endParaRPr lang="hi-IN"/>
            </a:p>
          </p:txBody>
        </p:sp>
        <p:sp>
          <p:nvSpPr>
            <p:cNvPr id="1024" name="Freeform: Shape 23"/>
            <p:cNvSpPr/>
            <p:nvPr/>
          </p:nvSpPr>
          <p:spPr>
            <a:xfrm>
              <a:off x="7844713" y="2374801"/>
              <a:ext cx="36611" cy="36402"/>
            </a:xfrm>
            <a:custGeom>
              <a:avLst/>
              <a:gdLst>
                <a:gd name="connsiteX0" fmla="*/ 5366 w 36611"/>
                <a:gd name="connsiteY0" fmla="*/ 31207 h 36402"/>
                <a:gd name="connsiteX1" fmla="*/ 5366 w 36611"/>
                <a:gd name="connsiteY1" fmla="*/ 5328 h 36402"/>
                <a:gd name="connsiteX2" fmla="*/ 18306 w 36611"/>
                <a:gd name="connsiteY2" fmla="*/ 0 h 36402"/>
                <a:gd name="connsiteX3" fmla="*/ 31245 w 36611"/>
                <a:gd name="connsiteY3" fmla="*/ 5328 h 36402"/>
                <a:gd name="connsiteX4" fmla="*/ 31245 w 36611"/>
                <a:gd name="connsiteY4" fmla="*/ 31207 h 36402"/>
                <a:gd name="connsiteX5" fmla="*/ 5366 w 36611"/>
                <a:gd name="connsiteY5" fmla="*/ 31207 h 3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611" h="36402">
                  <a:moveTo>
                    <a:pt x="5366" y="31207"/>
                  </a:moveTo>
                  <a:cubicBezTo>
                    <a:pt x="-1789" y="24053"/>
                    <a:pt x="-1789" y="12483"/>
                    <a:pt x="5366" y="5328"/>
                  </a:cubicBezTo>
                  <a:cubicBezTo>
                    <a:pt x="8944" y="1751"/>
                    <a:pt x="13587" y="0"/>
                    <a:pt x="18306" y="0"/>
                  </a:cubicBezTo>
                  <a:cubicBezTo>
                    <a:pt x="23025" y="0"/>
                    <a:pt x="27668" y="1751"/>
                    <a:pt x="31245" y="5328"/>
                  </a:cubicBezTo>
                  <a:cubicBezTo>
                    <a:pt x="38401" y="12483"/>
                    <a:pt x="38401" y="24053"/>
                    <a:pt x="31245" y="31207"/>
                  </a:cubicBezTo>
                  <a:cubicBezTo>
                    <a:pt x="24318" y="38134"/>
                    <a:pt x="12216" y="38134"/>
                    <a:pt x="5366" y="31207"/>
                  </a:cubicBezTo>
                  <a:close/>
                </a:path>
              </a:pathLst>
            </a:custGeom>
            <a:solidFill>
              <a:srgbClr val="D2247C"/>
            </a:solidFill>
            <a:ln w="7608" cap="flat">
              <a:noFill/>
              <a:prstDash val="solid"/>
              <a:miter/>
            </a:ln>
          </p:spPr>
          <p:txBody>
            <a:bodyPr rtlCol="0" anchor="ctr"/>
            <a:lstStyle/>
            <a:p>
              <a:endParaRPr lang="hi-IN"/>
            </a:p>
          </p:txBody>
        </p:sp>
      </p:grpSp>
      <p:grpSp>
        <p:nvGrpSpPr>
          <p:cNvPr id="1025" name="Graphic 5"/>
          <p:cNvGrpSpPr/>
          <p:nvPr userDrawn="1"/>
        </p:nvGrpSpPr>
        <p:grpSpPr>
          <a:xfrm>
            <a:off x="5544772" y="9514"/>
            <a:ext cx="6640461" cy="6592585"/>
            <a:chOff x="5544772" y="9514"/>
            <a:chExt cx="6640461" cy="6592585"/>
          </a:xfrm>
          <a:solidFill>
            <a:srgbClr val="6E99D0">
              <a:alpha val="29000"/>
            </a:srgbClr>
          </a:solidFill>
        </p:grpSpPr>
        <p:sp>
          <p:nvSpPr>
            <p:cNvPr id="1026" name="Freeform: Shape 25"/>
            <p:cNvSpPr/>
            <p:nvPr/>
          </p:nvSpPr>
          <p:spPr>
            <a:xfrm>
              <a:off x="7986097" y="4491647"/>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9"/>
                    <a:pt x="229" y="0"/>
                    <a:pt x="533" y="0"/>
                  </a:cubicBezTo>
                  <a:cubicBezTo>
                    <a:pt x="838" y="0"/>
                    <a:pt x="1066" y="229"/>
                    <a:pt x="1066" y="533"/>
                  </a:cubicBezTo>
                </a:path>
              </a:pathLst>
            </a:custGeom>
            <a:grpFill/>
            <a:ln w="7608" cap="flat">
              <a:noFill/>
              <a:prstDash val="solid"/>
              <a:miter/>
            </a:ln>
          </p:spPr>
          <p:txBody>
            <a:bodyPr rtlCol="0" anchor="ctr"/>
            <a:lstStyle/>
            <a:p>
              <a:endParaRPr lang="hi-IN"/>
            </a:p>
          </p:txBody>
        </p:sp>
        <p:sp>
          <p:nvSpPr>
            <p:cNvPr id="1027" name="Freeform: Shape 26"/>
            <p:cNvSpPr/>
            <p:nvPr/>
          </p:nvSpPr>
          <p:spPr>
            <a:xfrm>
              <a:off x="8023927" y="4326008"/>
              <a:ext cx="1065" cy="1077"/>
            </a:xfrm>
            <a:custGeom>
              <a:avLst/>
              <a:gdLst>
                <a:gd name="connsiteX0" fmla="*/ 1066 w 1065"/>
                <a:gd name="connsiteY0" fmla="*/ 545 h 1077"/>
                <a:gd name="connsiteX1" fmla="*/ 532 w 1065"/>
                <a:gd name="connsiteY1" fmla="*/ 1077 h 1077"/>
                <a:gd name="connsiteX2" fmla="*/ 0 w 1065"/>
                <a:gd name="connsiteY2" fmla="*/ 545 h 1077"/>
                <a:gd name="connsiteX3" fmla="*/ 532 w 1065"/>
                <a:gd name="connsiteY3" fmla="*/ 12 h 1077"/>
                <a:gd name="connsiteX4" fmla="*/ 1066 w 1065"/>
                <a:gd name="connsiteY4" fmla="*/ 545 h 1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77">
                  <a:moveTo>
                    <a:pt x="1066" y="545"/>
                  </a:moveTo>
                  <a:cubicBezTo>
                    <a:pt x="1066" y="849"/>
                    <a:pt x="837" y="1077"/>
                    <a:pt x="532" y="1077"/>
                  </a:cubicBezTo>
                  <a:cubicBezTo>
                    <a:pt x="228" y="1077"/>
                    <a:pt x="0" y="849"/>
                    <a:pt x="0" y="545"/>
                  </a:cubicBezTo>
                  <a:cubicBezTo>
                    <a:pt x="0" y="240"/>
                    <a:pt x="228" y="12"/>
                    <a:pt x="532" y="12"/>
                  </a:cubicBezTo>
                  <a:cubicBezTo>
                    <a:pt x="837" y="-64"/>
                    <a:pt x="1066" y="240"/>
                    <a:pt x="1066" y="545"/>
                  </a:cubicBezTo>
                </a:path>
              </a:pathLst>
            </a:custGeom>
            <a:grpFill/>
            <a:ln w="7608" cap="flat">
              <a:noFill/>
              <a:prstDash val="solid"/>
              <a:miter/>
            </a:ln>
          </p:spPr>
          <p:txBody>
            <a:bodyPr rtlCol="0" anchor="ctr"/>
            <a:lstStyle/>
            <a:p>
              <a:endParaRPr lang="hi-IN"/>
            </a:p>
          </p:txBody>
        </p:sp>
        <p:sp>
          <p:nvSpPr>
            <p:cNvPr id="1028" name="Freeform: Shape 27"/>
            <p:cNvSpPr/>
            <p:nvPr/>
          </p:nvSpPr>
          <p:spPr>
            <a:xfrm>
              <a:off x="7917974" y="4193122"/>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8"/>
                    <a:pt x="229" y="0"/>
                    <a:pt x="532"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29" name="Freeform: Shape 28"/>
            <p:cNvSpPr/>
            <p:nvPr/>
          </p:nvSpPr>
          <p:spPr>
            <a:xfrm>
              <a:off x="7748009" y="4193122"/>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030" name="Freeform: Shape 29"/>
            <p:cNvSpPr/>
            <p:nvPr/>
          </p:nvSpPr>
          <p:spPr>
            <a:xfrm>
              <a:off x="8139242" y="4613736"/>
              <a:ext cx="1065" cy="1065"/>
            </a:xfrm>
            <a:custGeom>
              <a:avLst/>
              <a:gdLst>
                <a:gd name="connsiteX0" fmla="*/ 1066 w 1065"/>
                <a:gd name="connsiteY0" fmla="*/ 532 h 1065"/>
                <a:gd name="connsiteX1" fmla="*/ 533 w 1065"/>
                <a:gd name="connsiteY1" fmla="*/ 1065 h 1065"/>
                <a:gd name="connsiteX2" fmla="*/ 0 w 1065"/>
                <a:gd name="connsiteY2" fmla="*/ 532 h 1065"/>
                <a:gd name="connsiteX3" fmla="*/ 533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8" y="1065"/>
                    <a:pt x="533" y="1065"/>
                  </a:cubicBezTo>
                  <a:cubicBezTo>
                    <a:pt x="229" y="1065"/>
                    <a:pt x="0" y="837"/>
                    <a:pt x="0" y="532"/>
                  </a:cubicBezTo>
                  <a:cubicBezTo>
                    <a:pt x="0" y="228"/>
                    <a:pt x="229" y="0"/>
                    <a:pt x="533" y="0"/>
                  </a:cubicBezTo>
                  <a:cubicBezTo>
                    <a:pt x="762" y="0"/>
                    <a:pt x="1066" y="228"/>
                    <a:pt x="1066" y="532"/>
                  </a:cubicBezTo>
                </a:path>
              </a:pathLst>
            </a:custGeom>
            <a:grpFill/>
            <a:ln w="7608" cap="flat">
              <a:noFill/>
              <a:prstDash val="solid"/>
              <a:miter/>
            </a:ln>
          </p:spPr>
          <p:txBody>
            <a:bodyPr rtlCol="0" anchor="ctr"/>
            <a:lstStyle/>
            <a:p>
              <a:endParaRPr lang="hi-IN"/>
            </a:p>
          </p:txBody>
        </p:sp>
        <p:sp>
          <p:nvSpPr>
            <p:cNvPr id="1031" name="Freeform: Shape 30"/>
            <p:cNvSpPr/>
            <p:nvPr/>
          </p:nvSpPr>
          <p:spPr>
            <a:xfrm>
              <a:off x="8214825" y="4456710"/>
              <a:ext cx="1065" cy="1065"/>
            </a:xfrm>
            <a:custGeom>
              <a:avLst/>
              <a:gdLst>
                <a:gd name="connsiteX0" fmla="*/ 1066 w 1065"/>
                <a:gd name="connsiteY0" fmla="*/ 533 h 1065"/>
                <a:gd name="connsiteX1" fmla="*/ 532 w 1065"/>
                <a:gd name="connsiteY1" fmla="*/ 1065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2" y="1065"/>
                  </a:cubicBezTo>
                  <a:cubicBezTo>
                    <a:pt x="229" y="1065"/>
                    <a:pt x="0" y="837"/>
                    <a:pt x="0" y="533"/>
                  </a:cubicBezTo>
                  <a:cubicBezTo>
                    <a:pt x="0" y="228"/>
                    <a:pt x="229" y="0"/>
                    <a:pt x="532"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32" name="Freeform: Shape 31"/>
            <p:cNvSpPr/>
            <p:nvPr/>
          </p:nvSpPr>
          <p:spPr>
            <a:xfrm>
              <a:off x="8214292" y="4281873"/>
              <a:ext cx="2130" cy="2131"/>
            </a:xfrm>
            <a:custGeom>
              <a:avLst/>
              <a:gdLst>
                <a:gd name="connsiteX0" fmla="*/ 2131 w 2130"/>
                <a:gd name="connsiteY0" fmla="*/ 1066 h 2131"/>
                <a:gd name="connsiteX1" fmla="*/ 1065 w 2130"/>
                <a:gd name="connsiteY1" fmla="*/ 2131 h 2131"/>
                <a:gd name="connsiteX2" fmla="*/ 0 w 2130"/>
                <a:gd name="connsiteY2" fmla="*/ 1066 h 2131"/>
                <a:gd name="connsiteX3" fmla="*/ 1065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5" y="2131"/>
                  </a:cubicBezTo>
                  <a:cubicBezTo>
                    <a:pt x="456" y="2131"/>
                    <a:pt x="0" y="1675"/>
                    <a:pt x="0" y="1066"/>
                  </a:cubicBezTo>
                  <a:cubicBezTo>
                    <a:pt x="0" y="457"/>
                    <a:pt x="456" y="0"/>
                    <a:pt x="1065"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33" name="Freeform: Shape 32"/>
            <p:cNvSpPr/>
            <p:nvPr/>
          </p:nvSpPr>
          <p:spPr>
            <a:xfrm>
              <a:off x="8138709" y="4124847"/>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34" name="Freeform: Shape 33"/>
            <p:cNvSpPr/>
            <p:nvPr/>
          </p:nvSpPr>
          <p:spPr>
            <a:xfrm>
              <a:off x="8002386" y="4016154"/>
              <a:ext cx="2131" cy="2130"/>
            </a:xfrm>
            <a:custGeom>
              <a:avLst/>
              <a:gdLst>
                <a:gd name="connsiteX0" fmla="*/ 2131 w 2131"/>
                <a:gd name="connsiteY0" fmla="*/ 1066 h 2130"/>
                <a:gd name="connsiteX1" fmla="*/ 1066 w 2131"/>
                <a:gd name="connsiteY1" fmla="*/ 2131 h 2130"/>
                <a:gd name="connsiteX2" fmla="*/ 0 w 2131"/>
                <a:gd name="connsiteY2" fmla="*/ 1066 h 2130"/>
                <a:gd name="connsiteX3" fmla="*/ 1066 w 2131"/>
                <a:gd name="connsiteY3" fmla="*/ 0 h 2130"/>
                <a:gd name="connsiteX4" fmla="*/ 2131 w 2131"/>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6"/>
                  </a:moveTo>
                  <a:cubicBezTo>
                    <a:pt x="2131" y="1674"/>
                    <a:pt x="1675" y="2131"/>
                    <a:pt x="1066" y="2131"/>
                  </a:cubicBezTo>
                  <a:cubicBezTo>
                    <a:pt x="457" y="2131"/>
                    <a:pt x="0" y="1674"/>
                    <a:pt x="0" y="1066"/>
                  </a:cubicBezTo>
                  <a:cubicBezTo>
                    <a:pt x="0" y="457"/>
                    <a:pt x="533"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035" name="Freeform: Shape 34"/>
            <p:cNvSpPr/>
            <p:nvPr/>
          </p:nvSpPr>
          <p:spPr>
            <a:xfrm>
              <a:off x="7832497" y="3977411"/>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6" y="2131"/>
                    <a:pt x="0" y="1675"/>
                    <a:pt x="0" y="1066"/>
                  </a:cubicBezTo>
                  <a:cubicBezTo>
                    <a:pt x="0" y="457"/>
                    <a:pt x="456"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36" name="Freeform: Shape 35"/>
            <p:cNvSpPr/>
            <p:nvPr/>
          </p:nvSpPr>
          <p:spPr>
            <a:xfrm>
              <a:off x="7663064" y="4016687"/>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8" y="1065"/>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37" name="Freeform: Shape 36"/>
            <p:cNvSpPr/>
            <p:nvPr/>
          </p:nvSpPr>
          <p:spPr>
            <a:xfrm>
              <a:off x="8292310" y="4735890"/>
              <a:ext cx="1064" cy="1077"/>
            </a:xfrm>
            <a:custGeom>
              <a:avLst/>
              <a:gdLst>
                <a:gd name="connsiteX0" fmla="*/ 1065 w 1064"/>
                <a:gd name="connsiteY0" fmla="*/ 545 h 1077"/>
                <a:gd name="connsiteX1" fmla="*/ 532 w 1064"/>
                <a:gd name="connsiteY1" fmla="*/ 1078 h 1077"/>
                <a:gd name="connsiteX2" fmla="*/ 0 w 1064"/>
                <a:gd name="connsiteY2" fmla="*/ 545 h 1077"/>
                <a:gd name="connsiteX3" fmla="*/ 532 w 1064"/>
                <a:gd name="connsiteY3" fmla="*/ 12 h 1077"/>
                <a:gd name="connsiteX4" fmla="*/ 1065 w 1064"/>
                <a:gd name="connsiteY4" fmla="*/ 545 h 1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 h="1077">
                  <a:moveTo>
                    <a:pt x="1065" y="545"/>
                  </a:moveTo>
                  <a:cubicBezTo>
                    <a:pt x="1065" y="849"/>
                    <a:pt x="837" y="1078"/>
                    <a:pt x="532" y="1078"/>
                  </a:cubicBezTo>
                  <a:cubicBezTo>
                    <a:pt x="228" y="1078"/>
                    <a:pt x="0" y="849"/>
                    <a:pt x="0" y="545"/>
                  </a:cubicBezTo>
                  <a:cubicBezTo>
                    <a:pt x="0" y="240"/>
                    <a:pt x="228" y="12"/>
                    <a:pt x="532" y="12"/>
                  </a:cubicBezTo>
                  <a:cubicBezTo>
                    <a:pt x="837" y="-64"/>
                    <a:pt x="1065" y="240"/>
                    <a:pt x="1065" y="545"/>
                  </a:cubicBezTo>
                </a:path>
              </a:pathLst>
            </a:custGeom>
            <a:grpFill/>
            <a:ln w="7608" cap="flat">
              <a:noFill/>
              <a:prstDash val="solid"/>
              <a:miter/>
            </a:ln>
          </p:spPr>
          <p:txBody>
            <a:bodyPr rtlCol="0" anchor="ctr"/>
            <a:lstStyle/>
            <a:p>
              <a:endParaRPr lang="hi-IN"/>
            </a:p>
          </p:txBody>
        </p:sp>
        <p:sp>
          <p:nvSpPr>
            <p:cNvPr id="1038" name="Freeform: Shape 37"/>
            <p:cNvSpPr/>
            <p:nvPr/>
          </p:nvSpPr>
          <p:spPr>
            <a:xfrm>
              <a:off x="8379843" y="4584203"/>
              <a:ext cx="1064" cy="1065"/>
            </a:xfrm>
            <a:custGeom>
              <a:avLst/>
              <a:gdLst>
                <a:gd name="connsiteX0" fmla="*/ 1065 w 1064"/>
                <a:gd name="connsiteY0" fmla="*/ 533 h 1065"/>
                <a:gd name="connsiteX1" fmla="*/ 532 w 1064"/>
                <a:gd name="connsiteY1" fmla="*/ 1065 h 1065"/>
                <a:gd name="connsiteX2" fmla="*/ 0 w 1064"/>
                <a:gd name="connsiteY2" fmla="*/ 533 h 1065"/>
                <a:gd name="connsiteX3" fmla="*/ 532 w 1064"/>
                <a:gd name="connsiteY3" fmla="*/ 0 h 1065"/>
                <a:gd name="connsiteX4" fmla="*/ 1065 w 1064"/>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 h="1065">
                  <a:moveTo>
                    <a:pt x="1065" y="533"/>
                  </a:moveTo>
                  <a:cubicBezTo>
                    <a:pt x="1065" y="837"/>
                    <a:pt x="837" y="1065"/>
                    <a:pt x="532" y="1065"/>
                  </a:cubicBezTo>
                  <a:cubicBezTo>
                    <a:pt x="228" y="1065"/>
                    <a:pt x="0" y="837"/>
                    <a:pt x="0" y="533"/>
                  </a:cubicBezTo>
                  <a:cubicBezTo>
                    <a:pt x="0" y="228"/>
                    <a:pt x="228" y="0"/>
                    <a:pt x="532"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039" name="Freeform: Shape 38"/>
            <p:cNvSpPr/>
            <p:nvPr/>
          </p:nvSpPr>
          <p:spPr>
            <a:xfrm>
              <a:off x="8418357" y="4412944"/>
              <a:ext cx="2131" cy="2130"/>
            </a:xfrm>
            <a:custGeom>
              <a:avLst/>
              <a:gdLst>
                <a:gd name="connsiteX0" fmla="*/ 2131 w 2131"/>
                <a:gd name="connsiteY0" fmla="*/ 1065 h 2130"/>
                <a:gd name="connsiteX1" fmla="*/ 1066 w 2131"/>
                <a:gd name="connsiteY1" fmla="*/ 2131 h 2130"/>
                <a:gd name="connsiteX2" fmla="*/ 0 w 2131"/>
                <a:gd name="connsiteY2" fmla="*/ 1065 h 2130"/>
                <a:gd name="connsiteX3" fmla="*/ 1066 w 2131"/>
                <a:gd name="connsiteY3" fmla="*/ 0 h 2130"/>
                <a:gd name="connsiteX4" fmla="*/ 2131 w 2131"/>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5"/>
                  </a:moveTo>
                  <a:cubicBezTo>
                    <a:pt x="2131" y="1674"/>
                    <a:pt x="1674" y="2131"/>
                    <a:pt x="1066" y="2131"/>
                  </a:cubicBezTo>
                  <a:cubicBezTo>
                    <a:pt x="457" y="2131"/>
                    <a:pt x="0" y="1674"/>
                    <a:pt x="0" y="1065"/>
                  </a:cubicBezTo>
                  <a:cubicBezTo>
                    <a:pt x="0" y="457"/>
                    <a:pt x="533" y="0"/>
                    <a:pt x="1066" y="0"/>
                  </a:cubicBezTo>
                  <a:cubicBezTo>
                    <a:pt x="1598" y="0"/>
                    <a:pt x="2131" y="457"/>
                    <a:pt x="2131" y="1065"/>
                  </a:cubicBezTo>
                </a:path>
              </a:pathLst>
            </a:custGeom>
            <a:grpFill/>
            <a:ln w="7608" cap="flat">
              <a:noFill/>
              <a:prstDash val="solid"/>
              <a:miter/>
            </a:ln>
          </p:spPr>
          <p:txBody>
            <a:bodyPr rtlCol="0" anchor="ctr"/>
            <a:lstStyle/>
            <a:p>
              <a:endParaRPr lang="hi-IN"/>
            </a:p>
          </p:txBody>
        </p:sp>
        <p:sp>
          <p:nvSpPr>
            <p:cNvPr id="1040" name="Freeform: Shape 39"/>
            <p:cNvSpPr/>
            <p:nvPr/>
          </p:nvSpPr>
          <p:spPr>
            <a:xfrm>
              <a:off x="8404732" y="4237797"/>
              <a:ext cx="3197" cy="3201"/>
            </a:xfrm>
            <a:custGeom>
              <a:avLst/>
              <a:gdLst>
                <a:gd name="connsiteX0" fmla="*/ 3197 w 3197"/>
                <a:gd name="connsiteY0" fmla="*/ 1603 h 3201"/>
                <a:gd name="connsiteX1" fmla="*/ 1599 w 3197"/>
                <a:gd name="connsiteY1" fmla="*/ 3202 h 3201"/>
                <a:gd name="connsiteX2" fmla="*/ 0 w 3197"/>
                <a:gd name="connsiteY2" fmla="*/ 1603 h 3201"/>
                <a:gd name="connsiteX3" fmla="*/ 1599 w 3197"/>
                <a:gd name="connsiteY3" fmla="*/ 5 h 3201"/>
                <a:gd name="connsiteX4" fmla="*/ 3197 w 3197"/>
                <a:gd name="connsiteY4" fmla="*/ 1603 h 3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01">
                  <a:moveTo>
                    <a:pt x="3197" y="1603"/>
                  </a:moveTo>
                  <a:cubicBezTo>
                    <a:pt x="3197" y="2517"/>
                    <a:pt x="2436" y="3202"/>
                    <a:pt x="1599" y="3202"/>
                  </a:cubicBezTo>
                  <a:cubicBezTo>
                    <a:pt x="686" y="3202"/>
                    <a:pt x="0" y="2441"/>
                    <a:pt x="0" y="1603"/>
                  </a:cubicBezTo>
                  <a:cubicBezTo>
                    <a:pt x="0" y="690"/>
                    <a:pt x="762" y="5"/>
                    <a:pt x="1599" y="5"/>
                  </a:cubicBezTo>
                  <a:cubicBezTo>
                    <a:pt x="2436" y="-71"/>
                    <a:pt x="3197" y="690"/>
                    <a:pt x="3197" y="1603"/>
                  </a:cubicBezTo>
                </a:path>
              </a:pathLst>
            </a:custGeom>
            <a:grpFill/>
            <a:ln w="7608" cap="flat">
              <a:noFill/>
              <a:prstDash val="solid"/>
              <a:miter/>
            </a:ln>
          </p:spPr>
          <p:txBody>
            <a:bodyPr rtlCol="0" anchor="ctr"/>
            <a:lstStyle/>
            <a:p>
              <a:endParaRPr lang="hi-IN"/>
            </a:p>
          </p:txBody>
        </p:sp>
        <p:sp>
          <p:nvSpPr>
            <p:cNvPr id="1041" name="Freeform: Shape 40"/>
            <p:cNvSpPr/>
            <p:nvPr/>
          </p:nvSpPr>
          <p:spPr>
            <a:xfrm>
              <a:off x="8340720" y="4074763"/>
              <a:ext cx="3196" cy="3196"/>
            </a:xfrm>
            <a:custGeom>
              <a:avLst/>
              <a:gdLst>
                <a:gd name="connsiteX0" fmla="*/ 3196 w 3196"/>
                <a:gd name="connsiteY0" fmla="*/ 1598 h 3196"/>
                <a:gd name="connsiteX1" fmla="*/ 1598 w 3196"/>
                <a:gd name="connsiteY1" fmla="*/ 3197 h 3196"/>
                <a:gd name="connsiteX2" fmla="*/ 0 w 3196"/>
                <a:gd name="connsiteY2" fmla="*/ 1598 h 3196"/>
                <a:gd name="connsiteX3" fmla="*/ 1598 w 3196"/>
                <a:gd name="connsiteY3" fmla="*/ 0 h 3196"/>
                <a:gd name="connsiteX4" fmla="*/ 3196 w 3196"/>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196">
                  <a:moveTo>
                    <a:pt x="3196" y="1598"/>
                  </a:moveTo>
                  <a:cubicBezTo>
                    <a:pt x="3196" y="2511"/>
                    <a:pt x="2435" y="3197"/>
                    <a:pt x="1598" y="3197"/>
                  </a:cubicBezTo>
                  <a:cubicBezTo>
                    <a:pt x="685" y="3197"/>
                    <a:pt x="0" y="2435"/>
                    <a:pt x="0" y="1598"/>
                  </a:cubicBezTo>
                  <a:cubicBezTo>
                    <a:pt x="0" y="685"/>
                    <a:pt x="761" y="0"/>
                    <a:pt x="1598" y="0"/>
                  </a:cubicBezTo>
                  <a:cubicBezTo>
                    <a:pt x="2511" y="0"/>
                    <a:pt x="3196" y="685"/>
                    <a:pt x="3196" y="1598"/>
                  </a:cubicBezTo>
                </a:path>
              </a:pathLst>
            </a:custGeom>
            <a:grpFill/>
            <a:ln w="7608" cap="flat">
              <a:noFill/>
              <a:prstDash val="solid"/>
              <a:miter/>
            </a:ln>
          </p:spPr>
          <p:txBody>
            <a:bodyPr rtlCol="0" anchor="ctr"/>
            <a:lstStyle/>
            <a:p>
              <a:endParaRPr lang="hi-IN"/>
            </a:p>
          </p:txBody>
        </p:sp>
        <p:sp>
          <p:nvSpPr>
            <p:cNvPr id="1042" name="Freeform: Shape 41"/>
            <p:cNvSpPr/>
            <p:nvPr/>
          </p:nvSpPr>
          <p:spPr>
            <a:xfrm>
              <a:off x="8230885" y="3937222"/>
              <a:ext cx="4415" cy="4414"/>
            </a:xfrm>
            <a:custGeom>
              <a:avLst/>
              <a:gdLst>
                <a:gd name="connsiteX0" fmla="*/ 4415 w 4415"/>
                <a:gd name="connsiteY0" fmla="*/ 2207 h 4414"/>
                <a:gd name="connsiteX1" fmla="*/ 2208 w 4415"/>
                <a:gd name="connsiteY1" fmla="*/ 4414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4"/>
                    <a:pt x="2208" y="4414"/>
                  </a:cubicBezTo>
                  <a:cubicBezTo>
                    <a:pt x="990" y="4414"/>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043" name="Freeform: Shape 42"/>
            <p:cNvSpPr/>
            <p:nvPr/>
          </p:nvSpPr>
          <p:spPr>
            <a:xfrm>
              <a:off x="8086875" y="3839186"/>
              <a:ext cx="3196" cy="3196"/>
            </a:xfrm>
            <a:custGeom>
              <a:avLst/>
              <a:gdLst>
                <a:gd name="connsiteX0" fmla="*/ 3196 w 3196"/>
                <a:gd name="connsiteY0" fmla="*/ 1598 h 3196"/>
                <a:gd name="connsiteX1" fmla="*/ 1598 w 3196"/>
                <a:gd name="connsiteY1" fmla="*/ 3197 h 3196"/>
                <a:gd name="connsiteX2" fmla="*/ 0 w 3196"/>
                <a:gd name="connsiteY2" fmla="*/ 1598 h 3196"/>
                <a:gd name="connsiteX3" fmla="*/ 1598 w 3196"/>
                <a:gd name="connsiteY3" fmla="*/ 0 h 3196"/>
                <a:gd name="connsiteX4" fmla="*/ 3196 w 3196"/>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196">
                  <a:moveTo>
                    <a:pt x="3196" y="1598"/>
                  </a:moveTo>
                  <a:cubicBezTo>
                    <a:pt x="3196" y="2512"/>
                    <a:pt x="2435" y="3197"/>
                    <a:pt x="1598" y="3197"/>
                  </a:cubicBezTo>
                  <a:cubicBezTo>
                    <a:pt x="761" y="3197"/>
                    <a:pt x="0" y="2436"/>
                    <a:pt x="0" y="1598"/>
                  </a:cubicBezTo>
                  <a:cubicBezTo>
                    <a:pt x="0" y="685"/>
                    <a:pt x="761" y="0"/>
                    <a:pt x="1598" y="0"/>
                  </a:cubicBezTo>
                  <a:cubicBezTo>
                    <a:pt x="2435" y="0"/>
                    <a:pt x="3196" y="685"/>
                    <a:pt x="3196" y="1598"/>
                  </a:cubicBezTo>
                </a:path>
              </a:pathLst>
            </a:custGeom>
            <a:grpFill/>
            <a:ln w="7608" cap="flat">
              <a:noFill/>
              <a:prstDash val="solid"/>
              <a:miter/>
            </a:ln>
          </p:spPr>
          <p:txBody>
            <a:bodyPr rtlCol="0" anchor="ctr"/>
            <a:lstStyle/>
            <a:p>
              <a:endParaRPr lang="hi-IN"/>
            </a:p>
          </p:txBody>
        </p:sp>
        <p:sp>
          <p:nvSpPr>
            <p:cNvPr id="1044" name="Freeform: Shape 43"/>
            <p:cNvSpPr/>
            <p:nvPr/>
          </p:nvSpPr>
          <p:spPr>
            <a:xfrm>
              <a:off x="7919496" y="3787579"/>
              <a:ext cx="3197" cy="3273"/>
            </a:xfrm>
            <a:custGeom>
              <a:avLst/>
              <a:gdLst>
                <a:gd name="connsiteX0" fmla="*/ 3197 w 3197"/>
                <a:gd name="connsiteY0" fmla="*/ 1599 h 3273"/>
                <a:gd name="connsiteX1" fmla="*/ 1599 w 3197"/>
                <a:gd name="connsiteY1" fmla="*/ 3273 h 3273"/>
                <a:gd name="connsiteX2" fmla="*/ 0 w 3197"/>
                <a:gd name="connsiteY2" fmla="*/ 1599 h 3273"/>
                <a:gd name="connsiteX3" fmla="*/ 1599 w 3197"/>
                <a:gd name="connsiteY3" fmla="*/ 0 h 3273"/>
                <a:gd name="connsiteX4" fmla="*/ 3197 w 3197"/>
                <a:gd name="connsiteY4" fmla="*/ 1599 h 3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3">
                  <a:moveTo>
                    <a:pt x="3197" y="1599"/>
                  </a:moveTo>
                  <a:cubicBezTo>
                    <a:pt x="3197" y="2512"/>
                    <a:pt x="2436" y="3273"/>
                    <a:pt x="1599" y="3273"/>
                  </a:cubicBezTo>
                  <a:cubicBezTo>
                    <a:pt x="686" y="3273"/>
                    <a:pt x="0" y="2512"/>
                    <a:pt x="0" y="1599"/>
                  </a:cubicBezTo>
                  <a:cubicBezTo>
                    <a:pt x="0" y="685"/>
                    <a:pt x="686" y="0"/>
                    <a:pt x="1599" y="0"/>
                  </a:cubicBezTo>
                  <a:cubicBezTo>
                    <a:pt x="2512" y="0"/>
                    <a:pt x="3197" y="685"/>
                    <a:pt x="3197" y="1599"/>
                  </a:cubicBezTo>
                </a:path>
              </a:pathLst>
            </a:custGeom>
            <a:grpFill/>
            <a:ln w="7608" cap="flat">
              <a:noFill/>
              <a:prstDash val="solid"/>
              <a:miter/>
            </a:ln>
          </p:spPr>
          <p:txBody>
            <a:bodyPr rtlCol="0" anchor="ctr"/>
            <a:lstStyle/>
            <a:p>
              <a:endParaRPr lang="hi-IN"/>
            </a:p>
          </p:txBody>
        </p:sp>
        <p:sp>
          <p:nvSpPr>
            <p:cNvPr id="1045" name="Freeform: Shape 44"/>
            <p:cNvSpPr/>
            <p:nvPr/>
          </p:nvSpPr>
          <p:spPr>
            <a:xfrm>
              <a:off x="7744888" y="3788112"/>
              <a:ext cx="2130" cy="2131"/>
            </a:xfrm>
            <a:custGeom>
              <a:avLst/>
              <a:gdLst>
                <a:gd name="connsiteX0" fmla="*/ 2131 w 2130"/>
                <a:gd name="connsiteY0" fmla="*/ 1066 h 2131"/>
                <a:gd name="connsiteX1" fmla="*/ 1066 w 2130"/>
                <a:gd name="connsiteY1" fmla="*/ 2131 h 2131"/>
                <a:gd name="connsiteX2" fmla="*/ 0 w 2130"/>
                <a:gd name="connsiteY2" fmla="*/ 1066 h 2131"/>
                <a:gd name="connsiteX3" fmla="*/ 1066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46" name="Freeform: Shape 45"/>
            <p:cNvSpPr/>
            <p:nvPr/>
          </p:nvSpPr>
          <p:spPr>
            <a:xfrm>
              <a:off x="7578119" y="3840251"/>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047" name="Freeform: Shape 46"/>
            <p:cNvSpPr/>
            <p:nvPr/>
          </p:nvSpPr>
          <p:spPr>
            <a:xfrm>
              <a:off x="7433424" y="3938897"/>
              <a:ext cx="1065" cy="1065"/>
            </a:xfrm>
            <a:custGeom>
              <a:avLst/>
              <a:gdLst>
                <a:gd name="connsiteX0" fmla="*/ 1065 w 1065"/>
                <a:gd name="connsiteY0" fmla="*/ 533 h 1065"/>
                <a:gd name="connsiteX1" fmla="*/ 533 w 1065"/>
                <a:gd name="connsiteY1" fmla="*/ 1066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3" y="1066"/>
                  </a:cubicBezTo>
                  <a:cubicBezTo>
                    <a:pt x="228" y="1066"/>
                    <a:pt x="0" y="837"/>
                    <a:pt x="0" y="533"/>
                  </a:cubicBezTo>
                  <a:cubicBezTo>
                    <a:pt x="0" y="229"/>
                    <a:pt x="228" y="0"/>
                    <a:pt x="533" y="0"/>
                  </a:cubicBezTo>
                  <a:cubicBezTo>
                    <a:pt x="837" y="0"/>
                    <a:pt x="1065" y="229"/>
                    <a:pt x="1065" y="533"/>
                  </a:cubicBezTo>
                </a:path>
              </a:pathLst>
            </a:custGeom>
            <a:grpFill/>
            <a:ln w="7608" cap="flat">
              <a:noFill/>
              <a:prstDash val="solid"/>
              <a:miter/>
            </a:ln>
          </p:spPr>
          <p:txBody>
            <a:bodyPr rtlCol="0" anchor="ctr"/>
            <a:lstStyle/>
            <a:p>
              <a:endParaRPr lang="hi-IN"/>
            </a:p>
          </p:txBody>
        </p:sp>
        <p:sp>
          <p:nvSpPr>
            <p:cNvPr id="1048" name="Freeform: Shape 47"/>
            <p:cNvSpPr/>
            <p:nvPr/>
          </p:nvSpPr>
          <p:spPr>
            <a:xfrm>
              <a:off x="8445455" y="4857979"/>
              <a:ext cx="1065" cy="1077"/>
            </a:xfrm>
            <a:custGeom>
              <a:avLst/>
              <a:gdLst>
                <a:gd name="connsiteX0" fmla="*/ 1066 w 1065"/>
                <a:gd name="connsiteY0" fmla="*/ 545 h 1077"/>
                <a:gd name="connsiteX1" fmla="*/ 532 w 1065"/>
                <a:gd name="connsiteY1" fmla="*/ 1078 h 1077"/>
                <a:gd name="connsiteX2" fmla="*/ 0 w 1065"/>
                <a:gd name="connsiteY2" fmla="*/ 545 h 1077"/>
                <a:gd name="connsiteX3" fmla="*/ 532 w 1065"/>
                <a:gd name="connsiteY3" fmla="*/ 12 h 1077"/>
                <a:gd name="connsiteX4" fmla="*/ 1066 w 1065"/>
                <a:gd name="connsiteY4" fmla="*/ 545 h 1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77">
                  <a:moveTo>
                    <a:pt x="1066" y="545"/>
                  </a:moveTo>
                  <a:cubicBezTo>
                    <a:pt x="1066" y="849"/>
                    <a:pt x="837" y="1078"/>
                    <a:pt x="532" y="1078"/>
                  </a:cubicBezTo>
                  <a:cubicBezTo>
                    <a:pt x="228" y="1078"/>
                    <a:pt x="0" y="849"/>
                    <a:pt x="0" y="545"/>
                  </a:cubicBezTo>
                  <a:cubicBezTo>
                    <a:pt x="0" y="240"/>
                    <a:pt x="228" y="12"/>
                    <a:pt x="532" y="12"/>
                  </a:cubicBezTo>
                  <a:cubicBezTo>
                    <a:pt x="761" y="-64"/>
                    <a:pt x="1066" y="240"/>
                    <a:pt x="1066" y="545"/>
                  </a:cubicBezTo>
                </a:path>
              </a:pathLst>
            </a:custGeom>
            <a:grpFill/>
            <a:ln w="7608" cap="flat">
              <a:noFill/>
              <a:prstDash val="solid"/>
              <a:miter/>
            </a:ln>
          </p:spPr>
          <p:txBody>
            <a:bodyPr rtlCol="0" anchor="ctr"/>
            <a:lstStyle/>
            <a:p>
              <a:endParaRPr lang="hi-IN"/>
            </a:p>
          </p:txBody>
        </p:sp>
        <p:sp>
          <p:nvSpPr>
            <p:cNvPr id="1049" name="Freeform: Shape 48"/>
            <p:cNvSpPr/>
            <p:nvPr/>
          </p:nvSpPr>
          <p:spPr>
            <a:xfrm>
              <a:off x="8538772" y="4709413"/>
              <a:ext cx="1064" cy="1065"/>
            </a:xfrm>
            <a:custGeom>
              <a:avLst/>
              <a:gdLst>
                <a:gd name="connsiteX0" fmla="*/ 1065 w 1064"/>
                <a:gd name="connsiteY0" fmla="*/ 533 h 1065"/>
                <a:gd name="connsiteX1" fmla="*/ 532 w 1064"/>
                <a:gd name="connsiteY1" fmla="*/ 1066 h 1065"/>
                <a:gd name="connsiteX2" fmla="*/ 0 w 1064"/>
                <a:gd name="connsiteY2" fmla="*/ 533 h 1065"/>
                <a:gd name="connsiteX3" fmla="*/ 532 w 1064"/>
                <a:gd name="connsiteY3" fmla="*/ 0 h 1065"/>
                <a:gd name="connsiteX4" fmla="*/ 1065 w 1064"/>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 h="1065">
                  <a:moveTo>
                    <a:pt x="1065" y="533"/>
                  </a:moveTo>
                  <a:cubicBezTo>
                    <a:pt x="1065" y="838"/>
                    <a:pt x="837" y="1066"/>
                    <a:pt x="532" y="1066"/>
                  </a:cubicBezTo>
                  <a:cubicBezTo>
                    <a:pt x="228" y="1066"/>
                    <a:pt x="0" y="838"/>
                    <a:pt x="0" y="533"/>
                  </a:cubicBezTo>
                  <a:cubicBezTo>
                    <a:pt x="0" y="229"/>
                    <a:pt x="228" y="0"/>
                    <a:pt x="532" y="0"/>
                  </a:cubicBezTo>
                  <a:cubicBezTo>
                    <a:pt x="761" y="0"/>
                    <a:pt x="1065" y="229"/>
                    <a:pt x="1065" y="533"/>
                  </a:cubicBezTo>
                </a:path>
              </a:pathLst>
            </a:custGeom>
            <a:grpFill/>
            <a:ln w="7608" cap="flat">
              <a:noFill/>
              <a:prstDash val="solid"/>
              <a:miter/>
            </a:ln>
          </p:spPr>
          <p:txBody>
            <a:bodyPr rtlCol="0" anchor="ctr"/>
            <a:lstStyle/>
            <a:p>
              <a:endParaRPr lang="hi-IN"/>
            </a:p>
          </p:txBody>
        </p:sp>
        <p:sp>
          <p:nvSpPr>
            <p:cNvPr id="1050" name="Freeform: Shape 49"/>
            <p:cNvSpPr/>
            <p:nvPr/>
          </p:nvSpPr>
          <p:spPr>
            <a:xfrm>
              <a:off x="8596163" y="4543330"/>
              <a:ext cx="2131" cy="2130"/>
            </a:xfrm>
            <a:custGeom>
              <a:avLst/>
              <a:gdLst>
                <a:gd name="connsiteX0" fmla="*/ 2131 w 2131"/>
                <a:gd name="connsiteY0" fmla="*/ 1065 h 2130"/>
                <a:gd name="connsiteX1" fmla="*/ 1066 w 2131"/>
                <a:gd name="connsiteY1" fmla="*/ 2131 h 2130"/>
                <a:gd name="connsiteX2" fmla="*/ 0 w 2131"/>
                <a:gd name="connsiteY2" fmla="*/ 1065 h 2130"/>
                <a:gd name="connsiteX3" fmla="*/ 1066 w 2131"/>
                <a:gd name="connsiteY3" fmla="*/ 0 h 2130"/>
                <a:gd name="connsiteX4" fmla="*/ 2131 w 2131"/>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5"/>
                  </a:moveTo>
                  <a:cubicBezTo>
                    <a:pt x="2131" y="1674"/>
                    <a:pt x="1674" y="2131"/>
                    <a:pt x="1066" y="2131"/>
                  </a:cubicBezTo>
                  <a:cubicBezTo>
                    <a:pt x="457" y="2131"/>
                    <a:pt x="0" y="1674"/>
                    <a:pt x="0" y="1065"/>
                  </a:cubicBezTo>
                  <a:cubicBezTo>
                    <a:pt x="0" y="457"/>
                    <a:pt x="533" y="0"/>
                    <a:pt x="1066" y="0"/>
                  </a:cubicBezTo>
                  <a:cubicBezTo>
                    <a:pt x="1599" y="0"/>
                    <a:pt x="2131" y="457"/>
                    <a:pt x="2131" y="1065"/>
                  </a:cubicBezTo>
                </a:path>
              </a:pathLst>
            </a:custGeom>
            <a:grpFill/>
            <a:ln w="7608" cap="flat">
              <a:noFill/>
              <a:prstDash val="solid"/>
              <a:miter/>
            </a:ln>
          </p:spPr>
          <p:txBody>
            <a:bodyPr rtlCol="0" anchor="ctr"/>
            <a:lstStyle/>
            <a:p>
              <a:endParaRPr lang="hi-IN"/>
            </a:p>
          </p:txBody>
        </p:sp>
        <p:sp>
          <p:nvSpPr>
            <p:cNvPr id="1051" name="Freeform: Shape 50"/>
            <p:cNvSpPr/>
            <p:nvPr/>
          </p:nvSpPr>
          <p:spPr>
            <a:xfrm>
              <a:off x="8615268" y="4368492"/>
              <a:ext cx="3197" cy="3272"/>
            </a:xfrm>
            <a:custGeom>
              <a:avLst/>
              <a:gdLst>
                <a:gd name="connsiteX0" fmla="*/ 3197 w 3197"/>
                <a:gd name="connsiteY0" fmla="*/ 1599 h 3272"/>
                <a:gd name="connsiteX1" fmla="*/ 1598 w 3197"/>
                <a:gd name="connsiteY1" fmla="*/ 3273 h 3272"/>
                <a:gd name="connsiteX2" fmla="*/ 0 w 3197"/>
                <a:gd name="connsiteY2" fmla="*/ 1599 h 3272"/>
                <a:gd name="connsiteX3" fmla="*/ 1598 w 3197"/>
                <a:gd name="connsiteY3" fmla="*/ 0 h 3272"/>
                <a:gd name="connsiteX4" fmla="*/ 3197 w 3197"/>
                <a:gd name="connsiteY4" fmla="*/ 1599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599"/>
                  </a:moveTo>
                  <a:cubicBezTo>
                    <a:pt x="3197" y="2512"/>
                    <a:pt x="2436" y="3273"/>
                    <a:pt x="1598" y="3273"/>
                  </a:cubicBezTo>
                  <a:cubicBezTo>
                    <a:pt x="761" y="3273"/>
                    <a:pt x="0" y="2512"/>
                    <a:pt x="0" y="1599"/>
                  </a:cubicBezTo>
                  <a:cubicBezTo>
                    <a:pt x="0" y="685"/>
                    <a:pt x="761" y="0"/>
                    <a:pt x="1598" y="0"/>
                  </a:cubicBezTo>
                  <a:cubicBezTo>
                    <a:pt x="2436" y="0"/>
                    <a:pt x="3197" y="685"/>
                    <a:pt x="3197" y="1599"/>
                  </a:cubicBezTo>
                </a:path>
              </a:pathLst>
            </a:custGeom>
            <a:grpFill/>
            <a:ln w="7608" cap="flat">
              <a:noFill/>
              <a:prstDash val="solid"/>
              <a:miter/>
            </a:ln>
          </p:spPr>
          <p:txBody>
            <a:bodyPr rtlCol="0" anchor="ctr"/>
            <a:lstStyle/>
            <a:p>
              <a:endParaRPr lang="hi-IN"/>
            </a:p>
          </p:txBody>
        </p:sp>
        <p:sp>
          <p:nvSpPr>
            <p:cNvPr id="1052" name="Freeform: Shape 51"/>
            <p:cNvSpPr/>
            <p:nvPr/>
          </p:nvSpPr>
          <p:spPr>
            <a:xfrm>
              <a:off x="8594945" y="4193579"/>
              <a:ext cx="4414" cy="4414"/>
            </a:xfrm>
            <a:custGeom>
              <a:avLst/>
              <a:gdLst>
                <a:gd name="connsiteX0" fmla="*/ 4414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5"/>
                    <a:pt x="2207" y="4415"/>
                  </a:cubicBezTo>
                  <a:cubicBezTo>
                    <a:pt x="989" y="4415"/>
                    <a:pt x="0" y="3425"/>
                    <a:pt x="0" y="2207"/>
                  </a:cubicBezTo>
                  <a:cubicBezTo>
                    <a:pt x="0" y="990"/>
                    <a:pt x="989" y="0"/>
                    <a:pt x="2207" y="0"/>
                  </a:cubicBezTo>
                  <a:cubicBezTo>
                    <a:pt x="3425" y="76"/>
                    <a:pt x="4414" y="990"/>
                    <a:pt x="4414" y="2207"/>
                  </a:cubicBezTo>
                </a:path>
              </a:pathLst>
            </a:custGeom>
            <a:grpFill/>
            <a:ln w="7608" cap="flat">
              <a:noFill/>
              <a:prstDash val="solid"/>
              <a:miter/>
            </a:ln>
          </p:spPr>
          <p:txBody>
            <a:bodyPr rtlCol="0" anchor="ctr"/>
            <a:lstStyle/>
            <a:p>
              <a:endParaRPr lang="hi-IN"/>
            </a:p>
          </p:txBody>
        </p:sp>
        <p:sp>
          <p:nvSpPr>
            <p:cNvPr id="1053" name="Freeform: Shape 52"/>
            <p:cNvSpPr/>
            <p:nvPr/>
          </p:nvSpPr>
          <p:spPr>
            <a:xfrm>
              <a:off x="8536488" y="4027495"/>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54" name="Freeform: Shape 53"/>
            <p:cNvSpPr/>
            <p:nvPr/>
          </p:nvSpPr>
          <p:spPr>
            <a:xfrm>
              <a:off x="8443171" y="3878994"/>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3" y="5480"/>
                    <a:pt x="2740" y="5480"/>
                  </a:cubicBezTo>
                  <a:cubicBezTo>
                    <a:pt x="1218" y="5480"/>
                    <a:pt x="0" y="4262"/>
                    <a:pt x="0" y="2740"/>
                  </a:cubicBezTo>
                  <a:cubicBezTo>
                    <a:pt x="0" y="1218"/>
                    <a:pt x="1218" y="0"/>
                    <a:pt x="2740" y="0"/>
                  </a:cubicBezTo>
                  <a:cubicBezTo>
                    <a:pt x="4263" y="0"/>
                    <a:pt x="5480" y="1218"/>
                    <a:pt x="5480" y="2740"/>
                  </a:cubicBezTo>
                </a:path>
              </a:pathLst>
            </a:custGeom>
            <a:grpFill/>
            <a:ln w="7608" cap="flat">
              <a:noFill/>
              <a:prstDash val="solid"/>
              <a:miter/>
            </a:ln>
          </p:spPr>
          <p:txBody>
            <a:bodyPr rtlCol="0" anchor="ctr"/>
            <a:lstStyle/>
            <a:p>
              <a:endParaRPr lang="hi-IN"/>
            </a:p>
          </p:txBody>
        </p:sp>
        <p:sp>
          <p:nvSpPr>
            <p:cNvPr id="1055" name="Freeform: Shape 54"/>
            <p:cNvSpPr/>
            <p:nvPr/>
          </p:nvSpPr>
          <p:spPr>
            <a:xfrm>
              <a:off x="8319178" y="3754926"/>
              <a:ext cx="5481" cy="5480"/>
            </a:xfrm>
            <a:custGeom>
              <a:avLst/>
              <a:gdLst>
                <a:gd name="connsiteX0" fmla="*/ 5481 w 5481"/>
                <a:gd name="connsiteY0" fmla="*/ 2740 h 5480"/>
                <a:gd name="connsiteX1" fmla="*/ 2740 w 5481"/>
                <a:gd name="connsiteY1" fmla="*/ 5480 h 5480"/>
                <a:gd name="connsiteX2" fmla="*/ 0 w 5481"/>
                <a:gd name="connsiteY2" fmla="*/ 2740 h 5480"/>
                <a:gd name="connsiteX3" fmla="*/ 2740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0" y="5480"/>
                  </a:cubicBezTo>
                  <a:cubicBezTo>
                    <a:pt x="1218" y="5480"/>
                    <a:pt x="0" y="4262"/>
                    <a:pt x="0" y="2740"/>
                  </a:cubicBezTo>
                  <a:cubicBezTo>
                    <a:pt x="0" y="1218"/>
                    <a:pt x="1218" y="0"/>
                    <a:pt x="2740" y="0"/>
                  </a:cubicBezTo>
                  <a:cubicBezTo>
                    <a:pt x="4263" y="76"/>
                    <a:pt x="5481" y="1218"/>
                    <a:pt x="5481" y="2740"/>
                  </a:cubicBezTo>
                </a:path>
              </a:pathLst>
            </a:custGeom>
            <a:grpFill/>
            <a:ln w="7608" cap="flat">
              <a:noFill/>
              <a:prstDash val="solid"/>
              <a:miter/>
            </a:ln>
          </p:spPr>
          <p:txBody>
            <a:bodyPr rtlCol="0" anchor="ctr"/>
            <a:lstStyle/>
            <a:p>
              <a:endParaRPr lang="hi-IN"/>
            </a:p>
          </p:txBody>
        </p:sp>
        <p:sp>
          <p:nvSpPr>
            <p:cNvPr id="1056" name="Freeform: Shape 55"/>
            <p:cNvSpPr/>
            <p:nvPr/>
          </p:nvSpPr>
          <p:spPr>
            <a:xfrm>
              <a:off x="8170602" y="3661608"/>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7" y="5480"/>
                    <a:pt x="0" y="4262"/>
                    <a:pt x="0" y="2740"/>
                  </a:cubicBezTo>
                  <a:cubicBezTo>
                    <a:pt x="0" y="1218"/>
                    <a:pt x="1217"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57" name="Freeform: Shape 56"/>
            <p:cNvSpPr/>
            <p:nvPr/>
          </p:nvSpPr>
          <p:spPr>
            <a:xfrm>
              <a:off x="8005583" y="3604217"/>
              <a:ext cx="4414" cy="4414"/>
            </a:xfrm>
            <a:custGeom>
              <a:avLst/>
              <a:gdLst>
                <a:gd name="connsiteX0" fmla="*/ 4414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5"/>
                    <a:pt x="2208" y="4415"/>
                  </a:cubicBezTo>
                  <a:cubicBezTo>
                    <a:pt x="990" y="4415"/>
                    <a:pt x="0" y="3425"/>
                    <a:pt x="0" y="2207"/>
                  </a:cubicBezTo>
                  <a:cubicBezTo>
                    <a:pt x="0" y="990"/>
                    <a:pt x="990" y="0"/>
                    <a:pt x="2208" y="0"/>
                  </a:cubicBezTo>
                  <a:cubicBezTo>
                    <a:pt x="3425" y="0"/>
                    <a:pt x="4414" y="990"/>
                    <a:pt x="4414" y="2207"/>
                  </a:cubicBezTo>
                </a:path>
              </a:pathLst>
            </a:custGeom>
            <a:grpFill/>
            <a:ln w="7608" cap="flat">
              <a:noFill/>
              <a:prstDash val="solid"/>
              <a:miter/>
            </a:ln>
          </p:spPr>
          <p:txBody>
            <a:bodyPr rtlCol="0" anchor="ctr"/>
            <a:lstStyle/>
            <a:p>
              <a:endParaRPr lang="hi-IN"/>
            </a:p>
          </p:txBody>
        </p:sp>
        <p:sp>
          <p:nvSpPr>
            <p:cNvPr id="1058" name="Freeform: Shape 57"/>
            <p:cNvSpPr/>
            <p:nvPr/>
          </p:nvSpPr>
          <p:spPr>
            <a:xfrm>
              <a:off x="7831888" y="3585188"/>
              <a:ext cx="3272" cy="3273"/>
            </a:xfrm>
            <a:custGeom>
              <a:avLst/>
              <a:gdLst>
                <a:gd name="connsiteX0" fmla="*/ 3272 w 3272"/>
                <a:gd name="connsiteY0" fmla="*/ 1599 h 3273"/>
                <a:gd name="connsiteX1" fmla="*/ 1598 w 3272"/>
                <a:gd name="connsiteY1" fmla="*/ 3273 h 3273"/>
                <a:gd name="connsiteX2" fmla="*/ 0 w 3272"/>
                <a:gd name="connsiteY2" fmla="*/ 1599 h 3273"/>
                <a:gd name="connsiteX3" fmla="*/ 1598 w 3272"/>
                <a:gd name="connsiteY3" fmla="*/ 0 h 3273"/>
                <a:gd name="connsiteX4" fmla="*/ 3272 w 3272"/>
                <a:gd name="connsiteY4" fmla="*/ 1599 h 3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273">
                  <a:moveTo>
                    <a:pt x="3272" y="1599"/>
                  </a:moveTo>
                  <a:cubicBezTo>
                    <a:pt x="3272" y="2512"/>
                    <a:pt x="2511" y="3273"/>
                    <a:pt x="1598" y="3273"/>
                  </a:cubicBezTo>
                  <a:cubicBezTo>
                    <a:pt x="685" y="3273"/>
                    <a:pt x="0" y="2512"/>
                    <a:pt x="0" y="1599"/>
                  </a:cubicBezTo>
                  <a:cubicBezTo>
                    <a:pt x="0" y="685"/>
                    <a:pt x="685" y="0"/>
                    <a:pt x="1598" y="0"/>
                  </a:cubicBezTo>
                  <a:cubicBezTo>
                    <a:pt x="2511" y="0"/>
                    <a:pt x="3272" y="685"/>
                    <a:pt x="3272" y="1599"/>
                  </a:cubicBezTo>
                </a:path>
              </a:pathLst>
            </a:custGeom>
            <a:grpFill/>
            <a:ln w="7608" cap="flat">
              <a:noFill/>
              <a:prstDash val="solid"/>
              <a:miter/>
            </a:ln>
          </p:spPr>
          <p:txBody>
            <a:bodyPr rtlCol="0" anchor="ctr"/>
            <a:lstStyle/>
            <a:p>
              <a:endParaRPr lang="hi-IN"/>
            </a:p>
          </p:txBody>
        </p:sp>
        <p:sp>
          <p:nvSpPr>
            <p:cNvPr id="1059" name="Freeform: Shape 58"/>
            <p:cNvSpPr/>
            <p:nvPr/>
          </p:nvSpPr>
          <p:spPr>
            <a:xfrm>
              <a:off x="7658192" y="3605359"/>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599" y="0"/>
                    <a:pt x="2131" y="457"/>
                    <a:pt x="2131" y="1065"/>
                  </a:cubicBezTo>
                </a:path>
              </a:pathLst>
            </a:custGeom>
            <a:grpFill/>
            <a:ln w="7608" cap="flat">
              <a:noFill/>
              <a:prstDash val="solid"/>
              <a:miter/>
            </a:ln>
          </p:spPr>
          <p:txBody>
            <a:bodyPr rtlCol="0" anchor="ctr"/>
            <a:lstStyle/>
            <a:p>
              <a:endParaRPr lang="hi-IN"/>
            </a:p>
          </p:txBody>
        </p:sp>
        <p:sp>
          <p:nvSpPr>
            <p:cNvPr id="1060" name="Freeform: Shape 59"/>
            <p:cNvSpPr/>
            <p:nvPr/>
          </p:nvSpPr>
          <p:spPr>
            <a:xfrm>
              <a:off x="7493098" y="3663816"/>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9" y="1065"/>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61" name="Freeform: Shape 60"/>
            <p:cNvSpPr/>
            <p:nvPr/>
          </p:nvSpPr>
          <p:spPr>
            <a:xfrm>
              <a:off x="7344597" y="3757133"/>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9"/>
                    <a:pt x="229" y="0"/>
                    <a:pt x="533" y="0"/>
                  </a:cubicBezTo>
                  <a:cubicBezTo>
                    <a:pt x="838" y="0"/>
                    <a:pt x="1066" y="229"/>
                    <a:pt x="1066" y="533"/>
                  </a:cubicBezTo>
                </a:path>
              </a:pathLst>
            </a:custGeom>
            <a:grpFill/>
            <a:ln w="7608" cap="flat">
              <a:noFill/>
              <a:prstDash val="solid"/>
              <a:miter/>
            </a:ln>
          </p:spPr>
          <p:txBody>
            <a:bodyPr rtlCol="0" anchor="ctr"/>
            <a:lstStyle/>
            <a:p>
              <a:endParaRPr lang="hi-IN"/>
            </a:p>
          </p:txBody>
        </p:sp>
        <p:sp>
          <p:nvSpPr>
            <p:cNvPr id="1062" name="Freeform: Shape 61"/>
            <p:cNvSpPr/>
            <p:nvPr/>
          </p:nvSpPr>
          <p:spPr>
            <a:xfrm>
              <a:off x="8598523" y="4980080"/>
              <a:ext cx="1065" cy="1065"/>
            </a:xfrm>
            <a:custGeom>
              <a:avLst/>
              <a:gdLst>
                <a:gd name="connsiteX0" fmla="*/ 1066 w 1065"/>
                <a:gd name="connsiteY0" fmla="*/ 532 h 1065"/>
                <a:gd name="connsiteX1" fmla="*/ 532 w 1065"/>
                <a:gd name="connsiteY1" fmla="*/ 1065 h 1065"/>
                <a:gd name="connsiteX2" fmla="*/ 0 w 1065"/>
                <a:gd name="connsiteY2" fmla="*/ 532 h 1065"/>
                <a:gd name="connsiteX3" fmla="*/ 532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7" y="1065"/>
                    <a:pt x="532" y="1065"/>
                  </a:cubicBezTo>
                  <a:cubicBezTo>
                    <a:pt x="229" y="1065"/>
                    <a:pt x="0" y="837"/>
                    <a:pt x="0" y="532"/>
                  </a:cubicBezTo>
                  <a:cubicBezTo>
                    <a:pt x="0" y="228"/>
                    <a:pt x="229" y="0"/>
                    <a:pt x="532" y="0"/>
                  </a:cubicBezTo>
                  <a:cubicBezTo>
                    <a:pt x="837" y="0"/>
                    <a:pt x="1066" y="228"/>
                    <a:pt x="1066" y="532"/>
                  </a:cubicBezTo>
                </a:path>
              </a:pathLst>
            </a:custGeom>
            <a:grpFill/>
            <a:ln w="7608" cap="flat">
              <a:noFill/>
              <a:prstDash val="solid"/>
              <a:miter/>
            </a:ln>
          </p:spPr>
          <p:txBody>
            <a:bodyPr rtlCol="0" anchor="ctr"/>
            <a:lstStyle/>
            <a:p>
              <a:endParaRPr lang="hi-IN"/>
            </a:p>
          </p:txBody>
        </p:sp>
        <p:sp>
          <p:nvSpPr>
            <p:cNvPr id="1063" name="Freeform: Shape 62"/>
            <p:cNvSpPr/>
            <p:nvPr/>
          </p:nvSpPr>
          <p:spPr>
            <a:xfrm>
              <a:off x="8694733" y="4833025"/>
              <a:ext cx="2130" cy="2130"/>
            </a:xfrm>
            <a:custGeom>
              <a:avLst/>
              <a:gdLst>
                <a:gd name="connsiteX0" fmla="*/ 2131 w 2130"/>
                <a:gd name="connsiteY0" fmla="*/ 1065 h 2130"/>
                <a:gd name="connsiteX1" fmla="*/ 1066 w 2130"/>
                <a:gd name="connsiteY1" fmla="*/ 2131 h 2130"/>
                <a:gd name="connsiteX2" fmla="*/ 0 w 2130"/>
                <a:gd name="connsiteY2" fmla="*/ 1065 h 2130"/>
                <a:gd name="connsiteX3" fmla="*/ 1066 w 2130"/>
                <a:gd name="connsiteY3" fmla="*/ 0 h 2130"/>
                <a:gd name="connsiteX4" fmla="*/ 2131 w 2130"/>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0">
                  <a:moveTo>
                    <a:pt x="2131" y="1065"/>
                  </a:moveTo>
                  <a:cubicBezTo>
                    <a:pt x="2131" y="1674"/>
                    <a:pt x="1674" y="2131"/>
                    <a:pt x="1066" y="2131"/>
                  </a:cubicBezTo>
                  <a:cubicBezTo>
                    <a:pt x="456" y="2131"/>
                    <a:pt x="0" y="1674"/>
                    <a:pt x="0" y="1065"/>
                  </a:cubicBezTo>
                  <a:cubicBezTo>
                    <a:pt x="0" y="457"/>
                    <a:pt x="456"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064" name="Freeform: Shape 63"/>
            <p:cNvSpPr/>
            <p:nvPr/>
          </p:nvSpPr>
          <p:spPr>
            <a:xfrm>
              <a:off x="8763693" y="4671584"/>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4"/>
                    <a:pt x="1674" y="2131"/>
                    <a:pt x="1066" y="2131"/>
                  </a:cubicBezTo>
                  <a:cubicBezTo>
                    <a:pt x="457" y="2131"/>
                    <a:pt x="0" y="1674"/>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65" name="Freeform: Shape 64"/>
            <p:cNvSpPr/>
            <p:nvPr/>
          </p:nvSpPr>
          <p:spPr>
            <a:xfrm>
              <a:off x="8801598" y="4499335"/>
              <a:ext cx="4415" cy="4414"/>
            </a:xfrm>
            <a:custGeom>
              <a:avLst/>
              <a:gdLst>
                <a:gd name="connsiteX0" fmla="*/ 4415 w 4415"/>
                <a:gd name="connsiteY0" fmla="*/ 2207 h 4414"/>
                <a:gd name="connsiteX1" fmla="*/ 2208 w 4415"/>
                <a:gd name="connsiteY1" fmla="*/ 4415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5"/>
                    <a:pt x="2208" y="4415"/>
                  </a:cubicBezTo>
                  <a:cubicBezTo>
                    <a:pt x="990" y="4415"/>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066" name="Freeform: Shape 65"/>
            <p:cNvSpPr/>
            <p:nvPr/>
          </p:nvSpPr>
          <p:spPr>
            <a:xfrm>
              <a:off x="8808906" y="4323432"/>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7" y="5480"/>
                    <a:pt x="0" y="4262"/>
                    <a:pt x="0" y="2740"/>
                  </a:cubicBezTo>
                  <a:cubicBezTo>
                    <a:pt x="0" y="1218"/>
                    <a:pt x="1217"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67" name="Freeform: Shape 66"/>
            <p:cNvSpPr/>
            <p:nvPr/>
          </p:nvSpPr>
          <p:spPr>
            <a:xfrm>
              <a:off x="8784853" y="4148976"/>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2" y="6546"/>
                  </a:cubicBezTo>
                  <a:cubicBezTo>
                    <a:pt x="1446" y="6546"/>
                    <a:pt x="0" y="5100"/>
                    <a:pt x="0" y="3273"/>
                  </a:cubicBezTo>
                  <a:cubicBezTo>
                    <a:pt x="0" y="1446"/>
                    <a:pt x="1446" y="0"/>
                    <a:pt x="3272"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068" name="Freeform: Shape 67"/>
            <p:cNvSpPr/>
            <p:nvPr/>
          </p:nvSpPr>
          <p:spPr>
            <a:xfrm>
              <a:off x="8730050" y="3981445"/>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4"/>
                    <a:pt x="1674" y="0"/>
                    <a:pt x="3806" y="0"/>
                  </a:cubicBezTo>
                  <a:cubicBezTo>
                    <a:pt x="5936" y="0"/>
                    <a:pt x="7612" y="1751"/>
                    <a:pt x="7612" y="3806"/>
                  </a:cubicBezTo>
                </a:path>
              </a:pathLst>
            </a:custGeom>
            <a:grpFill/>
            <a:ln w="7608" cap="flat">
              <a:noFill/>
              <a:prstDash val="solid"/>
              <a:miter/>
            </a:ln>
          </p:spPr>
          <p:txBody>
            <a:bodyPr rtlCol="0" anchor="ctr"/>
            <a:lstStyle/>
            <a:p>
              <a:endParaRPr lang="hi-IN"/>
            </a:p>
          </p:txBody>
        </p:sp>
        <p:sp>
          <p:nvSpPr>
            <p:cNvPr id="1069" name="Freeform: Shape 68"/>
            <p:cNvSpPr/>
            <p:nvPr/>
          </p:nvSpPr>
          <p:spPr>
            <a:xfrm>
              <a:off x="8646856" y="3826855"/>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070" name="Freeform: Shape 69"/>
            <p:cNvSpPr/>
            <p:nvPr/>
          </p:nvSpPr>
          <p:spPr>
            <a:xfrm>
              <a:off x="8536945" y="3689086"/>
              <a:ext cx="8677" cy="8677"/>
            </a:xfrm>
            <a:custGeom>
              <a:avLst/>
              <a:gdLst>
                <a:gd name="connsiteX0" fmla="*/ 8677 w 8677"/>
                <a:gd name="connsiteY0" fmla="*/ 4338 h 8677"/>
                <a:gd name="connsiteX1" fmla="*/ 4339 w 8677"/>
                <a:gd name="connsiteY1" fmla="*/ 8677 h 8677"/>
                <a:gd name="connsiteX2" fmla="*/ 0 w 8677"/>
                <a:gd name="connsiteY2" fmla="*/ 4338 h 8677"/>
                <a:gd name="connsiteX3" fmla="*/ 4339 w 8677"/>
                <a:gd name="connsiteY3" fmla="*/ 0 h 8677"/>
                <a:gd name="connsiteX4" fmla="*/ 8677 w 8677"/>
                <a:gd name="connsiteY4" fmla="*/ 4338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8"/>
                  </a:moveTo>
                  <a:cubicBezTo>
                    <a:pt x="8677" y="6698"/>
                    <a:pt x="6698" y="8677"/>
                    <a:pt x="4339" y="8677"/>
                  </a:cubicBezTo>
                  <a:cubicBezTo>
                    <a:pt x="1903" y="8677"/>
                    <a:pt x="0" y="6698"/>
                    <a:pt x="0" y="4338"/>
                  </a:cubicBezTo>
                  <a:cubicBezTo>
                    <a:pt x="0" y="1903"/>
                    <a:pt x="1903"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071" name="Freeform: Shape 70"/>
            <p:cNvSpPr/>
            <p:nvPr/>
          </p:nvSpPr>
          <p:spPr>
            <a:xfrm>
              <a:off x="8404732" y="3573619"/>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79" y="0"/>
                    <a:pt x="4339" y="0"/>
                  </a:cubicBezTo>
                  <a:cubicBezTo>
                    <a:pt x="6698" y="0"/>
                    <a:pt x="8677" y="1903"/>
                    <a:pt x="8677" y="4339"/>
                  </a:cubicBezTo>
                </a:path>
              </a:pathLst>
            </a:custGeom>
            <a:grpFill/>
            <a:ln w="7608" cap="flat">
              <a:noFill/>
              <a:prstDash val="solid"/>
              <a:miter/>
            </a:ln>
          </p:spPr>
          <p:txBody>
            <a:bodyPr rtlCol="0" anchor="ctr"/>
            <a:lstStyle/>
            <a:p>
              <a:endParaRPr lang="hi-IN"/>
            </a:p>
          </p:txBody>
        </p:sp>
        <p:sp>
          <p:nvSpPr>
            <p:cNvPr id="1072" name="Freeform: Shape 71"/>
            <p:cNvSpPr/>
            <p:nvPr/>
          </p:nvSpPr>
          <p:spPr>
            <a:xfrm>
              <a:off x="8254557" y="3484107"/>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073" name="Freeform: Shape 72"/>
            <p:cNvSpPr/>
            <p:nvPr/>
          </p:nvSpPr>
          <p:spPr>
            <a:xfrm>
              <a:off x="8090756" y="3422986"/>
              <a:ext cx="6546" cy="6546"/>
            </a:xfrm>
            <a:custGeom>
              <a:avLst/>
              <a:gdLst>
                <a:gd name="connsiteX0" fmla="*/ 6547 w 6546"/>
                <a:gd name="connsiteY0" fmla="*/ 3273 h 6546"/>
                <a:gd name="connsiteX1" fmla="*/ 3273 w 6546"/>
                <a:gd name="connsiteY1" fmla="*/ 6546 h 6546"/>
                <a:gd name="connsiteX2" fmla="*/ 0 w 6546"/>
                <a:gd name="connsiteY2" fmla="*/ 3273 h 6546"/>
                <a:gd name="connsiteX3" fmla="*/ 3273 w 6546"/>
                <a:gd name="connsiteY3" fmla="*/ 0 h 6546"/>
                <a:gd name="connsiteX4" fmla="*/ 6547 w 6546"/>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6">
                  <a:moveTo>
                    <a:pt x="6547" y="3273"/>
                  </a:moveTo>
                  <a:cubicBezTo>
                    <a:pt x="6547" y="5100"/>
                    <a:pt x="5100" y="6546"/>
                    <a:pt x="3273" y="6546"/>
                  </a:cubicBezTo>
                  <a:cubicBezTo>
                    <a:pt x="1447" y="6546"/>
                    <a:pt x="0" y="5100"/>
                    <a:pt x="0" y="3273"/>
                  </a:cubicBezTo>
                  <a:cubicBezTo>
                    <a:pt x="0" y="1446"/>
                    <a:pt x="1447" y="0"/>
                    <a:pt x="3273" y="0"/>
                  </a:cubicBezTo>
                  <a:cubicBezTo>
                    <a:pt x="5024" y="0"/>
                    <a:pt x="6547" y="1446"/>
                    <a:pt x="6547" y="3273"/>
                  </a:cubicBezTo>
                </a:path>
              </a:pathLst>
            </a:custGeom>
            <a:grpFill/>
            <a:ln w="7608" cap="flat">
              <a:noFill/>
              <a:prstDash val="solid"/>
              <a:miter/>
            </a:ln>
          </p:spPr>
          <p:txBody>
            <a:bodyPr rtlCol="0" anchor="ctr"/>
            <a:lstStyle/>
            <a:p>
              <a:endParaRPr lang="hi-IN"/>
            </a:p>
          </p:txBody>
        </p:sp>
        <p:sp>
          <p:nvSpPr>
            <p:cNvPr id="1074" name="Freeform: Shape 73"/>
            <p:cNvSpPr/>
            <p:nvPr/>
          </p:nvSpPr>
          <p:spPr>
            <a:xfrm>
              <a:off x="7918507" y="3392160"/>
              <a:ext cx="5481" cy="5480"/>
            </a:xfrm>
            <a:custGeom>
              <a:avLst/>
              <a:gdLst>
                <a:gd name="connsiteX0" fmla="*/ 5481 w 5481"/>
                <a:gd name="connsiteY0" fmla="*/ 2740 h 5480"/>
                <a:gd name="connsiteX1" fmla="*/ 2741 w 5481"/>
                <a:gd name="connsiteY1" fmla="*/ 5480 h 5480"/>
                <a:gd name="connsiteX2" fmla="*/ 0 w 5481"/>
                <a:gd name="connsiteY2" fmla="*/ 2740 h 5480"/>
                <a:gd name="connsiteX3" fmla="*/ 2741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1" y="5480"/>
                  </a:cubicBezTo>
                  <a:cubicBezTo>
                    <a:pt x="1218" y="5480"/>
                    <a:pt x="0" y="4262"/>
                    <a:pt x="0" y="2740"/>
                  </a:cubicBezTo>
                  <a:cubicBezTo>
                    <a:pt x="0" y="1218"/>
                    <a:pt x="1218" y="0"/>
                    <a:pt x="2741" y="0"/>
                  </a:cubicBezTo>
                  <a:cubicBezTo>
                    <a:pt x="4263" y="0"/>
                    <a:pt x="5481" y="1218"/>
                    <a:pt x="5481" y="2740"/>
                  </a:cubicBezTo>
                </a:path>
              </a:pathLst>
            </a:custGeom>
            <a:grpFill/>
            <a:ln w="7608" cap="flat">
              <a:noFill/>
              <a:prstDash val="solid"/>
              <a:miter/>
            </a:ln>
          </p:spPr>
          <p:txBody>
            <a:bodyPr rtlCol="0" anchor="ctr"/>
            <a:lstStyle/>
            <a:p>
              <a:endParaRPr lang="hi-IN"/>
            </a:p>
          </p:txBody>
        </p:sp>
        <p:sp>
          <p:nvSpPr>
            <p:cNvPr id="1075" name="Freeform: Shape 74"/>
            <p:cNvSpPr/>
            <p:nvPr/>
          </p:nvSpPr>
          <p:spPr>
            <a:xfrm>
              <a:off x="7743518" y="3392693"/>
              <a:ext cx="4414" cy="4414"/>
            </a:xfrm>
            <a:custGeom>
              <a:avLst/>
              <a:gdLst>
                <a:gd name="connsiteX0" fmla="*/ 4415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7" y="4415"/>
                  </a:cubicBezTo>
                  <a:cubicBezTo>
                    <a:pt x="990" y="4415"/>
                    <a:pt x="0" y="3425"/>
                    <a:pt x="0" y="2207"/>
                  </a:cubicBezTo>
                  <a:cubicBezTo>
                    <a:pt x="0" y="989"/>
                    <a:pt x="990" y="0"/>
                    <a:pt x="2207"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076" name="Freeform: Shape 75"/>
            <p:cNvSpPr/>
            <p:nvPr/>
          </p:nvSpPr>
          <p:spPr>
            <a:xfrm>
              <a:off x="7571421" y="3424585"/>
              <a:ext cx="3272" cy="3272"/>
            </a:xfrm>
            <a:custGeom>
              <a:avLst/>
              <a:gdLst>
                <a:gd name="connsiteX0" fmla="*/ 3273 w 3272"/>
                <a:gd name="connsiteY0" fmla="*/ 1675 h 3272"/>
                <a:gd name="connsiteX1" fmla="*/ 1598 w 3272"/>
                <a:gd name="connsiteY1" fmla="*/ 3273 h 3272"/>
                <a:gd name="connsiteX2" fmla="*/ 0 w 3272"/>
                <a:gd name="connsiteY2" fmla="*/ 1675 h 3272"/>
                <a:gd name="connsiteX3" fmla="*/ 1598 w 3272"/>
                <a:gd name="connsiteY3" fmla="*/ 0 h 3272"/>
                <a:gd name="connsiteX4" fmla="*/ 3273 w 3272"/>
                <a:gd name="connsiteY4" fmla="*/ 1675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272">
                  <a:moveTo>
                    <a:pt x="3273" y="1675"/>
                  </a:moveTo>
                  <a:cubicBezTo>
                    <a:pt x="3273" y="2588"/>
                    <a:pt x="2511" y="3273"/>
                    <a:pt x="1598" y="3273"/>
                  </a:cubicBezTo>
                  <a:cubicBezTo>
                    <a:pt x="685" y="3273"/>
                    <a:pt x="0" y="2512"/>
                    <a:pt x="0" y="1675"/>
                  </a:cubicBezTo>
                  <a:cubicBezTo>
                    <a:pt x="0" y="761"/>
                    <a:pt x="761" y="0"/>
                    <a:pt x="1598" y="0"/>
                  </a:cubicBezTo>
                  <a:cubicBezTo>
                    <a:pt x="2435" y="0"/>
                    <a:pt x="3273" y="761"/>
                    <a:pt x="3273" y="1675"/>
                  </a:cubicBezTo>
                </a:path>
              </a:pathLst>
            </a:custGeom>
            <a:grpFill/>
            <a:ln w="7608" cap="flat">
              <a:noFill/>
              <a:prstDash val="solid"/>
              <a:miter/>
            </a:ln>
          </p:spPr>
          <p:txBody>
            <a:bodyPr rtlCol="0" anchor="ctr"/>
            <a:lstStyle/>
            <a:p>
              <a:endParaRPr lang="hi-IN"/>
            </a:p>
          </p:txBody>
        </p:sp>
        <p:sp>
          <p:nvSpPr>
            <p:cNvPr id="1077" name="Freeform: Shape 76"/>
            <p:cNvSpPr/>
            <p:nvPr/>
          </p:nvSpPr>
          <p:spPr>
            <a:xfrm>
              <a:off x="7407621" y="3486847"/>
              <a:ext cx="2130" cy="2131"/>
            </a:xfrm>
            <a:custGeom>
              <a:avLst/>
              <a:gdLst>
                <a:gd name="connsiteX0" fmla="*/ 2131 w 2130"/>
                <a:gd name="connsiteY0" fmla="*/ 1065 h 2131"/>
                <a:gd name="connsiteX1" fmla="*/ 1066 w 2130"/>
                <a:gd name="connsiteY1" fmla="*/ 2131 h 2131"/>
                <a:gd name="connsiteX2" fmla="*/ 0 w 2130"/>
                <a:gd name="connsiteY2" fmla="*/ 1065 h 2131"/>
                <a:gd name="connsiteX3" fmla="*/ 1066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6" y="2131"/>
                  </a:cubicBezTo>
                  <a:cubicBezTo>
                    <a:pt x="457" y="2131"/>
                    <a:pt x="0" y="1675"/>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078" name="Freeform: Shape 77"/>
            <p:cNvSpPr/>
            <p:nvPr/>
          </p:nvSpPr>
          <p:spPr>
            <a:xfrm>
              <a:off x="7257445" y="3577425"/>
              <a:ext cx="1065" cy="1065"/>
            </a:xfrm>
            <a:custGeom>
              <a:avLst/>
              <a:gdLst>
                <a:gd name="connsiteX0" fmla="*/ 1065 w 1065"/>
                <a:gd name="connsiteY0" fmla="*/ 533 h 1065"/>
                <a:gd name="connsiteX1" fmla="*/ 532 w 1065"/>
                <a:gd name="connsiteY1" fmla="*/ 1066 h 1065"/>
                <a:gd name="connsiteX2" fmla="*/ 0 w 1065"/>
                <a:gd name="connsiteY2" fmla="*/ 533 h 1065"/>
                <a:gd name="connsiteX3" fmla="*/ 532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2" y="1066"/>
                  </a:cubicBezTo>
                  <a:cubicBezTo>
                    <a:pt x="228" y="1066"/>
                    <a:pt x="0" y="837"/>
                    <a:pt x="0" y="533"/>
                  </a:cubicBezTo>
                  <a:cubicBezTo>
                    <a:pt x="0" y="228"/>
                    <a:pt x="228" y="0"/>
                    <a:pt x="532"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079" name="Freeform: Shape 78"/>
            <p:cNvSpPr/>
            <p:nvPr/>
          </p:nvSpPr>
          <p:spPr>
            <a:xfrm>
              <a:off x="8751667" y="5102169"/>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8"/>
                    <a:pt x="229" y="0"/>
                    <a:pt x="532" y="0"/>
                  </a:cubicBezTo>
                  <a:cubicBezTo>
                    <a:pt x="761" y="0"/>
                    <a:pt x="1066" y="228"/>
                    <a:pt x="1066" y="533"/>
                  </a:cubicBezTo>
                </a:path>
              </a:pathLst>
            </a:custGeom>
            <a:grpFill/>
            <a:ln w="7608" cap="flat">
              <a:noFill/>
              <a:prstDash val="solid"/>
              <a:miter/>
            </a:ln>
          </p:spPr>
          <p:txBody>
            <a:bodyPr rtlCol="0" anchor="ctr"/>
            <a:lstStyle/>
            <a:p>
              <a:endParaRPr lang="hi-IN"/>
            </a:p>
          </p:txBody>
        </p:sp>
        <p:sp>
          <p:nvSpPr>
            <p:cNvPr id="1080" name="Freeform: Shape 79"/>
            <p:cNvSpPr/>
            <p:nvPr/>
          </p:nvSpPr>
          <p:spPr>
            <a:xfrm>
              <a:off x="8850007" y="4956553"/>
              <a:ext cx="2131" cy="2138"/>
            </a:xfrm>
            <a:custGeom>
              <a:avLst/>
              <a:gdLst>
                <a:gd name="connsiteX0" fmla="*/ 2131 w 2131"/>
                <a:gd name="connsiteY0" fmla="*/ 1073 h 2138"/>
                <a:gd name="connsiteX1" fmla="*/ 1066 w 2131"/>
                <a:gd name="connsiteY1" fmla="*/ 2138 h 2138"/>
                <a:gd name="connsiteX2" fmla="*/ 0 w 2131"/>
                <a:gd name="connsiteY2" fmla="*/ 1073 h 2138"/>
                <a:gd name="connsiteX3" fmla="*/ 1066 w 2131"/>
                <a:gd name="connsiteY3" fmla="*/ 7 h 2138"/>
                <a:gd name="connsiteX4" fmla="*/ 2131 w 2131"/>
                <a:gd name="connsiteY4" fmla="*/ 1073 h 2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8">
                  <a:moveTo>
                    <a:pt x="2131" y="1073"/>
                  </a:moveTo>
                  <a:cubicBezTo>
                    <a:pt x="2131" y="1682"/>
                    <a:pt x="1675" y="2138"/>
                    <a:pt x="1066" y="2138"/>
                  </a:cubicBezTo>
                  <a:cubicBezTo>
                    <a:pt x="457" y="2138"/>
                    <a:pt x="0" y="1682"/>
                    <a:pt x="0" y="1073"/>
                  </a:cubicBezTo>
                  <a:cubicBezTo>
                    <a:pt x="0" y="464"/>
                    <a:pt x="457" y="7"/>
                    <a:pt x="1066" y="7"/>
                  </a:cubicBezTo>
                  <a:cubicBezTo>
                    <a:pt x="1675" y="-69"/>
                    <a:pt x="2131" y="464"/>
                    <a:pt x="2131" y="1073"/>
                  </a:cubicBezTo>
                </a:path>
              </a:pathLst>
            </a:custGeom>
            <a:grpFill/>
            <a:ln w="7608" cap="flat">
              <a:noFill/>
              <a:prstDash val="solid"/>
              <a:miter/>
            </a:ln>
          </p:spPr>
          <p:txBody>
            <a:bodyPr rtlCol="0" anchor="ctr"/>
            <a:lstStyle/>
            <a:p>
              <a:endParaRPr lang="hi-IN"/>
            </a:p>
          </p:txBody>
        </p:sp>
        <p:sp>
          <p:nvSpPr>
            <p:cNvPr id="1081" name="Freeform: Shape 80"/>
            <p:cNvSpPr/>
            <p:nvPr/>
          </p:nvSpPr>
          <p:spPr>
            <a:xfrm>
              <a:off x="8925743" y="4797707"/>
              <a:ext cx="3196" cy="3272"/>
            </a:xfrm>
            <a:custGeom>
              <a:avLst/>
              <a:gdLst>
                <a:gd name="connsiteX0" fmla="*/ 3196 w 3196"/>
                <a:gd name="connsiteY0" fmla="*/ 1674 h 3272"/>
                <a:gd name="connsiteX1" fmla="*/ 1598 w 3196"/>
                <a:gd name="connsiteY1" fmla="*/ 3273 h 3272"/>
                <a:gd name="connsiteX2" fmla="*/ 0 w 3196"/>
                <a:gd name="connsiteY2" fmla="*/ 1674 h 3272"/>
                <a:gd name="connsiteX3" fmla="*/ 1598 w 3196"/>
                <a:gd name="connsiteY3" fmla="*/ 0 h 3272"/>
                <a:gd name="connsiteX4" fmla="*/ 3196 w 3196"/>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272">
                  <a:moveTo>
                    <a:pt x="3196" y="1674"/>
                  </a:moveTo>
                  <a:cubicBezTo>
                    <a:pt x="3196" y="2588"/>
                    <a:pt x="2435" y="3273"/>
                    <a:pt x="1598" y="3273"/>
                  </a:cubicBezTo>
                  <a:cubicBezTo>
                    <a:pt x="685" y="3273"/>
                    <a:pt x="0" y="2512"/>
                    <a:pt x="0" y="1674"/>
                  </a:cubicBezTo>
                  <a:cubicBezTo>
                    <a:pt x="0" y="837"/>
                    <a:pt x="685" y="0"/>
                    <a:pt x="1598" y="0"/>
                  </a:cubicBezTo>
                  <a:cubicBezTo>
                    <a:pt x="2435" y="0"/>
                    <a:pt x="3196" y="761"/>
                    <a:pt x="3196" y="1674"/>
                  </a:cubicBezTo>
                </a:path>
              </a:pathLst>
            </a:custGeom>
            <a:grpFill/>
            <a:ln w="7608" cap="flat">
              <a:noFill/>
              <a:prstDash val="solid"/>
              <a:miter/>
            </a:ln>
          </p:spPr>
          <p:txBody>
            <a:bodyPr rtlCol="0" anchor="ctr"/>
            <a:lstStyle/>
            <a:p>
              <a:endParaRPr lang="hi-IN"/>
            </a:p>
          </p:txBody>
        </p:sp>
        <p:sp>
          <p:nvSpPr>
            <p:cNvPr id="1082" name="Freeform: Shape 81"/>
            <p:cNvSpPr/>
            <p:nvPr/>
          </p:nvSpPr>
          <p:spPr>
            <a:xfrm>
              <a:off x="8976816" y="4629340"/>
              <a:ext cx="4415" cy="4414"/>
            </a:xfrm>
            <a:custGeom>
              <a:avLst/>
              <a:gdLst>
                <a:gd name="connsiteX0" fmla="*/ 4415 w 4415"/>
                <a:gd name="connsiteY0" fmla="*/ 2207 h 4414"/>
                <a:gd name="connsiteX1" fmla="*/ 2208 w 4415"/>
                <a:gd name="connsiteY1" fmla="*/ 4415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5"/>
                    <a:pt x="2208" y="4415"/>
                  </a:cubicBezTo>
                  <a:cubicBezTo>
                    <a:pt x="990" y="4415"/>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083" name="Freeform: Shape 82"/>
            <p:cNvSpPr/>
            <p:nvPr/>
          </p:nvSpPr>
          <p:spPr>
            <a:xfrm>
              <a:off x="9002467" y="4455188"/>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3" y="5480"/>
                    <a:pt x="2740" y="5480"/>
                  </a:cubicBezTo>
                  <a:cubicBezTo>
                    <a:pt x="1218" y="5480"/>
                    <a:pt x="0" y="4262"/>
                    <a:pt x="0" y="2740"/>
                  </a:cubicBezTo>
                  <a:cubicBezTo>
                    <a:pt x="0" y="1218"/>
                    <a:pt x="1218" y="0"/>
                    <a:pt x="2740" y="0"/>
                  </a:cubicBezTo>
                  <a:cubicBezTo>
                    <a:pt x="4263" y="0"/>
                    <a:pt x="5480" y="1218"/>
                    <a:pt x="5480" y="2740"/>
                  </a:cubicBezTo>
                </a:path>
              </a:pathLst>
            </a:custGeom>
            <a:grpFill/>
            <a:ln w="7608" cap="flat">
              <a:noFill/>
              <a:prstDash val="solid"/>
              <a:miter/>
            </a:ln>
          </p:spPr>
          <p:txBody>
            <a:bodyPr rtlCol="0" anchor="ctr"/>
            <a:lstStyle/>
            <a:p>
              <a:endParaRPr lang="hi-IN"/>
            </a:p>
          </p:txBody>
        </p:sp>
        <p:sp>
          <p:nvSpPr>
            <p:cNvPr id="1084" name="Freeform: Shape 83"/>
            <p:cNvSpPr/>
            <p:nvPr/>
          </p:nvSpPr>
          <p:spPr>
            <a:xfrm>
              <a:off x="9001401" y="4278524"/>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085" name="Freeform: Shape 84"/>
            <p:cNvSpPr/>
            <p:nvPr/>
          </p:nvSpPr>
          <p:spPr>
            <a:xfrm>
              <a:off x="8974685" y="4104295"/>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774"/>
                    <a:pt x="6698" y="8677"/>
                    <a:pt x="4339" y="8677"/>
                  </a:cubicBezTo>
                  <a:cubicBezTo>
                    <a:pt x="1979" y="8677"/>
                    <a:pt x="0" y="6698"/>
                    <a:pt x="0" y="4339"/>
                  </a:cubicBezTo>
                  <a:cubicBezTo>
                    <a:pt x="0" y="1979"/>
                    <a:pt x="1979" y="0"/>
                    <a:pt x="4339" y="0"/>
                  </a:cubicBezTo>
                  <a:cubicBezTo>
                    <a:pt x="6774" y="0"/>
                    <a:pt x="8677" y="1979"/>
                    <a:pt x="8677" y="4339"/>
                  </a:cubicBezTo>
                </a:path>
              </a:pathLst>
            </a:custGeom>
            <a:grpFill/>
            <a:ln w="7608" cap="flat">
              <a:noFill/>
              <a:prstDash val="solid"/>
              <a:miter/>
            </a:ln>
          </p:spPr>
          <p:txBody>
            <a:bodyPr rtlCol="0" anchor="ctr"/>
            <a:lstStyle/>
            <a:p>
              <a:endParaRPr lang="hi-IN"/>
            </a:p>
          </p:txBody>
        </p:sp>
        <p:sp>
          <p:nvSpPr>
            <p:cNvPr id="1086" name="Freeform: Shape 85"/>
            <p:cNvSpPr/>
            <p:nvPr/>
          </p:nvSpPr>
          <p:spPr>
            <a:xfrm>
              <a:off x="8922393" y="3935928"/>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6"/>
                    <a:pt x="7535" y="9743"/>
                    <a:pt x="4871" y="9743"/>
                  </a:cubicBezTo>
                  <a:cubicBezTo>
                    <a:pt x="2208" y="9743"/>
                    <a:pt x="0" y="7536"/>
                    <a:pt x="0" y="4871"/>
                  </a:cubicBezTo>
                  <a:cubicBezTo>
                    <a:pt x="0" y="2208"/>
                    <a:pt x="2208" y="0"/>
                    <a:pt x="4871" y="0"/>
                  </a:cubicBezTo>
                  <a:cubicBezTo>
                    <a:pt x="7535" y="0"/>
                    <a:pt x="9743" y="2208"/>
                    <a:pt x="9743" y="4871"/>
                  </a:cubicBezTo>
                </a:path>
              </a:pathLst>
            </a:custGeom>
            <a:grpFill/>
            <a:ln w="7608" cap="flat">
              <a:noFill/>
              <a:prstDash val="solid"/>
              <a:miter/>
            </a:ln>
          </p:spPr>
          <p:txBody>
            <a:bodyPr rtlCol="0" anchor="ctr"/>
            <a:lstStyle/>
            <a:p>
              <a:endParaRPr lang="hi-IN"/>
            </a:p>
          </p:txBody>
        </p:sp>
        <p:sp>
          <p:nvSpPr>
            <p:cNvPr id="1087" name="Freeform: Shape 86"/>
            <p:cNvSpPr/>
            <p:nvPr/>
          </p:nvSpPr>
          <p:spPr>
            <a:xfrm>
              <a:off x="8845669" y="3777226"/>
              <a:ext cx="10808" cy="10810"/>
            </a:xfrm>
            <a:custGeom>
              <a:avLst/>
              <a:gdLst>
                <a:gd name="connsiteX0" fmla="*/ 10809 w 10808"/>
                <a:gd name="connsiteY0" fmla="*/ 5406 h 10810"/>
                <a:gd name="connsiteX1" fmla="*/ 5404 w 10808"/>
                <a:gd name="connsiteY1" fmla="*/ 10810 h 10810"/>
                <a:gd name="connsiteX2" fmla="*/ 0 w 10808"/>
                <a:gd name="connsiteY2" fmla="*/ 5406 h 10810"/>
                <a:gd name="connsiteX3" fmla="*/ 5404 w 10808"/>
                <a:gd name="connsiteY3" fmla="*/ 2 h 10810"/>
                <a:gd name="connsiteX4" fmla="*/ 10809 w 10808"/>
                <a:gd name="connsiteY4" fmla="*/ 5406 h 1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10">
                  <a:moveTo>
                    <a:pt x="10809" y="5406"/>
                  </a:moveTo>
                  <a:cubicBezTo>
                    <a:pt x="10809" y="8374"/>
                    <a:pt x="8373" y="10810"/>
                    <a:pt x="5404" y="10810"/>
                  </a:cubicBezTo>
                  <a:cubicBezTo>
                    <a:pt x="2435" y="10810"/>
                    <a:pt x="0" y="8374"/>
                    <a:pt x="0" y="5406"/>
                  </a:cubicBezTo>
                  <a:cubicBezTo>
                    <a:pt x="0" y="2437"/>
                    <a:pt x="2435" y="2"/>
                    <a:pt x="5404" y="2"/>
                  </a:cubicBezTo>
                  <a:cubicBezTo>
                    <a:pt x="8373" y="-74"/>
                    <a:pt x="10809" y="2361"/>
                    <a:pt x="10809" y="5406"/>
                  </a:cubicBezTo>
                </a:path>
              </a:pathLst>
            </a:custGeom>
            <a:grpFill/>
            <a:ln w="7608" cap="flat">
              <a:noFill/>
              <a:prstDash val="solid"/>
              <a:miter/>
            </a:ln>
          </p:spPr>
          <p:txBody>
            <a:bodyPr rtlCol="0" anchor="ctr"/>
            <a:lstStyle/>
            <a:p>
              <a:endParaRPr lang="hi-IN"/>
            </a:p>
          </p:txBody>
        </p:sp>
        <p:sp>
          <p:nvSpPr>
            <p:cNvPr id="1088" name="Freeform: Shape 87"/>
            <p:cNvSpPr/>
            <p:nvPr/>
          </p:nvSpPr>
          <p:spPr>
            <a:xfrm>
              <a:off x="8746795" y="3632075"/>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5" y="10808"/>
                    <a:pt x="0" y="8373"/>
                    <a:pt x="0" y="5404"/>
                  </a:cubicBezTo>
                  <a:cubicBezTo>
                    <a:pt x="0" y="2436"/>
                    <a:pt x="2435"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089" name="Freeform: Shape 88"/>
            <p:cNvSpPr/>
            <p:nvPr/>
          </p:nvSpPr>
          <p:spPr>
            <a:xfrm>
              <a:off x="8627295" y="3503364"/>
              <a:ext cx="10807" cy="10808"/>
            </a:xfrm>
            <a:custGeom>
              <a:avLst/>
              <a:gdLst>
                <a:gd name="connsiteX0" fmla="*/ 10808 w 10807"/>
                <a:gd name="connsiteY0" fmla="*/ 5404 h 10808"/>
                <a:gd name="connsiteX1" fmla="*/ 5404 w 10807"/>
                <a:gd name="connsiteY1" fmla="*/ 10808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8"/>
                    <a:pt x="5404" y="10808"/>
                  </a:cubicBezTo>
                  <a:cubicBezTo>
                    <a:pt x="2435" y="10808"/>
                    <a:pt x="0" y="8373"/>
                    <a:pt x="0" y="5404"/>
                  </a:cubicBezTo>
                  <a:cubicBezTo>
                    <a:pt x="0" y="2436"/>
                    <a:pt x="2435" y="0"/>
                    <a:pt x="5404" y="0"/>
                  </a:cubicBezTo>
                  <a:cubicBezTo>
                    <a:pt x="8449" y="0"/>
                    <a:pt x="10808" y="2436"/>
                    <a:pt x="10808" y="5404"/>
                  </a:cubicBezTo>
                </a:path>
              </a:pathLst>
            </a:custGeom>
            <a:grpFill/>
            <a:ln w="7608" cap="flat">
              <a:noFill/>
              <a:prstDash val="solid"/>
              <a:miter/>
            </a:ln>
          </p:spPr>
          <p:txBody>
            <a:bodyPr rtlCol="0" anchor="ctr"/>
            <a:lstStyle/>
            <a:p>
              <a:endParaRPr lang="hi-IN"/>
            </a:p>
          </p:txBody>
        </p:sp>
        <p:sp>
          <p:nvSpPr>
            <p:cNvPr id="1090" name="Freeform: Shape 89"/>
            <p:cNvSpPr/>
            <p:nvPr/>
          </p:nvSpPr>
          <p:spPr>
            <a:xfrm>
              <a:off x="8490058" y="3393910"/>
              <a:ext cx="10807" cy="10808"/>
            </a:xfrm>
            <a:custGeom>
              <a:avLst/>
              <a:gdLst>
                <a:gd name="connsiteX0" fmla="*/ 10808 w 10807"/>
                <a:gd name="connsiteY0" fmla="*/ 5404 h 10808"/>
                <a:gd name="connsiteX1" fmla="*/ 5404 w 10807"/>
                <a:gd name="connsiteY1" fmla="*/ 10808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8"/>
                    <a:pt x="5404" y="10808"/>
                  </a:cubicBezTo>
                  <a:cubicBezTo>
                    <a:pt x="2435" y="10808"/>
                    <a:pt x="0" y="8373"/>
                    <a:pt x="0" y="5404"/>
                  </a:cubicBezTo>
                  <a:cubicBezTo>
                    <a:pt x="0" y="2436"/>
                    <a:pt x="2435" y="0"/>
                    <a:pt x="5404" y="0"/>
                  </a:cubicBezTo>
                  <a:cubicBezTo>
                    <a:pt x="8373" y="0"/>
                    <a:pt x="10808" y="2360"/>
                    <a:pt x="10808" y="5404"/>
                  </a:cubicBezTo>
                </a:path>
              </a:pathLst>
            </a:custGeom>
            <a:grpFill/>
            <a:ln w="7608" cap="flat">
              <a:noFill/>
              <a:prstDash val="solid"/>
              <a:miter/>
            </a:ln>
          </p:spPr>
          <p:txBody>
            <a:bodyPr rtlCol="0" anchor="ctr"/>
            <a:lstStyle/>
            <a:p>
              <a:endParaRPr lang="hi-IN"/>
            </a:p>
          </p:txBody>
        </p:sp>
        <p:sp>
          <p:nvSpPr>
            <p:cNvPr id="1091" name="Freeform: Shape 90"/>
            <p:cNvSpPr/>
            <p:nvPr/>
          </p:nvSpPr>
          <p:spPr>
            <a:xfrm>
              <a:off x="8338436" y="3306606"/>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208" y="9743"/>
                    <a:pt x="0" y="7535"/>
                    <a:pt x="0" y="4871"/>
                  </a:cubicBezTo>
                  <a:cubicBezTo>
                    <a:pt x="0" y="2207"/>
                    <a:pt x="2208"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092" name="Freeform: Shape 91"/>
            <p:cNvSpPr/>
            <p:nvPr/>
          </p:nvSpPr>
          <p:spPr>
            <a:xfrm>
              <a:off x="8175549" y="324297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03"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093" name="Freeform: Shape 92"/>
            <p:cNvSpPr/>
            <p:nvPr/>
          </p:nvSpPr>
          <p:spPr>
            <a:xfrm>
              <a:off x="8004822" y="320445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094" name="Freeform: Shape 93"/>
            <p:cNvSpPr/>
            <p:nvPr/>
          </p:nvSpPr>
          <p:spPr>
            <a:xfrm>
              <a:off x="7830213" y="3191824"/>
              <a:ext cx="6545" cy="6546"/>
            </a:xfrm>
            <a:custGeom>
              <a:avLst/>
              <a:gdLst>
                <a:gd name="connsiteX0" fmla="*/ 6546 w 6545"/>
                <a:gd name="connsiteY0" fmla="*/ 3273 h 6546"/>
                <a:gd name="connsiteX1" fmla="*/ 3273 w 6545"/>
                <a:gd name="connsiteY1" fmla="*/ 6546 h 6546"/>
                <a:gd name="connsiteX2" fmla="*/ 0 w 6545"/>
                <a:gd name="connsiteY2" fmla="*/ 3273 h 6546"/>
                <a:gd name="connsiteX3" fmla="*/ 3273 w 6545"/>
                <a:gd name="connsiteY3" fmla="*/ 0 h 6546"/>
                <a:gd name="connsiteX4" fmla="*/ 6546 w 6545"/>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6">
                  <a:moveTo>
                    <a:pt x="6546" y="3273"/>
                  </a:moveTo>
                  <a:cubicBezTo>
                    <a:pt x="6546" y="5100"/>
                    <a:pt x="5100" y="6546"/>
                    <a:pt x="3273" y="6546"/>
                  </a:cubicBezTo>
                  <a:cubicBezTo>
                    <a:pt x="1447" y="6546"/>
                    <a:pt x="0" y="5100"/>
                    <a:pt x="0" y="3273"/>
                  </a:cubicBezTo>
                  <a:cubicBezTo>
                    <a:pt x="0" y="1446"/>
                    <a:pt x="1447" y="0"/>
                    <a:pt x="3273" y="0"/>
                  </a:cubicBezTo>
                  <a:cubicBezTo>
                    <a:pt x="5100" y="76"/>
                    <a:pt x="6546" y="1522"/>
                    <a:pt x="6546" y="3273"/>
                  </a:cubicBezTo>
                </a:path>
              </a:pathLst>
            </a:custGeom>
            <a:grpFill/>
            <a:ln w="7608" cap="flat">
              <a:noFill/>
              <a:prstDash val="solid"/>
              <a:miter/>
            </a:ln>
          </p:spPr>
          <p:txBody>
            <a:bodyPr rtlCol="0" anchor="ctr"/>
            <a:lstStyle/>
            <a:p>
              <a:endParaRPr lang="hi-IN"/>
            </a:p>
          </p:txBody>
        </p:sp>
        <p:sp>
          <p:nvSpPr>
            <p:cNvPr id="1095" name="Freeform: Shape 94"/>
            <p:cNvSpPr/>
            <p:nvPr/>
          </p:nvSpPr>
          <p:spPr>
            <a:xfrm>
              <a:off x="7655605" y="3205525"/>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96" name="Freeform: Shape 95"/>
            <p:cNvSpPr/>
            <p:nvPr/>
          </p:nvSpPr>
          <p:spPr>
            <a:xfrm>
              <a:off x="7485563" y="3245714"/>
              <a:ext cx="3272" cy="3272"/>
            </a:xfrm>
            <a:custGeom>
              <a:avLst/>
              <a:gdLst>
                <a:gd name="connsiteX0" fmla="*/ 3273 w 3272"/>
                <a:gd name="connsiteY0" fmla="*/ 1598 h 3272"/>
                <a:gd name="connsiteX1" fmla="*/ 1599 w 3272"/>
                <a:gd name="connsiteY1" fmla="*/ 3273 h 3272"/>
                <a:gd name="connsiteX2" fmla="*/ 0 w 3272"/>
                <a:gd name="connsiteY2" fmla="*/ 1598 h 3272"/>
                <a:gd name="connsiteX3" fmla="*/ 1599 w 3272"/>
                <a:gd name="connsiteY3" fmla="*/ 0 h 3272"/>
                <a:gd name="connsiteX4" fmla="*/ 3273 w 3272"/>
                <a:gd name="connsiteY4" fmla="*/ 1598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272">
                  <a:moveTo>
                    <a:pt x="3273" y="1598"/>
                  </a:moveTo>
                  <a:cubicBezTo>
                    <a:pt x="3273" y="2512"/>
                    <a:pt x="2512" y="3273"/>
                    <a:pt x="1599" y="3273"/>
                  </a:cubicBezTo>
                  <a:cubicBezTo>
                    <a:pt x="685" y="3273"/>
                    <a:pt x="0" y="2512"/>
                    <a:pt x="0" y="1598"/>
                  </a:cubicBezTo>
                  <a:cubicBezTo>
                    <a:pt x="0" y="685"/>
                    <a:pt x="761" y="0"/>
                    <a:pt x="1599" y="0"/>
                  </a:cubicBezTo>
                  <a:cubicBezTo>
                    <a:pt x="2436" y="0"/>
                    <a:pt x="3273" y="685"/>
                    <a:pt x="3273" y="1598"/>
                  </a:cubicBezTo>
                </a:path>
              </a:pathLst>
            </a:custGeom>
            <a:grpFill/>
            <a:ln w="7608" cap="flat">
              <a:noFill/>
              <a:prstDash val="solid"/>
              <a:miter/>
            </a:ln>
          </p:spPr>
          <p:txBody>
            <a:bodyPr rtlCol="0" anchor="ctr"/>
            <a:lstStyle/>
            <a:p>
              <a:endParaRPr lang="hi-IN"/>
            </a:p>
          </p:txBody>
        </p:sp>
        <p:sp>
          <p:nvSpPr>
            <p:cNvPr id="1097" name="Freeform: Shape 96"/>
            <p:cNvSpPr/>
            <p:nvPr/>
          </p:nvSpPr>
          <p:spPr>
            <a:xfrm>
              <a:off x="7322675" y="3310412"/>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675" y="0"/>
                    <a:pt x="2131" y="457"/>
                    <a:pt x="2131" y="1065"/>
                  </a:cubicBezTo>
                </a:path>
              </a:pathLst>
            </a:custGeom>
            <a:grpFill/>
            <a:ln w="7608" cap="flat">
              <a:noFill/>
              <a:prstDash val="solid"/>
              <a:miter/>
            </a:ln>
          </p:spPr>
          <p:txBody>
            <a:bodyPr rtlCol="0" anchor="ctr"/>
            <a:lstStyle/>
            <a:p>
              <a:endParaRPr lang="hi-IN"/>
            </a:p>
          </p:txBody>
        </p:sp>
        <p:sp>
          <p:nvSpPr>
            <p:cNvPr id="1098" name="Freeform: Shape 97"/>
            <p:cNvSpPr/>
            <p:nvPr/>
          </p:nvSpPr>
          <p:spPr>
            <a:xfrm>
              <a:off x="7171130" y="3398782"/>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9" y="1066"/>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99" name="Freeform: Shape 98"/>
            <p:cNvSpPr/>
            <p:nvPr/>
          </p:nvSpPr>
          <p:spPr>
            <a:xfrm>
              <a:off x="7033818" y="3508236"/>
              <a:ext cx="1065" cy="1065"/>
            </a:xfrm>
            <a:custGeom>
              <a:avLst/>
              <a:gdLst>
                <a:gd name="connsiteX0" fmla="*/ 1065 w 1065"/>
                <a:gd name="connsiteY0" fmla="*/ 533 h 1065"/>
                <a:gd name="connsiteX1" fmla="*/ 533 w 1065"/>
                <a:gd name="connsiteY1" fmla="*/ 1065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3" y="1065"/>
                  </a:cubicBezTo>
                  <a:cubicBezTo>
                    <a:pt x="228" y="1065"/>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100" name="Freeform: Shape 99"/>
            <p:cNvSpPr/>
            <p:nvPr/>
          </p:nvSpPr>
          <p:spPr>
            <a:xfrm>
              <a:off x="8904735" y="5224258"/>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01" name="Freeform: Shape 100"/>
            <p:cNvSpPr/>
            <p:nvPr/>
          </p:nvSpPr>
          <p:spPr>
            <a:xfrm>
              <a:off x="9004674" y="5079639"/>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6" y="2131"/>
                    <a:pt x="0" y="1675"/>
                    <a:pt x="0" y="1066"/>
                  </a:cubicBezTo>
                  <a:cubicBezTo>
                    <a:pt x="0" y="457"/>
                    <a:pt x="456"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102" name="Freeform: Shape 101"/>
            <p:cNvSpPr/>
            <p:nvPr/>
          </p:nvSpPr>
          <p:spPr>
            <a:xfrm>
              <a:off x="9085433" y="4923298"/>
              <a:ext cx="3197" cy="3272"/>
            </a:xfrm>
            <a:custGeom>
              <a:avLst/>
              <a:gdLst>
                <a:gd name="connsiteX0" fmla="*/ 3197 w 3197"/>
                <a:gd name="connsiteY0" fmla="*/ 1674 h 3272"/>
                <a:gd name="connsiteX1" fmla="*/ 1598 w 3197"/>
                <a:gd name="connsiteY1" fmla="*/ 3273 h 3272"/>
                <a:gd name="connsiteX2" fmla="*/ 0 w 3197"/>
                <a:gd name="connsiteY2" fmla="*/ 1674 h 3272"/>
                <a:gd name="connsiteX3" fmla="*/ 1598 w 3197"/>
                <a:gd name="connsiteY3" fmla="*/ 0 h 3272"/>
                <a:gd name="connsiteX4" fmla="*/ 3197 w 3197"/>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674"/>
                  </a:moveTo>
                  <a:cubicBezTo>
                    <a:pt x="3197" y="2588"/>
                    <a:pt x="2435" y="3273"/>
                    <a:pt x="1598" y="3273"/>
                  </a:cubicBezTo>
                  <a:cubicBezTo>
                    <a:pt x="761" y="3273"/>
                    <a:pt x="0" y="2512"/>
                    <a:pt x="0" y="1674"/>
                  </a:cubicBezTo>
                  <a:cubicBezTo>
                    <a:pt x="0" y="761"/>
                    <a:pt x="761" y="0"/>
                    <a:pt x="1598" y="0"/>
                  </a:cubicBezTo>
                  <a:cubicBezTo>
                    <a:pt x="2435" y="0"/>
                    <a:pt x="3197" y="761"/>
                    <a:pt x="3197" y="1674"/>
                  </a:cubicBezTo>
                </a:path>
              </a:pathLst>
            </a:custGeom>
            <a:grpFill/>
            <a:ln w="7608" cap="flat">
              <a:noFill/>
              <a:prstDash val="solid"/>
              <a:miter/>
            </a:ln>
          </p:spPr>
          <p:txBody>
            <a:bodyPr rtlCol="0" anchor="ctr"/>
            <a:lstStyle/>
            <a:p>
              <a:endParaRPr lang="hi-IN"/>
            </a:p>
          </p:txBody>
        </p:sp>
        <p:sp>
          <p:nvSpPr>
            <p:cNvPr id="1103" name="Freeform: Shape 102"/>
            <p:cNvSpPr/>
            <p:nvPr/>
          </p:nvSpPr>
          <p:spPr>
            <a:xfrm>
              <a:off x="9145412" y="4757899"/>
              <a:ext cx="4414" cy="4414"/>
            </a:xfrm>
            <a:custGeom>
              <a:avLst/>
              <a:gdLst>
                <a:gd name="connsiteX0" fmla="*/ 4414 w 4414"/>
                <a:gd name="connsiteY0" fmla="*/ 2207 h 4414"/>
                <a:gd name="connsiteX1" fmla="*/ 2208 w 4414"/>
                <a:gd name="connsiteY1" fmla="*/ 4414 h 4414"/>
                <a:gd name="connsiteX2" fmla="*/ 0 w 4414"/>
                <a:gd name="connsiteY2" fmla="*/ 2207 h 4414"/>
                <a:gd name="connsiteX3" fmla="*/ 2208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4"/>
                    <a:pt x="2208" y="4414"/>
                  </a:cubicBezTo>
                  <a:cubicBezTo>
                    <a:pt x="990" y="4414"/>
                    <a:pt x="0" y="3425"/>
                    <a:pt x="0" y="2207"/>
                  </a:cubicBezTo>
                  <a:cubicBezTo>
                    <a:pt x="0" y="989"/>
                    <a:pt x="990" y="0"/>
                    <a:pt x="2208" y="0"/>
                  </a:cubicBezTo>
                  <a:cubicBezTo>
                    <a:pt x="3425" y="76"/>
                    <a:pt x="4414" y="1065"/>
                    <a:pt x="4414" y="2207"/>
                  </a:cubicBezTo>
                </a:path>
              </a:pathLst>
            </a:custGeom>
            <a:grpFill/>
            <a:ln w="7608" cap="flat">
              <a:noFill/>
              <a:prstDash val="solid"/>
              <a:miter/>
            </a:ln>
          </p:spPr>
          <p:txBody>
            <a:bodyPr rtlCol="0" anchor="ctr"/>
            <a:lstStyle/>
            <a:p>
              <a:endParaRPr lang="hi-IN"/>
            </a:p>
          </p:txBody>
        </p:sp>
        <p:sp>
          <p:nvSpPr>
            <p:cNvPr id="1104" name="Freeform: Shape 103"/>
            <p:cNvSpPr/>
            <p:nvPr/>
          </p:nvSpPr>
          <p:spPr>
            <a:xfrm>
              <a:off x="9183470" y="4585574"/>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76"/>
                    <a:pt x="6546" y="1522"/>
                    <a:pt x="6546" y="3273"/>
                  </a:cubicBezTo>
                </a:path>
              </a:pathLst>
            </a:custGeom>
            <a:grpFill/>
            <a:ln w="7608" cap="flat">
              <a:noFill/>
              <a:prstDash val="solid"/>
              <a:miter/>
            </a:ln>
          </p:spPr>
          <p:txBody>
            <a:bodyPr rtlCol="0" anchor="ctr"/>
            <a:lstStyle/>
            <a:p>
              <a:endParaRPr lang="hi-IN"/>
            </a:p>
          </p:txBody>
        </p:sp>
        <p:sp>
          <p:nvSpPr>
            <p:cNvPr id="1105" name="Freeform: Shape 104"/>
            <p:cNvSpPr/>
            <p:nvPr/>
          </p:nvSpPr>
          <p:spPr>
            <a:xfrm>
              <a:off x="9199835" y="4410203"/>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861" y="0"/>
                    <a:pt x="7612" y="1751"/>
                    <a:pt x="7612" y="3806"/>
                  </a:cubicBezTo>
                </a:path>
              </a:pathLst>
            </a:custGeom>
            <a:grpFill/>
            <a:ln w="7608" cap="flat">
              <a:noFill/>
              <a:prstDash val="solid"/>
              <a:miter/>
            </a:ln>
          </p:spPr>
          <p:txBody>
            <a:bodyPr rtlCol="0" anchor="ctr"/>
            <a:lstStyle/>
            <a:p>
              <a:endParaRPr lang="hi-IN"/>
            </a:p>
          </p:txBody>
        </p:sp>
        <p:sp>
          <p:nvSpPr>
            <p:cNvPr id="1106" name="Freeform: Shape 105"/>
            <p:cNvSpPr/>
            <p:nvPr/>
          </p:nvSpPr>
          <p:spPr>
            <a:xfrm>
              <a:off x="9193136" y="4233616"/>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207" y="9743"/>
                    <a:pt x="0" y="7535"/>
                    <a:pt x="0" y="4871"/>
                  </a:cubicBezTo>
                  <a:cubicBezTo>
                    <a:pt x="0" y="2207"/>
                    <a:pt x="2207"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107" name="Freeform: Shape 106"/>
            <p:cNvSpPr/>
            <p:nvPr/>
          </p:nvSpPr>
          <p:spPr>
            <a:xfrm>
              <a:off x="9164593" y="4059692"/>
              <a:ext cx="10807" cy="10808"/>
            </a:xfrm>
            <a:custGeom>
              <a:avLst/>
              <a:gdLst>
                <a:gd name="connsiteX0" fmla="*/ 10808 w 10807"/>
                <a:gd name="connsiteY0" fmla="*/ 5404 h 10808"/>
                <a:gd name="connsiteX1" fmla="*/ 5404 w 10807"/>
                <a:gd name="connsiteY1" fmla="*/ 10809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9"/>
                    <a:pt x="5404" y="10809"/>
                  </a:cubicBezTo>
                  <a:cubicBezTo>
                    <a:pt x="2435" y="10809"/>
                    <a:pt x="0" y="8373"/>
                    <a:pt x="0" y="5404"/>
                  </a:cubicBezTo>
                  <a:cubicBezTo>
                    <a:pt x="0" y="2436"/>
                    <a:pt x="2435" y="0"/>
                    <a:pt x="5404" y="0"/>
                  </a:cubicBezTo>
                  <a:cubicBezTo>
                    <a:pt x="8373" y="0"/>
                    <a:pt x="10808" y="2360"/>
                    <a:pt x="10808" y="5404"/>
                  </a:cubicBezTo>
                </a:path>
              </a:pathLst>
            </a:custGeom>
            <a:grpFill/>
            <a:ln w="7608" cap="flat">
              <a:noFill/>
              <a:prstDash val="solid"/>
              <a:miter/>
            </a:ln>
          </p:spPr>
          <p:txBody>
            <a:bodyPr rtlCol="0" anchor="ctr"/>
            <a:lstStyle/>
            <a:p>
              <a:endParaRPr lang="hi-IN"/>
            </a:p>
          </p:txBody>
        </p:sp>
        <p:sp>
          <p:nvSpPr>
            <p:cNvPr id="1108" name="Freeform: Shape 107"/>
            <p:cNvSpPr/>
            <p:nvPr/>
          </p:nvSpPr>
          <p:spPr>
            <a:xfrm>
              <a:off x="9113976" y="3890716"/>
              <a:ext cx="11949" cy="11873"/>
            </a:xfrm>
            <a:custGeom>
              <a:avLst/>
              <a:gdLst>
                <a:gd name="connsiteX0" fmla="*/ 11950 w 11949"/>
                <a:gd name="connsiteY0" fmla="*/ 5937 h 11873"/>
                <a:gd name="connsiteX1" fmla="*/ 6013 w 11949"/>
                <a:gd name="connsiteY1" fmla="*/ 11874 h 11873"/>
                <a:gd name="connsiteX2" fmla="*/ 0 w 11949"/>
                <a:gd name="connsiteY2" fmla="*/ 5937 h 11873"/>
                <a:gd name="connsiteX3" fmla="*/ 6013 w 11949"/>
                <a:gd name="connsiteY3" fmla="*/ 0 h 11873"/>
                <a:gd name="connsiteX4" fmla="*/ 11950 w 11949"/>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3">
                  <a:moveTo>
                    <a:pt x="11950" y="5937"/>
                  </a:moveTo>
                  <a:cubicBezTo>
                    <a:pt x="11950" y="9210"/>
                    <a:pt x="9286" y="11874"/>
                    <a:pt x="6013" y="11874"/>
                  </a:cubicBezTo>
                  <a:cubicBezTo>
                    <a:pt x="2740" y="11874"/>
                    <a:pt x="0" y="9210"/>
                    <a:pt x="0" y="5937"/>
                  </a:cubicBezTo>
                  <a:cubicBezTo>
                    <a:pt x="0" y="2664"/>
                    <a:pt x="2664" y="0"/>
                    <a:pt x="6013"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109" name="Freeform: Shape 108"/>
            <p:cNvSpPr/>
            <p:nvPr/>
          </p:nvSpPr>
          <p:spPr>
            <a:xfrm>
              <a:off x="9042275" y="3729503"/>
              <a:ext cx="13092" cy="13091"/>
            </a:xfrm>
            <a:custGeom>
              <a:avLst/>
              <a:gdLst>
                <a:gd name="connsiteX0" fmla="*/ 13093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6" y="13092"/>
                  </a:cubicBezTo>
                  <a:cubicBezTo>
                    <a:pt x="2969" y="13092"/>
                    <a:pt x="0" y="10199"/>
                    <a:pt x="0" y="6546"/>
                  </a:cubicBezTo>
                  <a:cubicBezTo>
                    <a:pt x="0" y="2968"/>
                    <a:pt x="2892" y="0"/>
                    <a:pt x="6546" y="0"/>
                  </a:cubicBezTo>
                  <a:cubicBezTo>
                    <a:pt x="10200" y="0"/>
                    <a:pt x="13093" y="2968"/>
                    <a:pt x="13093" y="6546"/>
                  </a:cubicBezTo>
                </a:path>
              </a:pathLst>
            </a:custGeom>
            <a:grpFill/>
            <a:ln w="7608" cap="flat">
              <a:noFill/>
              <a:prstDash val="solid"/>
              <a:miter/>
            </a:ln>
          </p:spPr>
          <p:txBody>
            <a:bodyPr rtlCol="0" anchor="ctr"/>
            <a:lstStyle/>
            <a:p>
              <a:endParaRPr lang="hi-IN"/>
            </a:p>
          </p:txBody>
        </p:sp>
        <p:sp>
          <p:nvSpPr>
            <p:cNvPr id="1110" name="Freeform: Shape 109"/>
            <p:cNvSpPr/>
            <p:nvPr/>
          </p:nvSpPr>
          <p:spPr>
            <a:xfrm>
              <a:off x="8950709" y="3578795"/>
              <a:ext cx="14157" cy="14157"/>
            </a:xfrm>
            <a:custGeom>
              <a:avLst/>
              <a:gdLst>
                <a:gd name="connsiteX0" fmla="*/ 14157 w 14157"/>
                <a:gd name="connsiteY0" fmla="*/ 7079 h 14157"/>
                <a:gd name="connsiteX1" fmla="*/ 7078 w 14157"/>
                <a:gd name="connsiteY1" fmla="*/ 14158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8"/>
                    <a:pt x="7078" y="14158"/>
                  </a:cubicBezTo>
                  <a:cubicBezTo>
                    <a:pt x="3196" y="14158"/>
                    <a:pt x="0" y="10961"/>
                    <a:pt x="0" y="7079"/>
                  </a:cubicBezTo>
                  <a:cubicBezTo>
                    <a:pt x="0" y="3197"/>
                    <a:pt x="3120" y="0"/>
                    <a:pt x="7078" y="0"/>
                  </a:cubicBezTo>
                  <a:cubicBezTo>
                    <a:pt x="11036" y="0"/>
                    <a:pt x="14157" y="3121"/>
                    <a:pt x="14157" y="7079"/>
                  </a:cubicBezTo>
                </a:path>
              </a:pathLst>
            </a:custGeom>
            <a:grpFill/>
            <a:ln w="7608" cap="flat">
              <a:noFill/>
              <a:prstDash val="solid"/>
              <a:miter/>
            </a:ln>
          </p:spPr>
          <p:txBody>
            <a:bodyPr rtlCol="0" anchor="ctr"/>
            <a:lstStyle/>
            <a:p>
              <a:endParaRPr lang="hi-IN"/>
            </a:p>
          </p:txBody>
        </p:sp>
        <p:sp>
          <p:nvSpPr>
            <p:cNvPr id="1111" name="Freeform: Shape 110"/>
            <p:cNvSpPr/>
            <p:nvPr/>
          </p:nvSpPr>
          <p:spPr>
            <a:xfrm>
              <a:off x="8841179" y="3441406"/>
              <a:ext cx="14157" cy="14157"/>
            </a:xfrm>
            <a:custGeom>
              <a:avLst/>
              <a:gdLst>
                <a:gd name="connsiteX0" fmla="*/ 14157 w 14157"/>
                <a:gd name="connsiteY0" fmla="*/ 7079 h 14157"/>
                <a:gd name="connsiteX1" fmla="*/ 7078 w 14157"/>
                <a:gd name="connsiteY1" fmla="*/ 14157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6" y="14157"/>
                    <a:pt x="7078" y="14157"/>
                  </a:cubicBezTo>
                  <a:cubicBezTo>
                    <a:pt x="3196" y="14157"/>
                    <a:pt x="0" y="10961"/>
                    <a:pt x="0" y="7079"/>
                  </a:cubicBezTo>
                  <a:cubicBezTo>
                    <a:pt x="0" y="3197"/>
                    <a:pt x="3196" y="0"/>
                    <a:pt x="7078" y="0"/>
                  </a:cubicBezTo>
                  <a:cubicBezTo>
                    <a:pt x="11036" y="76"/>
                    <a:pt x="14157" y="3197"/>
                    <a:pt x="14157" y="7079"/>
                  </a:cubicBezTo>
                </a:path>
              </a:pathLst>
            </a:custGeom>
            <a:grpFill/>
            <a:ln w="7608" cap="flat">
              <a:noFill/>
              <a:prstDash val="solid"/>
              <a:miter/>
            </a:ln>
          </p:spPr>
          <p:txBody>
            <a:bodyPr rtlCol="0" anchor="ctr"/>
            <a:lstStyle/>
            <a:p>
              <a:endParaRPr lang="hi-IN"/>
            </a:p>
          </p:txBody>
        </p:sp>
        <p:sp>
          <p:nvSpPr>
            <p:cNvPr id="1112" name="Freeform: Shape 111"/>
            <p:cNvSpPr/>
            <p:nvPr/>
          </p:nvSpPr>
          <p:spPr>
            <a:xfrm>
              <a:off x="8715055" y="3319241"/>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21" y="0"/>
                    <a:pt x="7079" y="0"/>
                  </a:cubicBezTo>
                  <a:cubicBezTo>
                    <a:pt x="10961" y="0"/>
                    <a:pt x="14157" y="3197"/>
                    <a:pt x="14157" y="7079"/>
                  </a:cubicBezTo>
                </a:path>
              </a:pathLst>
            </a:custGeom>
            <a:grpFill/>
            <a:ln w="7608" cap="flat">
              <a:noFill/>
              <a:prstDash val="solid"/>
              <a:miter/>
            </a:ln>
          </p:spPr>
          <p:txBody>
            <a:bodyPr rtlCol="0" anchor="ctr"/>
            <a:lstStyle/>
            <a:p>
              <a:endParaRPr lang="hi-IN"/>
            </a:p>
          </p:txBody>
        </p:sp>
        <p:sp>
          <p:nvSpPr>
            <p:cNvPr id="1113" name="Freeform: Shape 112"/>
            <p:cNvSpPr/>
            <p:nvPr/>
          </p:nvSpPr>
          <p:spPr>
            <a:xfrm>
              <a:off x="8574241" y="3214202"/>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97" y="0"/>
                    <a:pt x="7079" y="0"/>
                  </a:cubicBezTo>
                  <a:cubicBezTo>
                    <a:pt x="10961" y="0"/>
                    <a:pt x="14157" y="3121"/>
                    <a:pt x="14157" y="7079"/>
                  </a:cubicBezTo>
                </a:path>
              </a:pathLst>
            </a:custGeom>
            <a:grpFill/>
            <a:ln w="7608" cap="flat">
              <a:noFill/>
              <a:prstDash val="solid"/>
              <a:miter/>
            </a:ln>
          </p:spPr>
          <p:txBody>
            <a:bodyPr rtlCol="0" anchor="ctr"/>
            <a:lstStyle/>
            <a:p>
              <a:endParaRPr lang="hi-IN"/>
            </a:p>
          </p:txBody>
        </p:sp>
        <p:sp>
          <p:nvSpPr>
            <p:cNvPr id="1114" name="Freeform: Shape 113"/>
            <p:cNvSpPr/>
            <p:nvPr/>
          </p:nvSpPr>
          <p:spPr>
            <a:xfrm>
              <a:off x="8421707" y="3128496"/>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199"/>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115" name="Freeform: Shape 114"/>
            <p:cNvSpPr/>
            <p:nvPr/>
          </p:nvSpPr>
          <p:spPr>
            <a:xfrm>
              <a:off x="8259504" y="3063189"/>
              <a:ext cx="11950" cy="11950"/>
            </a:xfrm>
            <a:custGeom>
              <a:avLst/>
              <a:gdLst>
                <a:gd name="connsiteX0" fmla="*/ 11951 w 11950"/>
                <a:gd name="connsiteY0" fmla="*/ 5937 h 11950"/>
                <a:gd name="connsiteX1" fmla="*/ 6013 w 11950"/>
                <a:gd name="connsiteY1" fmla="*/ 11950 h 11950"/>
                <a:gd name="connsiteX2" fmla="*/ 0 w 11950"/>
                <a:gd name="connsiteY2" fmla="*/ 5937 h 11950"/>
                <a:gd name="connsiteX3" fmla="*/ 6013 w 11950"/>
                <a:gd name="connsiteY3" fmla="*/ 0 h 11950"/>
                <a:gd name="connsiteX4" fmla="*/ 11951 w 11950"/>
                <a:gd name="connsiteY4" fmla="*/ 5937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0">
                  <a:moveTo>
                    <a:pt x="11951" y="5937"/>
                  </a:moveTo>
                  <a:cubicBezTo>
                    <a:pt x="11951" y="9210"/>
                    <a:pt x="9286" y="11950"/>
                    <a:pt x="6013" y="11950"/>
                  </a:cubicBezTo>
                  <a:cubicBezTo>
                    <a:pt x="2740" y="11950"/>
                    <a:pt x="0" y="9286"/>
                    <a:pt x="0" y="5937"/>
                  </a:cubicBezTo>
                  <a:cubicBezTo>
                    <a:pt x="0" y="2664"/>
                    <a:pt x="2664" y="0"/>
                    <a:pt x="6013" y="0"/>
                  </a:cubicBezTo>
                  <a:cubicBezTo>
                    <a:pt x="9286" y="0"/>
                    <a:pt x="11951" y="2664"/>
                    <a:pt x="11951" y="5937"/>
                  </a:cubicBezTo>
                </a:path>
              </a:pathLst>
            </a:custGeom>
            <a:grpFill/>
            <a:ln w="7608" cap="flat">
              <a:noFill/>
              <a:prstDash val="solid"/>
              <a:miter/>
            </a:ln>
          </p:spPr>
          <p:txBody>
            <a:bodyPr rtlCol="0" anchor="ctr"/>
            <a:lstStyle/>
            <a:p>
              <a:endParaRPr lang="hi-IN"/>
            </a:p>
          </p:txBody>
        </p:sp>
        <p:sp>
          <p:nvSpPr>
            <p:cNvPr id="1116" name="Freeform: Shape 115"/>
            <p:cNvSpPr/>
            <p:nvPr/>
          </p:nvSpPr>
          <p:spPr>
            <a:xfrm>
              <a:off x="8090147" y="3019194"/>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360"/>
                    <a:pt x="10809" y="5404"/>
                  </a:cubicBezTo>
                </a:path>
              </a:pathLst>
            </a:custGeom>
            <a:grpFill/>
            <a:ln w="7608" cap="flat">
              <a:noFill/>
              <a:prstDash val="solid"/>
              <a:miter/>
            </a:ln>
          </p:spPr>
          <p:txBody>
            <a:bodyPr rtlCol="0" anchor="ctr"/>
            <a:lstStyle/>
            <a:p>
              <a:endParaRPr lang="hi-IN"/>
            </a:p>
          </p:txBody>
        </p:sp>
        <p:sp>
          <p:nvSpPr>
            <p:cNvPr id="1117" name="Freeform: Shape 116"/>
            <p:cNvSpPr/>
            <p:nvPr/>
          </p:nvSpPr>
          <p:spPr>
            <a:xfrm>
              <a:off x="7916985" y="2997806"/>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774"/>
                    <a:pt x="6698" y="8677"/>
                    <a:pt x="4339" y="8677"/>
                  </a:cubicBezTo>
                  <a:cubicBezTo>
                    <a:pt x="1979" y="8677"/>
                    <a:pt x="0" y="6698"/>
                    <a:pt x="0" y="4339"/>
                  </a:cubicBezTo>
                  <a:cubicBezTo>
                    <a:pt x="0" y="1979"/>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118" name="Freeform: Shape 117"/>
            <p:cNvSpPr/>
            <p:nvPr/>
          </p:nvSpPr>
          <p:spPr>
            <a:xfrm>
              <a:off x="7741843" y="299833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119" name="Freeform: Shape 118"/>
            <p:cNvSpPr/>
            <p:nvPr/>
          </p:nvSpPr>
          <p:spPr>
            <a:xfrm>
              <a:off x="7568681" y="3021858"/>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120" name="Freeform: Shape 119"/>
            <p:cNvSpPr/>
            <p:nvPr/>
          </p:nvSpPr>
          <p:spPr>
            <a:xfrm>
              <a:off x="7399324" y="3066918"/>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425" y="0"/>
                    <a:pt x="4415" y="990"/>
                    <a:pt x="4415" y="2207"/>
                  </a:cubicBezTo>
                </a:path>
              </a:pathLst>
            </a:custGeom>
            <a:grpFill/>
            <a:ln w="7608" cap="flat">
              <a:noFill/>
              <a:prstDash val="solid"/>
              <a:miter/>
            </a:ln>
          </p:spPr>
          <p:txBody>
            <a:bodyPr rtlCol="0" anchor="ctr"/>
            <a:lstStyle/>
            <a:p>
              <a:endParaRPr lang="hi-IN"/>
            </a:p>
          </p:txBody>
        </p:sp>
        <p:sp>
          <p:nvSpPr>
            <p:cNvPr id="1121" name="Freeform: Shape 120"/>
            <p:cNvSpPr/>
            <p:nvPr/>
          </p:nvSpPr>
          <p:spPr>
            <a:xfrm>
              <a:off x="7237731" y="3133976"/>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599" y="0"/>
                    <a:pt x="2131" y="457"/>
                    <a:pt x="2131" y="1066"/>
                  </a:cubicBezTo>
                </a:path>
              </a:pathLst>
            </a:custGeom>
            <a:grpFill/>
            <a:ln w="7608" cap="flat">
              <a:noFill/>
              <a:prstDash val="solid"/>
              <a:miter/>
            </a:ln>
          </p:spPr>
          <p:txBody>
            <a:bodyPr rtlCol="0" anchor="ctr"/>
            <a:lstStyle/>
            <a:p>
              <a:endParaRPr lang="hi-IN"/>
            </a:p>
          </p:txBody>
        </p:sp>
        <p:sp>
          <p:nvSpPr>
            <p:cNvPr id="1122" name="Freeform: Shape 121"/>
            <p:cNvSpPr/>
            <p:nvPr/>
          </p:nvSpPr>
          <p:spPr>
            <a:xfrm>
              <a:off x="7084663" y="3220215"/>
              <a:ext cx="2130" cy="2131"/>
            </a:xfrm>
            <a:custGeom>
              <a:avLst/>
              <a:gdLst>
                <a:gd name="connsiteX0" fmla="*/ 2131 w 2130"/>
                <a:gd name="connsiteY0" fmla="*/ 1065 h 2131"/>
                <a:gd name="connsiteX1" fmla="*/ 1066 w 2130"/>
                <a:gd name="connsiteY1" fmla="*/ 2131 h 2131"/>
                <a:gd name="connsiteX2" fmla="*/ 0 w 2130"/>
                <a:gd name="connsiteY2" fmla="*/ 1065 h 2131"/>
                <a:gd name="connsiteX3" fmla="*/ 1066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6" y="2131"/>
                  </a:cubicBezTo>
                  <a:cubicBezTo>
                    <a:pt x="457" y="2131"/>
                    <a:pt x="0" y="1675"/>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123" name="Freeform: Shape 122"/>
            <p:cNvSpPr/>
            <p:nvPr/>
          </p:nvSpPr>
          <p:spPr>
            <a:xfrm>
              <a:off x="6944382" y="3325787"/>
              <a:ext cx="1065" cy="1065"/>
            </a:xfrm>
            <a:custGeom>
              <a:avLst/>
              <a:gdLst>
                <a:gd name="connsiteX0" fmla="*/ 1065 w 1065"/>
                <a:gd name="connsiteY0" fmla="*/ 533 h 1065"/>
                <a:gd name="connsiteX1" fmla="*/ 533 w 1065"/>
                <a:gd name="connsiteY1" fmla="*/ 1065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3" y="1065"/>
                  </a:cubicBezTo>
                  <a:cubicBezTo>
                    <a:pt x="228" y="1065"/>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124" name="Freeform: Shape 123"/>
            <p:cNvSpPr/>
            <p:nvPr/>
          </p:nvSpPr>
          <p:spPr>
            <a:xfrm>
              <a:off x="9057879" y="5346347"/>
              <a:ext cx="1065" cy="1065"/>
            </a:xfrm>
            <a:custGeom>
              <a:avLst/>
              <a:gdLst>
                <a:gd name="connsiteX0" fmla="*/ 1066 w 1065"/>
                <a:gd name="connsiteY0" fmla="*/ 532 h 1065"/>
                <a:gd name="connsiteX1" fmla="*/ 532 w 1065"/>
                <a:gd name="connsiteY1" fmla="*/ 1065 h 1065"/>
                <a:gd name="connsiteX2" fmla="*/ 0 w 1065"/>
                <a:gd name="connsiteY2" fmla="*/ 532 h 1065"/>
                <a:gd name="connsiteX3" fmla="*/ 532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7" y="1065"/>
                    <a:pt x="532" y="1065"/>
                  </a:cubicBezTo>
                  <a:cubicBezTo>
                    <a:pt x="229" y="1065"/>
                    <a:pt x="0" y="837"/>
                    <a:pt x="0" y="532"/>
                  </a:cubicBezTo>
                  <a:cubicBezTo>
                    <a:pt x="0" y="228"/>
                    <a:pt x="229" y="0"/>
                    <a:pt x="532" y="0"/>
                  </a:cubicBezTo>
                  <a:cubicBezTo>
                    <a:pt x="761" y="0"/>
                    <a:pt x="1066" y="228"/>
                    <a:pt x="1066" y="532"/>
                  </a:cubicBezTo>
                </a:path>
              </a:pathLst>
            </a:custGeom>
            <a:grpFill/>
            <a:ln w="7608" cap="flat">
              <a:noFill/>
              <a:prstDash val="solid"/>
              <a:miter/>
            </a:ln>
          </p:spPr>
          <p:txBody>
            <a:bodyPr rtlCol="0" anchor="ctr"/>
            <a:lstStyle/>
            <a:p>
              <a:endParaRPr lang="hi-IN"/>
            </a:p>
          </p:txBody>
        </p:sp>
        <p:sp>
          <p:nvSpPr>
            <p:cNvPr id="1125" name="Freeform: Shape 124"/>
            <p:cNvSpPr/>
            <p:nvPr/>
          </p:nvSpPr>
          <p:spPr>
            <a:xfrm>
              <a:off x="9158961" y="5202565"/>
              <a:ext cx="2130" cy="2130"/>
            </a:xfrm>
            <a:custGeom>
              <a:avLst/>
              <a:gdLst>
                <a:gd name="connsiteX0" fmla="*/ 2131 w 2130"/>
                <a:gd name="connsiteY0" fmla="*/ 1066 h 2130"/>
                <a:gd name="connsiteX1" fmla="*/ 1066 w 2130"/>
                <a:gd name="connsiteY1" fmla="*/ 2131 h 2130"/>
                <a:gd name="connsiteX2" fmla="*/ 0 w 2130"/>
                <a:gd name="connsiteY2" fmla="*/ 1066 h 2130"/>
                <a:gd name="connsiteX3" fmla="*/ 1066 w 2130"/>
                <a:gd name="connsiteY3" fmla="*/ 0 h 2130"/>
                <a:gd name="connsiteX4" fmla="*/ 2131 w 2130"/>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0">
                  <a:moveTo>
                    <a:pt x="2131" y="1066"/>
                  </a:moveTo>
                  <a:cubicBezTo>
                    <a:pt x="2131" y="1674"/>
                    <a:pt x="1674" y="2131"/>
                    <a:pt x="1066" y="2131"/>
                  </a:cubicBezTo>
                  <a:cubicBezTo>
                    <a:pt x="456" y="2131"/>
                    <a:pt x="0" y="1674"/>
                    <a:pt x="0" y="1066"/>
                  </a:cubicBezTo>
                  <a:cubicBezTo>
                    <a:pt x="0" y="457"/>
                    <a:pt x="532"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126" name="Freeform: Shape 125"/>
            <p:cNvSpPr/>
            <p:nvPr/>
          </p:nvSpPr>
          <p:spPr>
            <a:xfrm>
              <a:off x="9243449" y="5048203"/>
              <a:ext cx="3197" cy="3272"/>
            </a:xfrm>
            <a:custGeom>
              <a:avLst/>
              <a:gdLst>
                <a:gd name="connsiteX0" fmla="*/ 3197 w 3197"/>
                <a:gd name="connsiteY0" fmla="*/ 1599 h 3272"/>
                <a:gd name="connsiteX1" fmla="*/ 1598 w 3197"/>
                <a:gd name="connsiteY1" fmla="*/ 3273 h 3272"/>
                <a:gd name="connsiteX2" fmla="*/ 0 w 3197"/>
                <a:gd name="connsiteY2" fmla="*/ 1599 h 3272"/>
                <a:gd name="connsiteX3" fmla="*/ 1598 w 3197"/>
                <a:gd name="connsiteY3" fmla="*/ 0 h 3272"/>
                <a:gd name="connsiteX4" fmla="*/ 3197 w 3197"/>
                <a:gd name="connsiteY4" fmla="*/ 1599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599"/>
                  </a:moveTo>
                  <a:cubicBezTo>
                    <a:pt x="3197" y="2512"/>
                    <a:pt x="2435" y="3273"/>
                    <a:pt x="1598" y="3273"/>
                  </a:cubicBezTo>
                  <a:cubicBezTo>
                    <a:pt x="685" y="3273"/>
                    <a:pt x="0" y="2512"/>
                    <a:pt x="0" y="1599"/>
                  </a:cubicBezTo>
                  <a:cubicBezTo>
                    <a:pt x="0" y="685"/>
                    <a:pt x="761" y="0"/>
                    <a:pt x="1598" y="0"/>
                  </a:cubicBezTo>
                  <a:cubicBezTo>
                    <a:pt x="2435" y="0"/>
                    <a:pt x="3197" y="761"/>
                    <a:pt x="3197" y="1599"/>
                  </a:cubicBezTo>
                </a:path>
              </a:pathLst>
            </a:custGeom>
            <a:grpFill/>
            <a:ln w="7608" cap="flat">
              <a:noFill/>
              <a:prstDash val="solid"/>
              <a:miter/>
            </a:ln>
          </p:spPr>
          <p:txBody>
            <a:bodyPr rtlCol="0" anchor="ctr"/>
            <a:lstStyle/>
            <a:p>
              <a:endParaRPr lang="hi-IN"/>
            </a:p>
          </p:txBody>
        </p:sp>
        <p:sp>
          <p:nvSpPr>
            <p:cNvPr id="1127" name="Freeform: Shape 126"/>
            <p:cNvSpPr/>
            <p:nvPr/>
          </p:nvSpPr>
          <p:spPr>
            <a:xfrm>
              <a:off x="9309441" y="4884783"/>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7" y="5480"/>
                    <a:pt x="0" y="4262"/>
                    <a:pt x="0" y="2740"/>
                  </a:cubicBezTo>
                  <a:cubicBezTo>
                    <a:pt x="0" y="1218"/>
                    <a:pt x="1217"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128" name="Freeform: Shape 127"/>
            <p:cNvSpPr/>
            <p:nvPr/>
          </p:nvSpPr>
          <p:spPr>
            <a:xfrm>
              <a:off x="9357622" y="4715426"/>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2" y="6546"/>
                  </a:cubicBezTo>
                  <a:cubicBezTo>
                    <a:pt x="1446" y="6546"/>
                    <a:pt x="0" y="5100"/>
                    <a:pt x="0" y="3273"/>
                  </a:cubicBezTo>
                  <a:cubicBezTo>
                    <a:pt x="0" y="1446"/>
                    <a:pt x="1446" y="0"/>
                    <a:pt x="3272" y="0"/>
                  </a:cubicBezTo>
                  <a:cubicBezTo>
                    <a:pt x="5024" y="0"/>
                    <a:pt x="6546" y="1522"/>
                    <a:pt x="6546" y="3273"/>
                  </a:cubicBezTo>
                </a:path>
              </a:pathLst>
            </a:custGeom>
            <a:grpFill/>
            <a:ln w="7608" cap="flat">
              <a:noFill/>
              <a:prstDash val="solid"/>
              <a:miter/>
            </a:ln>
          </p:spPr>
          <p:txBody>
            <a:bodyPr rtlCol="0" anchor="ctr"/>
            <a:lstStyle/>
            <a:p>
              <a:endParaRPr lang="hi-IN"/>
            </a:p>
          </p:txBody>
        </p:sp>
        <p:sp>
          <p:nvSpPr>
            <p:cNvPr id="1129" name="Freeform: Shape 128"/>
            <p:cNvSpPr/>
            <p:nvPr/>
          </p:nvSpPr>
          <p:spPr>
            <a:xfrm>
              <a:off x="9385936" y="4541198"/>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130" name="Freeform: Shape 129"/>
            <p:cNvSpPr/>
            <p:nvPr/>
          </p:nvSpPr>
          <p:spPr>
            <a:xfrm>
              <a:off x="9395298" y="4365219"/>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131" y="9743"/>
                    <a:pt x="0" y="7535"/>
                    <a:pt x="0" y="4871"/>
                  </a:cubicBezTo>
                  <a:cubicBezTo>
                    <a:pt x="0" y="2207"/>
                    <a:pt x="2208"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131" name="Freeform: Shape 130"/>
            <p:cNvSpPr/>
            <p:nvPr/>
          </p:nvSpPr>
          <p:spPr>
            <a:xfrm>
              <a:off x="9384338" y="4188782"/>
              <a:ext cx="11949" cy="11875"/>
            </a:xfrm>
            <a:custGeom>
              <a:avLst/>
              <a:gdLst>
                <a:gd name="connsiteX0" fmla="*/ 11950 w 11949"/>
                <a:gd name="connsiteY0" fmla="*/ 5938 h 11875"/>
                <a:gd name="connsiteX1" fmla="*/ 5937 w 11949"/>
                <a:gd name="connsiteY1" fmla="*/ 11876 h 11875"/>
                <a:gd name="connsiteX2" fmla="*/ 0 w 11949"/>
                <a:gd name="connsiteY2" fmla="*/ 5938 h 11875"/>
                <a:gd name="connsiteX3" fmla="*/ 5937 w 11949"/>
                <a:gd name="connsiteY3" fmla="*/ 2 h 11875"/>
                <a:gd name="connsiteX4" fmla="*/ 11950 w 11949"/>
                <a:gd name="connsiteY4" fmla="*/ 5938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5">
                  <a:moveTo>
                    <a:pt x="11950" y="5938"/>
                  </a:moveTo>
                  <a:cubicBezTo>
                    <a:pt x="11950" y="9212"/>
                    <a:pt x="9286" y="11876"/>
                    <a:pt x="5937" y="11876"/>
                  </a:cubicBezTo>
                  <a:cubicBezTo>
                    <a:pt x="2664" y="11876"/>
                    <a:pt x="0" y="9212"/>
                    <a:pt x="0" y="5938"/>
                  </a:cubicBezTo>
                  <a:cubicBezTo>
                    <a:pt x="0" y="2665"/>
                    <a:pt x="2664" y="2"/>
                    <a:pt x="5937" y="2"/>
                  </a:cubicBezTo>
                  <a:cubicBezTo>
                    <a:pt x="9286" y="-75"/>
                    <a:pt x="11950" y="2589"/>
                    <a:pt x="11950" y="5938"/>
                  </a:cubicBezTo>
                </a:path>
              </a:pathLst>
            </a:custGeom>
            <a:grpFill/>
            <a:ln w="7608" cap="flat">
              <a:noFill/>
              <a:prstDash val="solid"/>
              <a:miter/>
            </a:ln>
          </p:spPr>
          <p:txBody>
            <a:bodyPr rtlCol="0" anchor="ctr"/>
            <a:lstStyle/>
            <a:p>
              <a:endParaRPr lang="hi-IN"/>
            </a:p>
          </p:txBody>
        </p:sp>
        <p:sp>
          <p:nvSpPr>
            <p:cNvPr id="1132" name="Freeform: Shape 131"/>
            <p:cNvSpPr/>
            <p:nvPr/>
          </p:nvSpPr>
          <p:spPr>
            <a:xfrm>
              <a:off x="9354272" y="4014936"/>
              <a:ext cx="13092" cy="13092"/>
            </a:xfrm>
            <a:custGeom>
              <a:avLst/>
              <a:gdLst>
                <a:gd name="connsiteX0" fmla="*/ 13093 w 13092"/>
                <a:gd name="connsiteY0" fmla="*/ 6546 h 13092"/>
                <a:gd name="connsiteX1" fmla="*/ 6547 w 13092"/>
                <a:gd name="connsiteY1" fmla="*/ 13092 h 13092"/>
                <a:gd name="connsiteX2" fmla="*/ 0 w 13092"/>
                <a:gd name="connsiteY2" fmla="*/ 6546 h 13092"/>
                <a:gd name="connsiteX3" fmla="*/ 6547 w 13092"/>
                <a:gd name="connsiteY3" fmla="*/ 0 h 13092"/>
                <a:gd name="connsiteX4" fmla="*/ 13093 w 13092"/>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2">
                  <a:moveTo>
                    <a:pt x="13093" y="6546"/>
                  </a:moveTo>
                  <a:cubicBezTo>
                    <a:pt x="13093" y="10123"/>
                    <a:pt x="10200" y="13092"/>
                    <a:pt x="6547" y="13092"/>
                  </a:cubicBezTo>
                  <a:cubicBezTo>
                    <a:pt x="2969" y="13092"/>
                    <a:pt x="0" y="10200"/>
                    <a:pt x="0" y="6546"/>
                  </a:cubicBezTo>
                  <a:cubicBezTo>
                    <a:pt x="0" y="2892"/>
                    <a:pt x="2892" y="0"/>
                    <a:pt x="6547" y="0"/>
                  </a:cubicBezTo>
                  <a:cubicBezTo>
                    <a:pt x="10200" y="0"/>
                    <a:pt x="13093" y="2969"/>
                    <a:pt x="13093" y="6546"/>
                  </a:cubicBezTo>
                </a:path>
              </a:pathLst>
            </a:custGeom>
            <a:grpFill/>
            <a:ln w="7608" cap="flat">
              <a:noFill/>
              <a:prstDash val="solid"/>
              <a:miter/>
            </a:ln>
          </p:spPr>
          <p:txBody>
            <a:bodyPr rtlCol="0" anchor="ctr"/>
            <a:lstStyle/>
            <a:p>
              <a:endParaRPr lang="hi-IN"/>
            </a:p>
          </p:txBody>
        </p:sp>
        <p:sp>
          <p:nvSpPr>
            <p:cNvPr id="1133" name="Freeform: Shape 132"/>
            <p:cNvSpPr/>
            <p:nvPr/>
          </p:nvSpPr>
          <p:spPr>
            <a:xfrm>
              <a:off x="9304646" y="3845046"/>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797" y="0"/>
                    <a:pt x="15223" y="3425"/>
                    <a:pt x="15223" y="7612"/>
                  </a:cubicBezTo>
                </a:path>
              </a:pathLst>
            </a:custGeom>
            <a:grpFill/>
            <a:ln w="7608" cap="flat">
              <a:noFill/>
              <a:prstDash val="solid"/>
              <a:miter/>
            </a:ln>
          </p:spPr>
          <p:txBody>
            <a:bodyPr rtlCol="0" anchor="ctr"/>
            <a:lstStyle/>
            <a:p>
              <a:endParaRPr lang="hi-IN"/>
            </a:p>
          </p:txBody>
        </p:sp>
        <p:sp>
          <p:nvSpPr>
            <p:cNvPr id="1134" name="Freeform: Shape 133"/>
            <p:cNvSpPr/>
            <p:nvPr/>
          </p:nvSpPr>
          <p:spPr>
            <a:xfrm>
              <a:off x="9236827" y="3682235"/>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712" y="0"/>
                    <a:pt x="16289" y="3654"/>
                    <a:pt x="16289" y="8144"/>
                  </a:cubicBezTo>
                </a:path>
              </a:pathLst>
            </a:custGeom>
            <a:grpFill/>
            <a:ln w="7608" cap="flat">
              <a:noFill/>
              <a:prstDash val="solid"/>
              <a:miter/>
            </a:ln>
          </p:spPr>
          <p:txBody>
            <a:bodyPr rtlCol="0" anchor="ctr"/>
            <a:lstStyle/>
            <a:p>
              <a:endParaRPr lang="hi-IN"/>
            </a:p>
          </p:txBody>
        </p:sp>
        <p:sp>
          <p:nvSpPr>
            <p:cNvPr id="1135" name="Freeform: Shape 134"/>
            <p:cNvSpPr/>
            <p:nvPr/>
          </p:nvSpPr>
          <p:spPr>
            <a:xfrm>
              <a:off x="9151881" y="3528482"/>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3"/>
                    <a:pt x="3653" y="0"/>
                    <a:pt x="8145"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136" name="Freeform: Shape 135"/>
            <p:cNvSpPr/>
            <p:nvPr/>
          </p:nvSpPr>
          <p:spPr>
            <a:xfrm>
              <a:off x="9049735" y="3384624"/>
              <a:ext cx="17353" cy="17354"/>
            </a:xfrm>
            <a:custGeom>
              <a:avLst/>
              <a:gdLst>
                <a:gd name="connsiteX0" fmla="*/ 17354 w 17353"/>
                <a:gd name="connsiteY0" fmla="*/ 8677 h 17354"/>
                <a:gd name="connsiteX1" fmla="*/ 8676 w 17353"/>
                <a:gd name="connsiteY1" fmla="*/ 17354 h 17354"/>
                <a:gd name="connsiteX2" fmla="*/ 0 w 17353"/>
                <a:gd name="connsiteY2" fmla="*/ 8677 h 17354"/>
                <a:gd name="connsiteX3" fmla="*/ 8676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2"/>
                    <a:pt x="13472" y="17354"/>
                    <a:pt x="8676" y="17354"/>
                  </a:cubicBezTo>
                  <a:cubicBezTo>
                    <a:pt x="3881" y="17354"/>
                    <a:pt x="0" y="13472"/>
                    <a:pt x="0" y="8677"/>
                  </a:cubicBezTo>
                  <a:cubicBezTo>
                    <a:pt x="0" y="3882"/>
                    <a:pt x="3881" y="0"/>
                    <a:pt x="8676"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137" name="Freeform: Shape 136"/>
            <p:cNvSpPr/>
            <p:nvPr/>
          </p:nvSpPr>
          <p:spPr>
            <a:xfrm>
              <a:off x="8932593" y="3253629"/>
              <a:ext cx="17353" cy="17354"/>
            </a:xfrm>
            <a:custGeom>
              <a:avLst/>
              <a:gdLst>
                <a:gd name="connsiteX0" fmla="*/ 17354 w 17353"/>
                <a:gd name="connsiteY0" fmla="*/ 8677 h 17354"/>
                <a:gd name="connsiteX1" fmla="*/ 8677 w 17353"/>
                <a:gd name="connsiteY1" fmla="*/ 17354 h 17354"/>
                <a:gd name="connsiteX2" fmla="*/ 0 w 17353"/>
                <a:gd name="connsiteY2" fmla="*/ 8677 h 17354"/>
                <a:gd name="connsiteX3" fmla="*/ 8677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3"/>
                    <a:pt x="13472" y="17354"/>
                    <a:pt x="8677" y="17354"/>
                  </a:cubicBezTo>
                  <a:cubicBezTo>
                    <a:pt x="3882" y="17354"/>
                    <a:pt x="0" y="13473"/>
                    <a:pt x="0" y="8677"/>
                  </a:cubicBezTo>
                  <a:cubicBezTo>
                    <a:pt x="0" y="3882"/>
                    <a:pt x="3882" y="0"/>
                    <a:pt x="8677"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138" name="Freeform: Shape 137"/>
            <p:cNvSpPr/>
            <p:nvPr/>
          </p:nvSpPr>
          <p:spPr>
            <a:xfrm>
              <a:off x="8801598" y="3136564"/>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4"/>
                    <a:pt x="8677" y="17354"/>
                  </a:cubicBezTo>
                  <a:cubicBezTo>
                    <a:pt x="3882" y="17354"/>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139" name="Freeform: Shape 138"/>
            <p:cNvSpPr/>
            <p:nvPr/>
          </p:nvSpPr>
          <p:spPr>
            <a:xfrm>
              <a:off x="8658882" y="3035483"/>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4"/>
                    <a:pt x="3653" y="0"/>
                    <a:pt x="8145" y="0"/>
                  </a:cubicBezTo>
                  <a:cubicBezTo>
                    <a:pt x="12635" y="0"/>
                    <a:pt x="16289" y="3577"/>
                    <a:pt x="16289" y="8144"/>
                  </a:cubicBezTo>
                </a:path>
              </a:pathLst>
            </a:custGeom>
            <a:grpFill/>
            <a:ln w="7608" cap="flat">
              <a:noFill/>
              <a:prstDash val="solid"/>
              <a:miter/>
            </a:ln>
          </p:spPr>
          <p:txBody>
            <a:bodyPr rtlCol="0" anchor="ctr"/>
            <a:lstStyle/>
            <a:p>
              <a:endParaRPr lang="hi-IN"/>
            </a:p>
          </p:txBody>
        </p:sp>
        <p:sp>
          <p:nvSpPr>
            <p:cNvPr id="1140" name="Freeform: Shape 139"/>
            <p:cNvSpPr/>
            <p:nvPr/>
          </p:nvSpPr>
          <p:spPr>
            <a:xfrm>
              <a:off x="8505129" y="2950462"/>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141" name="Freeform: Shape 140"/>
            <p:cNvSpPr/>
            <p:nvPr/>
          </p:nvSpPr>
          <p:spPr>
            <a:xfrm>
              <a:off x="8343307" y="2883785"/>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142" name="Freeform: Shape 141"/>
            <p:cNvSpPr/>
            <p:nvPr/>
          </p:nvSpPr>
          <p:spPr>
            <a:xfrm>
              <a:off x="8175549" y="2836213"/>
              <a:ext cx="13092" cy="13091"/>
            </a:xfrm>
            <a:custGeom>
              <a:avLst/>
              <a:gdLst>
                <a:gd name="connsiteX0" fmla="*/ 13093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6" y="13092"/>
                  </a:cubicBezTo>
                  <a:cubicBezTo>
                    <a:pt x="2969" y="13092"/>
                    <a:pt x="0" y="10199"/>
                    <a:pt x="0" y="6546"/>
                  </a:cubicBezTo>
                  <a:cubicBezTo>
                    <a:pt x="0" y="2969"/>
                    <a:pt x="2892" y="0"/>
                    <a:pt x="6546" y="0"/>
                  </a:cubicBezTo>
                  <a:cubicBezTo>
                    <a:pt x="10200" y="0"/>
                    <a:pt x="13093" y="2969"/>
                    <a:pt x="13093" y="6546"/>
                  </a:cubicBezTo>
                </a:path>
              </a:pathLst>
            </a:custGeom>
            <a:grpFill/>
            <a:ln w="7608" cap="flat">
              <a:noFill/>
              <a:prstDash val="solid"/>
              <a:miter/>
            </a:ln>
          </p:spPr>
          <p:txBody>
            <a:bodyPr rtlCol="0" anchor="ctr"/>
            <a:lstStyle/>
            <a:p>
              <a:endParaRPr lang="hi-IN"/>
            </a:p>
          </p:txBody>
        </p:sp>
        <p:sp>
          <p:nvSpPr>
            <p:cNvPr id="1143" name="Freeform: Shape 142"/>
            <p:cNvSpPr/>
            <p:nvPr/>
          </p:nvSpPr>
          <p:spPr>
            <a:xfrm>
              <a:off x="8002919" y="2807365"/>
              <a:ext cx="11949" cy="11874"/>
            </a:xfrm>
            <a:custGeom>
              <a:avLst/>
              <a:gdLst>
                <a:gd name="connsiteX0" fmla="*/ 11950 w 11949"/>
                <a:gd name="connsiteY0" fmla="*/ 5937 h 11874"/>
                <a:gd name="connsiteX1" fmla="*/ 5937 w 11949"/>
                <a:gd name="connsiteY1" fmla="*/ 11874 h 11874"/>
                <a:gd name="connsiteX2" fmla="*/ 0 w 11949"/>
                <a:gd name="connsiteY2" fmla="*/ 5937 h 11874"/>
                <a:gd name="connsiteX3" fmla="*/ 5937 w 11949"/>
                <a:gd name="connsiteY3" fmla="*/ 0 h 11874"/>
                <a:gd name="connsiteX4" fmla="*/ 11950 w 11949"/>
                <a:gd name="connsiteY4" fmla="*/ 5937 h 11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4">
                  <a:moveTo>
                    <a:pt x="11950" y="5937"/>
                  </a:moveTo>
                  <a:cubicBezTo>
                    <a:pt x="11950" y="9210"/>
                    <a:pt x="9286" y="11874"/>
                    <a:pt x="5937" y="11874"/>
                  </a:cubicBezTo>
                  <a:cubicBezTo>
                    <a:pt x="2588" y="11874"/>
                    <a:pt x="0" y="9210"/>
                    <a:pt x="0" y="5937"/>
                  </a:cubicBezTo>
                  <a:cubicBezTo>
                    <a:pt x="0" y="2664"/>
                    <a:pt x="2664" y="0"/>
                    <a:pt x="5937" y="0"/>
                  </a:cubicBezTo>
                  <a:cubicBezTo>
                    <a:pt x="9210" y="0"/>
                    <a:pt x="11950" y="2664"/>
                    <a:pt x="11950" y="5937"/>
                  </a:cubicBezTo>
                </a:path>
              </a:pathLst>
            </a:custGeom>
            <a:grpFill/>
            <a:ln w="7608" cap="flat">
              <a:noFill/>
              <a:prstDash val="solid"/>
              <a:miter/>
            </a:ln>
          </p:spPr>
          <p:txBody>
            <a:bodyPr rtlCol="0" anchor="ctr"/>
            <a:lstStyle/>
            <a:p>
              <a:endParaRPr lang="hi-IN"/>
            </a:p>
          </p:txBody>
        </p:sp>
        <p:sp>
          <p:nvSpPr>
            <p:cNvPr id="1144" name="Freeform: Shape 143"/>
            <p:cNvSpPr/>
            <p:nvPr/>
          </p:nvSpPr>
          <p:spPr>
            <a:xfrm>
              <a:off x="7828691" y="2798611"/>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6"/>
                    <a:pt x="7535" y="9743"/>
                    <a:pt x="4871" y="9743"/>
                  </a:cubicBezTo>
                  <a:cubicBezTo>
                    <a:pt x="2208" y="9743"/>
                    <a:pt x="0" y="7536"/>
                    <a:pt x="0" y="4871"/>
                  </a:cubicBezTo>
                  <a:cubicBezTo>
                    <a:pt x="0" y="2207"/>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145" name="Freeform: Shape 144"/>
            <p:cNvSpPr/>
            <p:nvPr/>
          </p:nvSpPr>
          <p:spPr>
            <a:xfrm>
              <a:off x="7653778" y="2808963"/>
              <a:ext cx="8677" cy="8677"/>
            </a:xfrm>
            <a:custGeom>
              <a:avLst/>
              <a:gdLst>
                <a:gd name="connsiteX0" fmla="*/ 8677 w 8677"/>
                <a:gd name="connsiteY0" fmla="*/ 4338 h 8677"/>
                <a:gd name="connsiteX1" fmla="*/ 4339 w 8677"/>
                <a:gd name="connsiteY1" fmla="*/ 8677 h 8677"/>
                <a:gd name="connsiteX2" fmla="*/ 0 w 8677"/>
                <a:gd name="connsiteY2" fmla="*/ 4338 h 8677"/>
                <a:gd name="connsiteX3" fmla="*/ 4339 w 8677"/>
                <a:gd name="connsiteY3" fmla="*/ 0 h 8677"/>
                <a:gd name="connsiteX4" fmla="*/ 8677 w 8677"/>
                <a:gd name="connsiteY4" fmla="*/ 4338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8"/>
                  </a:moveTo>
                  <a:cubicBezTo>
                    <a:pt x="8677" y="6698"/>
                    <a:pt x="6698" y="8677"/>
                    <a:pt x="4339" y="8677"/>
                  </a:cubicBezTo>
                  <a:cubicBezTo>
                    <a:pt x="1979" y="8677"/>
                    <a:pt x="0" y="6698"/>
                    <a:pt x="0" y="4338"/>
                  </a:cubicBezTo>
                  <a:cubicBezTo>
                    <a:pt x="0" y="1979"/>
                    <a:pt x="1979"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146" name="Freeform: Shape 145"/>
            <p:cNvSpPr/>
            <p:nvPr/>
          </p:nvSpPr>
          <p:spPr>
            <a:xfrm>
              <a:off x="7481605" y="2839485"/>
              <a:ext cx="6546" cy="6546"/>
            </a:xfrm>
            <a:custGeom>
              <a:avLst/>
              <a:gdLst>
                <a:gd name="connsiteX0" fmla="*/ 6546 w 6546"/>
                <a:gd name="connsiteY0" fmla="*/ 3273 h 6546"/>
                <a:gd name="connsiteX1" fmla="*/ 3273 w 6546"/>
                <a:gd name="connsiteY1" fmla="*/ 6546 h 6546"/>
                <a:gd name="connsiteX2" fmla="*/ 0 w 6546"/>
                <a:gd name="connsiteY2" fmla="*/ 3273 h 6546"/>
                <a:gd name="connsiteX3" fmla="*/ 3273 w 6546"/>
                <a:gd name="connsiteY3" fmla="*/ 0 h 6546"/>
                <a:gd name="connsiteX4" fmla="*/ 6546 w 6546"/>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6">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147" name="Freeform: Shape 146"/>
            <p:cNvSpPr/>
            <p:nvPr/>
          </p:nvSpPr>
          <p:spPr>
            <a:xfrm>
              <a:off x="7313313" y="2888656"/>
              <a:ext cx="5480" cy="5480"/>
            </a:xfrm>
            <a:custGeom>
              <a:avLst/>
              <a:gdLst>
                <a:gd name="connsiteX0" fmla="*/ 5481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0" y="5480"/>
                  </a:cubicBezTo>
                  <a:cubicBezTo>
                    <a:pt x="1218" y="5480"/>
                    <a:pt x="0" y="4262"/>
                    <a:pt x="0" y="2740"/>
                  </a:cubicBezTo>
                  <a:cubicBezTo>
                    <a:pt x="0" y="1218"/>
                    <a:pt x="1218" y="0"/>
                    <a:pt x="2740"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148" name="Freeform: Shape 147"/>
            <p:cNvSpPr/>
            <p:nvPr/>
          </p:nvSpPr>
          <p:spPr>
            <a:xfrm>
              <a:off x="7152177" y="2957008"/>
              <a:ext cx="3272" cy="3196"/>
            </a:xfrm>
            <a:custGeom>
              <a:avLst/>
              <a:gdLst>
                <a:gd name="connsiteX0" fmla="*/ 3273 w 3272"/>
                <a:gd name="connsiteY0" fmla="*/ 1599 h 3196"/>
                <a:gd name="connsiteX1" fmla="*/ 1598 w 3272"/>
                <a:gd name="connsiteY1" fmla="*/ 3197 h 3196"/>
                <a:gd name="connsiteX2" fmla="*/ 0 w 3272"/>
                <a:gd name="connsiteY2" fmla="*/ 1599 h 3196"/>
                <a:gd name="connsiteX3" fmla="*/ 1598 w 3272"/>
                <a:gd name="connsiteY3" fmla="*/ 0 h 3196"/>
                <a:gd name="connsiteX4" fmla="*/ 3273 w 3272"/>
                <a:gd name="connsiteY4" fmla="*/ 1599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196">
                  <a:moveTo>
                    <a:pt x="3273" y="1599"/>
                  </a:moveTo>
                  <a:cubicBezTo>
                    <a:pt x="3273" y="2512"/>
                    <a:pt x="2512" y="3197"/>
                    <a:pt x="1598" y="3197"/>
                  </a:cubicBezTo>
                  <a:cubicBezTo>
                    <a:pt x="685" y="3197"/>
                    <a:pt x="0" y="2436"/>
                    <a:pt x="0" y="1599"/>
                  </a:cubicBezTo>
                  <a:cubicBezTo>
                    <a:pt x="0" y="685"/>
                    <a:pt x="761" y="0"/>
                    <a:pt x="1598" y="0"/>
                  </a:cubicBezTo>
                  <a:cubicBezTo>
                    <a:pt x="2436" y="0"/>
                    <a:pt x="3273" y="685"/>
                    <a:pt x="3273" y="1599"/>
                  </a:cubicBezTo>
                </a:path>
              </a:pathLst>
            </a:custGeom>
            <a:grpFill/>
            <a:ln w="7608" cap="flat">
              <a:noFill/>
              <a:prstDash val="solid"/>
              <a:miter/>
            </a:ln>
          </p:spPr>
          <p:txBody>
            <a:bodyPr rtlCol="0" anchor="ctr"/>
            <a:lstStyle/>
            <a:p>
              <a:endParaRPr lang="hi-IN"/>
            </a:p>
          </p:txBody>
        </p:sp>
        <p:sp>
          <p:nvSpPr>
            <p:cNvPr id="1149" name="Freeform: Shape 148"/>
            <p:cNvSpPr/>
            <p:nvPr/>
          </p:nvSpPr>
          <p:spPr>
            <a:xfrm>
              <a:off x="6998957" y="3042562"/>
              <a:ext cx="2130" cy="2131"/>
            </a:xfrm>
            <a:custGeom>
              <a:avLst/>
              <a:gdLst>
                <a:gd name="connsiteX0" fmla="*/ 2131 w 2130"/>
                <a:gd name="connsiteY0" fmla="*/ 1065 h 2131"/>
                <a:gd name="connsiteX1" fmla="*/ 1066 w 2130"/>
                <a:gd name="connsiteY1" fmla="*/ 2131 h 2131"/>
                <a:gd name="connsiteX2" fmla="*/ 0 w 2130"/>
                <a:gd name="connsiteY2" fmla="*/ 1065 h 2131"/>
                <a:gd name="connsiteX3" fmla="*/ 1066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6" y="2131"/>
                  </a:cubicBezTo>
                  <a:cubicBezTo>
                    <a:pt x="457" y="2131"/>
                    <a:pt x="0" y="1675"/>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150" name="Freeform: Shape 149"/>
            <p:cNvSpPr/>
            <p:nvPr/>
          </p:nvSpPr>
          <p:spPr>
            <a:xfrm>
              <a:off x="6856240" y="3144708"/>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8" y="1066"/>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151" name="Freeform: Shape 150"/>
            <p:cNvSpPr/>
            <p:nvPr/>
          </p:nvSpPr>
          <p:spPr>
            <a:xfrm>
              <a:off x="9094719" y="5600192"/>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9" y="1066"/>
                    <a:pt x="0" y="837"/>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52" name="Freeform: Shape 151"/>
            <p:cNvSpPr/>
            <p:nvPr/>
          </p:nvSpPr>
          <p:spPr>
            <a:xfrm>
              <a:off x="9210947" y="5468436"/>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9" y="1066"/>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153" name="Freeform: Shape 152"/>
            <p:cNvSpPr/>
            <p:nvPr/>
          </p:nvSpPr>
          <p:spPr>
            <a:xfrm>
              <a:off x="9313018" y="5325263"/>
              <a:ext cx="2131" cy="2130"/>
            </a:xfrm>
            <a:custGeom>
              <a:avLst/>
              <a:gdLst>
                <a:gd name="connsiteX0" fmla="*/ 2131 w 2131"/>
                <a:gd name="connsiteY0" fmla="*/ 1066 h 2130"/>
                <a:gd name="connsiteX1" fmla="*/ 1066 w 2131"/>
                <a:gd name="connsiteY1" fmla="*/ 2131 h 2130"/>
                <a:gd name="connsiteX2" fmla="*/ 0 w 2131"/>
                <a:gd name="connsiteY2" fmla="*/ 1066 h 2130"/>
                <a:gd name="connsiteX3" fmla="*/ 1066 w 2131"/>
                <a:gd name="connsiteY3" fmla="*/ 0 h 2130"/>
                <a:gd name="connsiteX4" fmla="*/ 2131 w 2131"/>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6"/>
                  </a:moveTo>
                  <a:cubicBezTo>
                    <a:pt x="2131" y="1674"/>
                    <a:pt x="1674" y="2131"/>
                    <a:pt x="1066" y="2131"/>
                  </a:cubicBezTo>
                  <a:cubicBezTo>
                    <a:pt x="456" y="2131"/>
                    <a:pt x="0" y="1674"/>
                    <a:pt x="0" y="1066"/>
                  </a:cubicBezTo>
                  <a:cubicBezTo>
                    <a:pt x="0" y="457"/>
                    <a:pt x="456"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154" name="Freeform: Shape 153"/>
            <p:cNvSpPr/>
            <p:nvPr/>
          </p:nvSpPr>
          <p:spPr>
            <a:xfrm>
              <a:off x="9400322" y="5172570"/>
              <a:ext cx="3197" cy="3278"/>
            </a:xfrm>
            <a:custGeom>
              <a:avLst/>
              <a:gdLst>
                <a:gd name="connsiteX0" fmla="*/ 3197 w 3197"/>
                <a:gd name="connsiteY0" fmla="*/ 1604 h 3278"/>
                <a:gd name="connsiteX1" fmla="*/ 1598 w 3197"/>
                <a:gd name="connsiteY1" fmla="*/ 3278 h 3278"/>
                <a:gd name="connsiteX2" fmla="*/ 0 w 3197"/>
                <a:gd name="connsiteY2" fmla="*/ 1604 h 3278"/>
                <a:gd name="connsiteX3" fmla="*/ 1598 w 3197"/>
                <a:gd name="connsiteY3" fmla="*/ 5 h 3278"/>
                <a:gd name="connsiteX4" fmla="*/ 3197 w 3197"/>
                <a:gd name="connsiteY4" fmla="*/ 1604 h 3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8">
                  <a:moveTo>
                    <a:pt x="3197" y="1604"/>
                  </a:moveTo>
                  <a:cubicBezTo>
                    <a:pt x="3197" y="2517"/>
                    <a:pt x="2435" y="3278"/>
                    <a:pt x="1598" y="3278"/>
                  </a:cubicBezTo>
                  <a:cubicBezTo>
                    <a:pt x="685" y="3278"/>
                    <a:pt x="0" y="2517"/>
                    <a:pt x="0" y="1604"/>
                  </a:cubicBezTo>
                  <a:cubicBezTo>
                    <a:pt x="0" y="690"/>
                    <a:pt x="761" y="5"/>
                    <a:pt x="1598" y="5"/>
                  </a:cubicBezTo>
                  <a:cubicBezTo>
                    <a:pt x="2435" y="-71"/>
                    <a:pt x="3197" y="690"/>
                    <a:pt x="3197" y="1604"/>
                  </a:cubicBezTo>
                </a:path>
              </a:pathLst>
            </a:custGeom>
            <a:grpFill/>
            <a:ln w="7608" cap="flat">
              <a:noFill/>
              <a:prstDash val="solid"/>
              <a:miter/>
            </a:ln>
          </p:spPr>
          <p:txBody>
            <a:bodyPr rtlCol="0" anchor="ctr"/>
            <a:lstStyle/>
            <a:p>
              <a:endParaRPr lang="hi-IN"/>
            </a:p>
          </p:txBody>
        </p:sp>
        <p:sp>
          <p:nvSpPr>
            <p:cNvPr id="1155" name="Freeform: Shape 154"/>
            <p:cNvSpPr/>
            <p:nvPr/>
          </p:nvSpPr>
          <p:spPr>
            <a:xfrm>
              <a:off x="9471414" y="5011287"/>
              <a:ext cx="5481" cy="5480"/>
            </a:xfrm>
            <a:custGeom>
              <a:avLst/>
              <a:gdLst>
                <a:gd name="connsiteX0" fmla="*/ 5481 w 5481"/>
                <a:gd name="connsiteY0" fmla="*/ 2740 h 5480"/>
                <a:gd name="connsiteX1" fmla="*/ 2740 w 5481"/>
                <a:gd name="connsiteY1" fmla="*/ 5480 h 5480"/>
                <a:gd name="connsiteX2" fmla="*/ 0 w 5481"/>
                <a:gd name="connsiteY2" fmla="*/ 2740 h 5480"/>
                <a:gd name="connsiteX3" fmla="*/ 2740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0" y="5480"/>
                  </a:cubicBezTo>
                  <a:cubicBezTo>
                    <a:pt x="1218" y="5480"/>
                    <a:pt x="0" y="4262"/>
                    <a:pt x="0" y="2740"/>
                  </a:cubicBezTo>
                  <a:cubicBezTo>
                    <a:pt x="0" y="1218"/>
                    <a:pt x="1218" y="0"/>
                    <a:pt x="2740" y="0"/>
                  </a:cubicBezTo>
                  <a:cubicBezTo>
                    <a:pt x="4263" y="0"/>
                    <a:pt x="5481" y="1218"/>
                    <a:pt x="5481" y="2740"/>
                  </a:cubicBezTo>
                </a:path>
              </a:pathLst>
            </a:custGeom>
            <a:grpFill/>
            <a:ln w="7608" cap="flat">
              <a:noFill/>
              <a:prstDash val="solid"/>
              <a:miter/>
            </a:ln>
          </p:spPr>
          <p:txBody>
            <a:bodyPr rtlCol="0" anchor="ctr"/>
            <a:lstStyle/>
            <a:p>
              <a:endParaRPr lang="hi-IN"/>
            </a:p>
          </p:txBody>
        </p:sp>
        <p:sp>
          <p:nvSpPr>
            <p:cNvPr id="1156" name="Freeform: Shape 155"/>
            <p:cNvSpPr/>
            <p:nvPr/>
          </p:nvSpPr>
          <p:spPr>
            <a:xfrm>
              <a:off x="9526826" y="4844137"/>
              <a:ext cx="6545" cy="6546"/>
            </a:xfrm>
            <a:custGeom>
              <a:avLst/>
              <a:gdLst>
                <a:gd name="connsiteX0" fmla="*/ 6546 w 6545"/>
                <a:gd name="connsiteY0" fmla="*/ 3273 h 6546"/>
                <a:gd name="connsiteX1" fmla="*/ 3273 w 6545"/>
                <a:gd name="connsiteY1" fmla="*/ 6546 h 6546"/>
                <a:gd name="connsiteX2" fmla="*/ 0 w 6545"/>
                <a:gd name="connsiteY2" fmla="*/ 3273 h 6546"/>
                <a:gd name="connsiteX3" fmla="*/ 3273 w 6545"/>
                <a:gd name="connsiteY3" fmla="*/ 0 h 6546"/>
                <a:gd name="connsiteX4" fmla="*/ 6546 w 6545"/>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6">
                  <a:moveTo>
                    <a:pt x="6546" y="3273"/>
                  </a:moveTo>
                  <a:cubicBezTo>
                    <a:pt x="6546" y="5100"/>
                    <a:pt x="5100" y="6546"/>
                    <a:pt x="3273" y="6546"/>
                  </a:cubicBezTo>
                  <a:cubicBezTo>
                    <a:pt x="1447" y="6546"/>
                    <a:pt x="0" y="5100"/>
                    <a:pt x="0" y="3273"/>
                  </a:cubicBezTo>
                  <a:cubicBezTo>
                    <a:pt x="0" y="1446"/>
                    <a:pt x="1447" y="0"/>
                    <a:pt x="3273" y="0"/>
                  </a:cubicBezTo>
                  <a:cubicBezTo>
                    <a:pt x="5100" y="76"/>
                    <a:pt x="6546" y="1522"/>
                    <a:pt x="6546" y="3273"/>
                  </a:cubicBezTo>
                </a:path>
              </a:pathLst>
            </a:custGeom>
            <a:grpFill/>
            <a:ln w="7608" cap="flat">
              <a:noFill/>
              <a:prstDash val="solid"/>
              <a:miter/>
            </a:ln>
          </p:spPr>
          <p:txBody>
            <a:bodyPr rtlCol="0" anchor="ctr"/>
            <a:lstStyle/>
            <a:p>
              <a:endParaRPr lang="hi-IN"/>
            </a:p>
          </p:txBody>
        </p:sp>
        <p:sp>
          <p:nvSpPr>
            <p:cNvPr id="1157" name="Freeform: Shape 156"/>
            <p:cNvSpPr/>
            <p:nvPr/>
          </p:nvSpPr>
          <p:spPr>
            <a:xfrm>
              <a:off x="9564884" y="4671812"/>
              <a:ext cx="8677" cy="8676"/>
            </a:xfrm>
            <a:custGeom>
              <a:avLst/>
              <a:gdLst>
                <a:gd name="connsiteX0" fmla="*/ 8677 w 8677"/>
                <a:gd name="connsiteY0" fmla="*/ 4338 h 8676"/>
                <a:gd name="connsiteX1" fmla="*/ 4339 w 8677"/>
                <a:gd name="connsiteY1" fmla="*/ 8677 h 8676"/>
                <a:gd name="connsiteX2" fmla="*/ 0 w 8677"/>
                <a:gd name="connsiteY2" fmla="*/ 4338 h 8676"/>
                <a:gd name="connsiteX3" fmla="*/ 4339 w 8677"/>
                <a:gd name="connsiteY3" fmla="*/ 0 h 8676"/>
                <a:gd name="connsiteX4" fmla="*/ 8677 w 8677"/>
                <a:gd name="connsiteY4" fmla="*/ 4338 h 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6">
                  <a:moveTo>
                    <a:pt x="8677" y="4338"/>
                  </a:moveTo>
                  <a:cubicBezTo>
                    <a:pt x="8677" y="6698"/>
                    <a:pt x="6698" y="8677"/>
                    <a:pt x="4339" y="8677"/>
                  </a:cubicBezTo>
                  <a:cubicBezTo>
                    <a:pt x="1979" y="8677"/>
                    <a:pt x="0" y="6698"/>
                    <a:pt x="0" y="4338"/>
                  </a:cubicBezTo>
                  <a:cubicBezTo>
                    <a:pt x="0" y="1979"/>
                    <a:pt x="1903"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158" name="Freeform: Shape 157"/>
            <p:cNvSpPr/>
            <p:nvPr/>
          </p:nvSpPr>
          <p:spPr>
            <a:xfrm>
              <a:off x="9585663" y="4496366"/>
              <a:ext cx="10808" cy="10808"/>
            </a:xfrm>
            <a:custGeom>
              <a:avLst/>
              <a:gdLst>
                <a:gd name="connsiteX0" fmla="*/ 10809 w 10808"/>
                <a:gd name="connsiteY0" fmla="*/ 5404 h 10808"/>
                <a:gd name="connsiteX1" fmla="*/ 5405 w 10808"/>
                <a:gd name="connsiteY1" fmla="*/ 10809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9"/>
                    <a:pt x="5405" y="10809"/>
                  </a:cubicBezTo>
                  <a:cubicBezTo>
                    <a:pt x="2436" y="10809"/>
                    <a:pt x="0" y="8373"/>
                    <a:pt x="0" y="5404"/>
                  </a:cubicBezTo>
                  <a:cubicBezTo>
                    <a:pt x="0" y="2436"/>
                    <a:pt x="2436" y="0"/>
                    <a:pt x="5405"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159" name="Freeform: Shape 158"/>
            <p:cNvSpPr/>
            <p:nvPr/>
          </p:nvSpPr>
          <p:spPr>
            <a:xfrm>
              <a:off x="9588860" y="4319626"/>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9" y="13092"/>
                    <a:pt x="0" y="10199"/>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160" name="Freeform: Shape 159"/>
            <p:cNvSpPr/>
            <p:nvPr/>
          </p:nvSpPr>
          <p:spPr>
            <a:xfrm>
              <a:off x="9575235" y="4143875"/>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97" y="0"/>
                    <a:pt x="7079" y="0"/>
                  </a:cubicBezTo>
                  <a:cubicBezTo>
                    <a:pt x="10961" y="0"/>
                    <a:pt x="14157" y="3197"/>
                    <a:pt x="14157" y="7079"/>
                  </a:cubicBezTo>
                </a:path>
              </a:pathLst>
            </a:custGeom>
            <a:grpFill/>
            <a:ln w="7608" cap="flat">
              <a:noFill/>
              <a:prstDash val="solid"/>
              <a:miter/>
            </a:ln>
          </p:spPr>
          <p:txBody>
            <a:bodyPr rtlCol="0" anchor="ctr"/>
            <a:lstStyle/>
            <a:p>
              <a:endParaRPr lang="hi-IN"/>
            </a:p>
          </p:txBody>
        </p:sp>
        <p:sp>
          <p:nvSpPr>
            <p:cNvPr id="1161" name="Freeform: Shape 160"/>
            <p:cNvSpPr/>
            <p:nvPr/>
          </p:nvSpPr>
          <p:spPr>
            <a:xfrm>
              <a:off x="9543647" y="3969800"/>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4" y="16289"/>
                    <a:pt x="0" y="12635"/>
                    <a:pt x="0" y="8144"/>
                  </a:cubicBezTo>
                  <a:cubicBezTo>
                    <a:pt x="0" y="3654"/>
                    <a:pt x="3654" y="0"/>
                    <a:pt x="8145"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162" name="Freeform: Shape 161"/>
            <p:cNvSpPr/>
            <p:nvPr/>
          </p:nvSpPr>
          <p:spPr>
            <a:xfrm>
              <a:off x="9495543" y="3800138"/>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06"/>
                    <a:pt x="17355" y="8677"/>
                  </a:cubicBezTo>
                </a:path>
              </a:pathLst>
            </a:custGeom>
            <a:grpFill/>
            <a:ln w="7608" cap="flat">
              <a:noFill/>
              <a:prstDash val="solid"/>
              <a:miter/>
            </a:ln>
          </p:spPr>
          <p:txBody>
            <a:bodyPr rtlCol="0" anchor="ctr"/>
            <a:lstStyle/>
            <a:p>
              <a:endParaRPr lang="hi-IN"/>
            </a:p>
          </p:txBody>
        </p:sp>
        <p:sp>
          <p:nvSpPr>
            <p:cNvPr id="1163" name="Freeform: Shape 162"/>
            <p:cNvSpPr/>
            <p:nvPr/>
          </p:nvSpPr>
          <p:spPr>
            <a:xfrm>
              <a:off x="9430312" y="3635500"/>
              <a:ext cx="19485" cy="19486"/>
            </a:xfrm>
            <a:custGeom>
              <a:avLst/>
              <a:gdLst>
                <a:gd name="connsiteX0" fmla="*/ 19485 w 19485"/>
                <a:gd name="connsiteY0" fmla="*/ 9744 h 19486"/>
                <a:gd name="connsiteX1" fmla="*/ 9742 w 19485"/>
                <a:gd name="connsiteY1" fmla="*/ 19487 h 19486"/>
                <a:gd name="connsiteX2" fmla="*/ 0 w 19485"/>
                <a:gd name="connsiteY2" fmla="*/ 9744 h 19486"/>
                <a:gd name="connsiteX3" fmla="*/ 9742 w 19485"/>
                <a:gd name="connsiteY3" fmla="*/ 1 h 19486"/>
                <a:gd name="connsiteX4" fmla="*/ 19485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5" y="9744"/>
                  </a:moveTo>
                  <a:cubicBezTo>
                    <a:pt x="19485" y="15148"/>
                    <a:pt x="15071" y="19487"/>
                    <a:pt x="9742" y="19487"/>
                  </a:cubicBezTo>
                  <a:cubicBezTo>
                    <a:pt x="4338" y="19487"/>
                    <a:pt x="0" y="15072"/>
                    <a:pt x="0" y="9744"/>
                  </a:cubicBezTo>
                  <a:cubicBezTo>
                    <a:pt x="0" y="4340"/>
                    <a:pt x="4414" y="1"/>
                    <a:pt x="9742" y="1"/>
                  </a:cubicBezTo>
                  <a:cubicBezTo>
                    <a:pt x="15071" y="-75"/>
                    <a:pt x="19485" y="4340"/>
                    <a:pt x="19485" y="9744"/>
                  </a:cubicBezTo>
                </a:path>
              </a:pathLst>
            </a:custGeom>
            <a:grpFill/>
            <a:ln w="7608" cap="flat">
              <a:noFill/>
              <a:prstDash val="solid"/>
              <a:miter/>
            </a:ln>
          </p:spPr>
          <p:txBody>
            <a:bodyPr rtlCol="0" anchor="ctr"/>
            <a:lstStyle/>
            <a:p>
              <a:endParaRPr lang="hi-IN"/>
            </a:p>
          </p:txBody>
        </p:sp>
        <p:sp>
          <p:nvSpPr>
            <p:cNvPr id="1164" name="Freeform: Shape 163"/>
            <p:cNvSpPr/>
            <p:nvPr/>
          </p:nvSpPr>
          <p:spPr>
            <a:xfrm>
              <a:off x="9349553" y="3478551"/>
              <a:ext cx="20627" cy="20703"/>
            </a:xfrm>
            <a:custGeom>
              <a:avLst/>
              <a:gdLst>
                <a:gd name="connsiteX0" fmla="*/ 20628 w 20627"/>
                <a:gd name="connsiteY0" fmla="*/ 10352 h 20703"/>
                <a:gd name="connsiteX1" fmla="*/ 10276 w 20627"/>
                <a:gd name="connsiteY1" fmla="*/ 20703 h 20703"/>
                <a:gd name="connsiteX2" fmla="*/ 0 w 20627"/>
                <a:gd name="connsiteY2" fmla="*/ 10352 h 20703"/>
                <a:gd name="connsiteX3" fmla="*/ 10276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0"/>
                    <a:pt x="15985" y="20703"/>
                    <a:pt x="10276" y="20703"/>
                  </a:cubicBezTo>
                  <a:cubicBezTo>
                    <a:pt x="4568" y="20703"/>
                    <a:pt x="0" y="16060"/>
                    <a:pt x="0" y="10352"/>
                  </a:cubicBezTo>
                  <a:cubicBezTo>
                    <a:pt x="0" y="4643"/>
                    <a:pt x="4644" y="0"/>
                    <a:pt x="10276" y="0"/>
                  </a:cubicBezTo>
                  <a:cubicBezTo>
                    <a:pt x="15985" y="0"/>
                    <a:pt x="20628" y="4643"/>
                    <a:pt x="20628" y="10352"/>
                  </a:cubicBezTo>
                </a:path>
              </a:pathLst>
            </a:custGeom>
            <a:grpFill/>
            <a:ln w="7608" cap="flat">
              <a:noFill/>
              <a:prstDash val="solid"/>
              <a:miter/>
            </a:ln>
          </p:spPr>
          <p:txBody>
            <a:bodyPr rtlCol="0" anchor="ctr"/>
            <a:lstStyle/>
            <a:p>
              <a:endParaRPr lang="hi-IN"/>
            </a:p>
          </p:txBody>
        </p:sp>
        <p:sp>
          <p:nvSpPr>
            <p:cNvPr id="1165" name="Freeform: Shape 164"/>
            <p:cNvSpPr/>
            <p:nvPr/>
          </p:nvSpPr>
          <p:spPr>
            <a:xfrm>
              <a:off x="9253648" y="3330354"/>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7" y="21769"/>
                    <a:pt x="10885" y="21769"/>
                  </a:cubicBezTo>
                  <a:cubicBezTo>
                    <a:pt x="4871" y="21769"/>
                    <a:pt x="0" y="16898"/>
                    <a:pt x="0" y="10884"/>
                  </a:cubicBezTo>
                  <a:cubicBezTo>
                    <a:pt x="0" y="4871"/>
                    <a:pt x="4871" y="0"/>
                    <a:pt x="10885" y="0"/>
                  </a:cubicBezTo>
                  <a:cubicBezTo>
                    <a:pt x="16897" y="76"/>
                    <a:pt x="21769" y="4947"/>
                    <a:pt x="21769" y="10884"/>
                  </a:cubicBezTo>
                </a:path>
              </a:pathLst>
            </a:custGeom>
            <a:grpFill/>
            <a:ln w="7608" cap="flat">
              <a:noFill/>
              <a:prstDash val="solid"/>
              <a:miter/>
            </a:ln>
          </p:spPr>
          <p:txBody>
            <a:bodyPr rtlCol="0" anchor="ctr"/>
            <a:lstStyle/>
            <a:p>
              <a:endParaRPr lang="hi-IN"/>
            </a:p>
          </p:txBody>
        </p:sp>
        <p:sp>
          <p:nvSpPr>
            <p:cNvPr id="1166" name="Freeform: Shape 165"/>
            <p:cNvSpPr/>
            <p:nvPr/>
          </p:nvSpPr>
          <p:spPr>
            <a:xfrm>
              <a:off x="9144041" y="3193042"/>
              <a:ext cx="21769" cy="21768"/>
            </a:xfrm>
            <a:custGeom>
              <a:avLst/>
              <a:gdLst>
                <a:gd name="connsiteX0" fmla="*/ 21770 w 21769"/>
                <a:gd name="connsiteY0" fmla="*/ 10884 h 21768"/>
                <a:gd name="connsiteX1" fmla="*/ 10885 w 21769"/>
                <a:gd name="connsiteY1" fmla="*/ 21769 h 21768"/>
                <a:gd name="connsiteX2" fmla="*/ 0 w 21769"/>
                <a:gd name="connsiteY2" fmla="*/ 10884 h 21768"/>
                <a:gd name="connsiteX3" fmla="*/ 10885 w 21769"/>
                <a:gd name="connsiteY3" fmla="*/ 0 h 21768"/>
                <a:gd name="connsiteX4" fmla="*/ 21770 w 21769"/>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9" h="21768">
                  <a:moveTo>
                    <a:pt x="21770" y="10884"/>
                  </a:moveTo>
                  <a:cubicBezTo>
                    <a:pt x="21770" y="16898"/>
                    <a:pt x="16898" y="21769"/>
                    <a:pt x="10885" y="21769"/>
                  </a:cubicBezTo>
                  <a:cubicBezTo>
                    <a:pt x="4871" y="21769"/>
                    <a:pt x="0" y="16898"/>
                    <a:pt x="0" y="10884"/>
                  </a:cubicBezTo>
                  <a:cubicBezTo>
                    <a:pt x="0" y="4871"/>
                    <a:pt x="4871" y="0"/>
                    <a:pt x="10885" y="0"/>
                  </a:cubicBezTo>
                  <a:cubicBezTo>
                    <a:pt x="16975" y="0"/>
                    <a:pt x="21770" y="4871"/>
                    <a:pt x="21770" y="10884"/>
                  </a:cubicBezTo>
                </a:path>
              </a:pathLst>
            </a:custGeom>
            <a:grpFill/>
            <a:ln w="7608" cap="flat">
              <a:noFill/>
              <a:prstDash val="solid"/>
              <a:miter/>
            </a:ln>
          </p:spPr>
          <p:txBody>
            <a:bodyPr rtlCol="0" anchor="ctr"/>
            <a:lstStyle/>
            <a:p>
              <a:endParaRPr lang="hi-IN"/>
            </a:p>
          </p:txBody>
        </p:sp>
        <p:sp>
          <p:nvSpPr>
            <p:cNvPr id="1167" name="Freeform: Shape 166"/>
            <p:cNvSpPr/>
            <p:nvPr/>
          </p:nvSpPr>
          <p:spPr>
            <a:xfrm>
              <a:off x="9021419" y="3067223"/>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8" y="21769"/>
                    <a:pt x="10885" y="21769"/>
                  </a:cubicBezTo>
                  <a:cubicBezTo>
                    <a:pt x="4871" y="21769"/>
                    <a:pt x="0" y="16898"/>
                    <a:pt x="0" y="10884"/>
                  </a:cubicBezTo>
                  <a:cubicBezTo>
                    <a:pt x="0" y="4871"/>
                    <a:pt x="4871" y="0"/>
                    <a:pt x="10885" y="0"/>
                  </a:cubicBezTo>
                  <a:cubicBezTo>
                    <a:pt x="16898" y="76"/>
                    <a:pt x="21769" y="4871"/>
                    <a:pt x="21769" y="10884"/>
                  </a:cubicBezTo>
                </a:path>
              </a:pathLst>
            </a:custGeom>
            <a:grpFill/>
            <a:ln w="7608" cap="flat">
              <a:noFill/>
              <a:prstDash val="solid"/>
              <a:miter/>
            </a:ln>
          </p:spPr>
          <p:txBody>
            <a:bodyPr rtlCol="0" anchor="ctr"/>
            <a:lstStyle/>
            <a:p>
              <a:endParaRPr lang="hi-IN"/>
            </a:p>
          </p:txBody>
        </p:sp>
        <p:sp>
          <p:nvSpPr>
            <p:cNvPr id="1168" name="Freeform: Shape 167"/>
            <p:cNvSpPr/>
            <p:nvPr/>
          </p:nvSpPr>
          <p:spPr>
            <a:xfrm>
              <a:off x="8886772" y="2954268"/>
              <a:ext cx="21768" cy="21768"/>
            </a:xfrm>
            <a:custGeom>
              <a:avLst/>
              <a:gdLst>
                <a:gd name="connsiteX0" fmla="*/ 21769 w 21768"/>
                <a:gd name="connsiteY0" fmla="*/ 10884 h 21768"/>
                <a:gd name="connsiteX1" fmla="*/ 10884 w 21768"/>
                <a:gd name="connsiteY1" fmla="*/ 21769 h 21768"/>
                <a:gd name="connsiteX2" fmla="*/ 0 w 21768"/>
                <a:gd name="connsiteY2" fmla="*/ 10884 h 21768"/>
                <a:gd name="connsiteX3" fmla="*/ 10884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7" y="21769"/>
                    <a:pt x="10884" y="21769"/>
                  </a:cubicBezTo>
                  <a:cubicBezTo>
                    <a:pt x="4871" y="21769"/>
                    <a:pt x="0" y="16898"/>
                    <a:pt x="0" y="10884"/>
                  </a:cubicBezTo>
                  <a:cubicBezTo>
                    <a:pt x="0" y="4871"/>
                    <a:pt x="4871" y="0"/>
                    <a:pt x="10884" y="0"/>
                  </a:cubicBezTo>
                  <a:cubicBezTo>
                    <a:pt x="16897" y="76"/>
                    <a:pt x="21769" y="4947"/>
                    <a:pt x="21769" y="10884"/>
                  </a:cubicBezTo>
                </a:path>
              </a:pathLst>
            </a:custGeom>
            <a:grpFill/>
            <a:ln w="7608" cap="flat">
              <a:noFill/>
              <a:prstDash val="solid"/>
              <a:miter/>
            </a:ln>
          </p:spPr>
          <p:txBody>
            <a:bodyPr rtlCol="0" anchor="ctr"/>
            <a:lstStyle/>
            <a:p>
              <a:endParaRPr lang="hi-IN"/>
            </a:p>
          </p:txBody>
        </p:sp>
        <p:sp>
          <p:nvSpPr>
            <p:cNvPr id="1169" name="Freeform: Shape 168"/>
            <p:cNvSpPr/>
            <p:nvPr/>
          </p:nvSpPr>
          <p:spPr>
            <a:xfrm>
              <a:off x="8742229" y="2855850"/>
              <a:ext cx="20626" cy="20627"/>
            </a:xfrm>
            <a:custGeom>
              <a:avLst/>
              <a:gdLst>
                <a:gd name="connsiteX0" fmla="*/ 20627 w 20626"/>
                <a:gd name="connsiteY0" fmla="*/ 10352 h 20627"/>
                <a:gd name="connsiteX1" fmla="*/ 10352 w 20626"/>
                <a:gd name="connsiteY1" fmla="*/ 20627 h 20627"/>
                <a:gd name="connsiteX2" fmla="*/ 0 w 20626"/>
                <a:gd name="connsiteY2" fmla="*/ 10352 h 20627"/>
                <a:gd name="connsiteX3" fmla="*/ 10352 w 20626"/>
                <a:gd name="connsiteY3" fmla="*/ 0 h 20627"/>
                <a:gd name="connsiteX4" fmla="*/ 20627 w 20626"/>
                <a:gd name="connsiteY4" fmla="*/ 10352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6" h="20627">
                  <a:moveTo>
                    <a:pt x="20627" y="10352"/>
                  </a:moveTo>
                  <a:cubicBezTo>
                    <a:pt x="20627" y="16060"/>
                    <a:pt x="15984" y="20627"/>
                    <a:pt x="10352" y="20627"/>
                  </a:cubicBezTo>
                  <a:cubicBezTo>
                    <a:pt x="4643" y="20627"/>
                    <a:pt x="0" y="15984"/>
                    <a:pt x="0" y="10352"/>
                  </a:cubicBezTo>
                  <a:cubicBezTo>
                    <a:pt x="0" y="4643"/>
                    <a:pt x="4643" y="0"/>
                    <a:pt x="10352" y="0"/>
                  </a:cubicBezTo>
                  <a:cubicBezTo>
                    <a:pt x="15984" y="76"/>
                    <a:pt x="20627" y="4643"/>
                    <a:pt x="20627" y="10352"/>
                  </a:cubicBezTo>
                </a:path>
              </a:pathLst>
            </a:custGeom>
            <a:grpFill/>
            <a:ln w="7608" cap="flat">
              <a:noFill/>
              <a:prstDash val="solid"/>
              <a:miter/>
            </a:ln>
          </p:spPr>
          <p:txBody>
            <a:bodyPr rtlCol="0" anchor="ctr"/>
            <a:lstStyle/>
            <a:p>
              <a:endParaRPr lang="hi-IN"/>
            </a:p>
          </p:txBody>
        </p:sp>
        <p:sp>
          <p:nvSpPr>
            <p:cNvPr id="1170" name="Freeform: Shape 169"/>
            <p:cNvSpPr/>
            <p:nvPr/>
          </p:nvSpPr>
          <p:spPr>
            <a:xfrm>
              <a:off x="8588475" y="2772428"/>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415" y="0"/>
                    <a:pt x="9743" y="0"/>
                  </a:cubicBezTo>
                  <a:cubicBezTo>
                    <a:pt x="15147" y="0"/>
                    <a:pt x="19486" y="4339"/>
                    <a:pt x="19486" y="9743"/>
                  </a:cubicBezTo>
                </a:path>
              </a:pathLst>
            </a:custGeom>
            <a:grpFill/>
            <a:ln w="7608" cap="flat">
              <a:noFill/>
              <a:prstDash val="solid"/>
              <a:miter/>
            </a:ln>
          </p:spPr>
          <p:txBody>
            <a:bodyPr rtlCol="0" anchor="ctr"/>
            <a:lstStyle/>
            <a:p>
              <a:endParaRPr lang="hi-IN"/>
            </a:p>
          </p:txBody>
        </p:sp>
        <p:sp>
          <p:nvSpPr>
            <p:cNvPr id="1171" name="Freeform: Shape 170"/>
            <p:cNvSpPr/>
            <p:nvPr/>
          </p:nvSpPr>
          <p:spPr>
            <a:xfrm>
              <a:off x="8427111" y="2704685"/>
              <a:ext cx="18420" cy="18420"/>
            </a:xfrm>
            <a:custGeom>
              <a:avLst/>
              <a:gdLst>
                <a:gd name="connsiteX0" fmla="*/ 18420 w 18420"/>
                <a:gd name="connsiteY0" fmla="*/ 9210 h 18420"/>
                <a:gd name="connsiteX1" fmla="*/ 9210 w 18420"/>
                <a:gd name="connsiteY1" fmla="*/ 18420 h 18420"/>
                <a:gd name="connsiteX2" fmla="*/ 0 w 18420"/>
                <a:gd name="connsiteY2" fmla="*/ 9210 h 18420"/>
                <a:gd name="connsiteX3" fmla="*/ 9210 w 18420"/>
                <a:gd name="connsiteY3" fmla="*/ 0 h 18420"/>
                <a:gd name="connsiteX4" fmla="*/ 18420 w 18420"/>
                <a:gd name="connsiteY4" fmla="*/ 921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0">
                  <a:moveTo>
                    <a:pt x="18420" y="9210"/>
                  </a:moveTo>
                  <a:cubicBezTo>
                    <a:pt x="18420" y="14310"/>
                    <a:pt x="14310" y="18420"/>
                    <a:pt x="9210" y="18420"/>
                  </a:cubicBezTo>
                  <a:cubicBezTo>
                    <a:pt x="4111" y="18420"/>
                    <a:pt x="0" y="14310"/>
                    <a:pt x="0" y="9210"/>
                  </a:cubicBezTo>
                  <a:cubicBezTo>
                    <a:pt x="0" y="4110"/>
                    <a:pt x="4111"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172" name="Freeform: Shape 171"/>
            <p:cNvSpPr/>
            <p:nvPr/>
          </p:nvSpPr>
          <p:spPr>
            <a:xfrm>
              <a:off x="8260265" y="2653992"/>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4"/>
                    <a:pt x="3653" y="0"/>
                    <a:pt x="8145"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173" name="Freeform: Shape 172"/>
            <p:cNvSpPr/>
            <p:nvPr/>
          </p:nvSpPr>
          <p:spPr>
            <a:xfrm>
              <a:off x="8088549" y="2619740"/>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797" y="0"/>
                    <a:pt x="15223" y="3349"/>
                    <a:pt x="15223" y="7612"/>
                  </a:cubicBezTo>
                </a:path>
              </a:pathLst>
            </a:custGeom>
            <a:grpFill/>
            <a:ln w="7608" cap="flat">
              <a:noFill/>
              <a:prstDash val="solid"/>
              <a:miter/>
            </a:ln>
          </p:spPr>
          <p:txBody>
            <a:bodyPr rtlCol="0" anchor="ctr"/>
            <a:lstStyle/>
            <a:p>
              <a:endParaRPr lang="hi-IN"/>
            </a:p>
          </p:txBody>
        </p:sp>
        <p:sp>
          <p:nvSpPr>
            <p:cNvPr id="1174" name="Freeform: Shape 173"/>
            <p:cNvSpPr/>
            <p:nvPr/>
          </p:nvSpPr>
          <p:spPr>
            <a:xfrm>
              <a:off x="7914777" y="2603299"/>
              <a:ext cx="13092" cy="13091"/>
            </a:xfrm>
            <a:custGeom>
              <a:avLst/>
              <a:gdLst>
                <a:gd name="connsiteX0" fmla="*/ 13093 w 13092"/>
                <a:gd name="connsiteY0" fmla="*/ 6546 h 13091"/>
                <a:gd name="connsiteX1" fmla="*/ 6547 w 13092"/>
                <a:gd name="connsiteY1" fmla="*/ 13092 h 13091"/>
                <a:gd name="connsiteX2" fmla="*/ 0 w 13092"/>
                <a:gd name="connsiteY2" fmla="*/ 6546 h 13091"/>
                <a:gd name="connsiteX3" fmla="*/ 6547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7" y="13092"/>
                  </a:cubicBezTo>
                  <a:cubicBezTo>
                    <a:pt x="2892" y="13092"/>
                    <a:pt x="0" y="10199"/>
                    <a:pt x="0" y="6546"/>
                  </a:cubicBezTo>
                  <a:cubicBezTo>
                    <a:pt x="0" y="2969"/>
                    <a:pt x="2892" y="0"/>
                    <a:pt x="6547" y="0"/>
                  </a:cubicBezTo>
                  <a:cubicBezTo>
                    <a:pt x="10200" y="0"/>
                    <a:pt x="13093" y="2969"/>
                    <a:pt x="13093" y="6546"/>
                  </a:cubicBezTo>
                </a:path>
              </a:pathLst>
            </a:custGeom>
            <a:grpFill/>
            <a:ln w="7608" cap="flat">
              <a:noFill/>
              <a:prstDash val="solid"/>
              <a:miter/>
            </a:ln>
          </p:spPr>
          <p:txBody>
            <a:bodyPr rtlCol="0" anchor="ctr"/>
            <a:lstStyle/>
            <a:p>
              <a:endParaRPr lang="hi-IN"/>
            </a:p>
          </p:txBody>
        </p:sp>
        <p:sp>
          <p:nvSpPr>
            <p:cNvPr id="1175" name="Freeform: Shape 174"/>
            <p:cNvSpPr/>
            <p:nvPr/>
          </p:nvSpPr>
          <p:spPr>
            <a:xfrm>
              <a:off x="7740321" y="2604439"/>
              <a:ext cx="10808" cy="10810"/>
            </a:xfrm>
            <a:custGeom>
              <a:avLst/>
              <a:gdLst>
                <a:gd name="connsiteX0" fmla="*/ 10808 w 10808"/>
                <a:gd name="connsiteY0" fmla="*/ 5406 h 10810"/>
                <a:gd name="connsiteX1" fmla="*/ 5404 w 10808"/>
                <a:gd name="connsiteY1" fmla="*/ 10810 h 10810"/>
                <a:gd name="connsiteX2" fmla="*/ 0 w 10808"/>
                <a:gd name="connsiteY2" fmla="*/ 5406 h 10810"/>
                <a:gd name="connsiteX3" fmla="*/ 5404 w 10808"/>
                <a:gd name="connsiteY3" fmla="*/ 2 h 10810"/>
                <a:gd name="connsiteX4" fmla="*/ 10808 w 10808"/>
                <a:gd name="connsiteY4" fmla="*/ 5406 h 1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10">
                  <a:moveTo>
                    <a:pt x="10808" y="5406"/>
                  </a:moveTo>
                  <a:cubicBezTo>
                    <a:pt x="10808" y="8374"/>
                    <a:pt x="8373" y="10810"/>
                    <a:pt x="5404" y="10810"/>
                  </a:cubicBezTo>
                  <a:cubicBezTo>
                    <a:pt x="2435" y="10810"/>
                    <a:pt x="0" y="8374"/>
                    <a:pt x="0" y="5406"/>
                  </a:cubicBezTo>
                  <a:cubicBezTo>
                    <a:pt x="0" y="2437"/>
                    <a:pt x="2435" y="2"/>
                    <a:pt x="5404" y="2"/>
                  </a:cubicBezTo>
                  <a:cubicBezTo>
                    <a:pt x="8373" y="-74"/>
                    <a:pt x="10808" y="2361"/>
                    <a:pt x="10808" y="5406"/>
                  </a:cubicBezTo>
                </a:path>
              </a:pathLst>
            </a:custGeom>
            <a:grpFill/>
            <a:ln w="7608" cap="flat">
              <a:noFill/>
              <a:prstDash val="solid"/>
              <a:miter/>
            </a:ln>
          </p:spPr>
          <p:txBody>
            <a:bodyPr rtlCol="0" anchor="ctr"/>
            <a:lstStyle/>
            <a:p>
              <a:endParaRPr lang="hi-IN"/>
            </a:p>
          </p:txBody>
        </p:sp>
        <p:sp>
          <p:nvSpPr>
            <p:cNvPr id="1176" name="Freeform: Shape 175"/>
            <p:cNvSpPr/>
            <p:nvPr/>
          </p:nvSpPr>
          <p:spPr>
            <a:xfrm>
              <a:off x="7566473" y="262301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79"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177" name="Freeform: Shape 176"/>
            <p:cNvSpPr/>
            <p:nvPr/>
          </p:nvSpPr>
          <p:spPr>
            <a:xfrm>
              <a:off x="7394833" y="2658331"/>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861" y="0"/>
                    <a:pt x="7612" y="1675"/>
                    <a:pt x="7612" y="3806"/>
                  </a:cubicBezTo>
                </a:path>
              </a:pathLst>
            </a:custGeom>
            <a:grpFill/>
            <a:ln w="7608" cap="flat">
              <a:noFill/>
              <a:prstDash val="solid"/>
              <a:miter/>
            </a:ln>
          </p:spPr>
          <p:txBody>
            <a:bodyPr rtlCol="0" anchor="ctr"/>
            <a:lstStyle/>
            <a:p>
              <a:endParaRPr lang="hi-IN"/>
            </a:p>
          </p:txBody>
        </p:sp>
        <p:sp>
          <p:nvSpPr>
            <p:cNvPr id="1178" name="Freeform: Shape 177"/>
            <p:cNvSpPr/>
            <p:nvPr/>
          </p:nvSpPr>
          <p:spPr>
            <a:xfrm>
              <a:off x="7227988" y="2711155"/>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3" y="5480"/>
                    <a:pt x="2741" y="5480"/>
                  </a:cubicBezTo>
                  <a:cubicBezTo>
                    <a:pt x="1218" y="5480"/>
                    <a:pt x="0" y="4262"/>
                    <a:pt x="0" y="2740"/>
                  </a:cubicBezTo>
                  <a:cubicBezTo>
                    <a:pt x="0" y="1218"/>
                    <a:pt x="1218" y="0"/>
                    <a:pt x="2741" y="0"/>
                  </a:cubicBezTo>
                  <a:cubicBezTo>
                    <a:pt x="4263" y="76"/>
                    <a:pt x="5481" y="1294"/>
                    <a:pt x="5481" y="2740"/>
                  </a:cubicBezTo>
                </a:path>
              </a:pathLst>
            </a:custGeom>
            <a:grpFill/>
            <a:ln w="7608" cap="flat">
              <a:noFill/>
              <a:prstDash val="solid"/>
              <a:miter/>
            </a:ln>
          </p:spPr>
          <p:txBody>
            <a:bodyPr rtlCol="0" anchor="ctr"/>
            <a:lstStyle/>
            <a:p>
              <a:endParaRPr lang="hi-IN"/>
            </a:p>
          </p:txBody>
        </p:sp>
        <p:sp>
          <p:nvSpPr>
            <p:cNvPr id="1179" name="Freeform: Shape 178"/>
            <p:cNvSpPr/>
            <p:nvPr/>
          </p:nvSpPr>
          <p:spPr>
            <a:xfrm>
              <a:off x="7066547" y="2779963"/>
              <a:ext cx="4414" cy="4414"/>
            </a:xfrm>
            <a:custGeom>
              <a:avLst/>
              <a:gdLst>
                <a:gd name="connsiteX0" fmla="*/ 4415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7" y="4415"/>
                  </a:cubicBezTo>
                  <a:cubicBezTo>
                    <a:pt x="990" y="4415"/>
                    <a:pt x="0" y="3425"/>
                    <a:pt x="0" y="2207"/>
                  </a:cubicBezTo>
                  <a:cubicBezTo>
                    <a:pt x="0" y="989"/>
                    <a:pt x="990" y="0"/>
                    <a:pt x="2207"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180" name="Freeform: Shape 179"/>
            <p:cNvSpPr/>
            <p:nvPr/>
          </p:nvSpPr>
          <p:spPr>
            <a:xfrm>
              <a:off x="6913479" y="2865137"/>
              <a:ext cx="2130" cy="2131"/>
            </a:xfrm>
            <a:custGeom>
              <a:avLst/>
              <a:gdLst>
                <a:gd name="connsiteX0" fmla="*/ 2131 w 2130"/>
                <a:gd name="connsiteY0" fmla="*/ 1065 h 2131"/>
                <a:gd name="connsiteX1" fmla="*/ 1065 w 2130"/>
                <a:gd name="connsiteY1" fmla="*/ 2131 h 2131"/>
                <a:gd name="connsiteX2" fmla="*/ 0 w 2130"/>
                <a:gd name="connsiteY2" fmla="*/ 1065 h 2131"/>
                <a:gd name="connsiteX3" fmla="*/ 1065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5" y="2131"/>
                  </a:cubicBezTo>
                  <a:cubicBezTo>
                    <a:pt x="457" y="2131"/>
                    <a:pt x="0" y="1675"/>
                    <a:pt x="0" y="1065"/>
                  </a:cubicBezTo>
                  <a:cubicBezTo>
                    <a:pt x="0" y="457"/>
                    <a:pt x="457" y="0"/>
                    <a:pt x="1065" y="0"/>
                  </a:cubicBezTo>
                  <a:cubicBezTo>
                    <a:pt x="1598" y="0"/>
                    <a:pt x="2131" y="457"/>
                    <a:pt x="2131" y="1065"/>
                  </a:cubicBezTo>
                </a:path>
              </a:pathLst>
            </a:custGeom>
            <a:grpFill/>
            <a:ln w="7608" cap="flat">
              <a:noFill/>
              <a:prstDash val="solid"/>
              <a:miter/>
            </a:ln>
          </p:spPr>
          <p:txBody>
            <a:bodyPr rtlCol="0" anchor="ctr"/>
            <a:lstStyle/>
            <a:p>
              <a:endParaRPr lang="hi-IN"/>
            </a:p>
          </p:txBody>
        </p:sp>
        <p:sp>
          <p:nvSpPr>
            <p:cNvPr id="1181" name="Freeform: Shape 180"/>
            <p:cNvSpPr/>
            <p:nvPr/>
          </p:nvSpPr>
          <p:spPr>
            <a:xfrm>
              <a:off x="6768784" y="2964619"/>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8" y="1066"/>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182" name="Freeform: Shape 181"/>
            <p:cNvSpPr/>
            <p:nvPr/>
          </p:nvSpPr>
          <p:spPr>
            <a:xfrm>
              <a:off x="6634212" y="3077574"/>
              <a:ext cx="1065" cy="1065"/>
            </a:xfrm>
            <a:custGeom>
              <a:avLst/>
              <a:gdLst>
                <a:gd name="connsiteX0" fmla="*/ 1065 w 1065"/>
                <a:gd name="connsiteY0" fmla="*/ 533 h 1065"/>
                <a:gd name="connsiteX1" fmla="*/ 533 w 1065"/>
                <a:gd name="connsiteY1" fmla="*/ 1066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3" y="1066"/>
                  </a:cubicBezTo>
                  <a:cubicBezTo>
                    <a:pt x="228" y="1066"/>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183" name="Freeform: Shape 182"/>
            <p:cNvSpPr/>
            <p:nvPr/>
          </p:nvSpPr>
          <p:spPr>
            <a:xfrm>
              <a:off x="9248472" y="5722890"/>
              <a:ext cx="269220" cy="1065"/>
            </a:xfrm>
            <a:custGeom>
              <a:avLst/>
              <a:gdLst>
                <a:gd name="connsiteX0" fmla="*/ 269220 w 269220"/>
                <a:gd name="connsiteY0" fmla="*/ 533 h 1065"/>
                <a:gd name="connsiteX1" fmla="*/ 532 w 269220"/>
                <a:gd name="connsiteY1" fmla="*/ 1066 h 1065"/>
                <a:gd name="connsiteX2" fmla="*/ 0 w 269220"/>
                <a:gd name="connsiteY2" fmla="*/ 533 h 1065"/>
                <a:gd name="connsiteX3" fmla="*/ 532 w 269220"/>
                <a:gd name="connsiteY3" fmla="*/ 0 h 1065"/>
                <a:gd name="connsiteX4" fmla="*/ 1066 w 269220"/>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220" h="1065">
                  <a:moveTo>
                    <a:pt x="269220" y="533"/>
                  </a:moveTo>
                  <a:cubicBezTo>
                    <a:pt x="269220" y="837"/>
                    <a:pt x="837" y="1066"/>
                    <a:pt x="532" y="1066"/>
                  </a:cubicBezTo>
                  <a:cubicBezTo>
                    <a:pt x="228" y="1066"/>
                    <a:pt x="0" y="837"/>
                    <a:pt x="0" y="533"/>
                  </a:cubicBezTo>
                  <a:cubicBezTo>
                    <a:pt x="0" y="229"/>
                    <a:pt x="228"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84" name="Freeform: Shape 183"/>
            <p:cNvSpPr/>
            <p:nvPr/>
          </p:nvSpPr>
          <p:spPr>
            <a:xfrm>
              <a:off x="9364015" y="5590525"/>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8"/>
                    <a:pt x="837" y="1066"/>
                    <a:pt x="533" y="1066"/>
                  </a:cubicBezTo>
                  <a:cubicBezTo>
                    <a:pt x="229" y="1066"/>
                    <a:pt x="0" y="838"/>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85" name="Freeform: Shape 184"/>
            <p:cNvSpPr/>
            <p:nvPr/>
          </p:nvSpPr>
          <p:spPr>
            <a:xfrm>
              <a:off x="9466847" y="5447878"/>
              <a:ext cx="2131" cy="2138"/>
            </a:xfrm>
            <a:custGeom>
              <a:avLst/>
              <a:gdLst>
                <a:gd name="connsiteX0" fmla="*/ 2131 w 2131"/>
                <a:gd name="connsiteY0" fmla="*/ 1073 h 2138"/>
                <a:gd name="connsiteX1" fmla="*/ 1066 w 2131"/>
                <a:gd name="connsiteY1" fmla="*/ 2139 h 2138"/>
                <a:gd name="connsiteX2" fmla="*/ 0 w 2131"/>
                <a:gd name="connsiteY2" fmla="*/ 1073 h 2138"/>
                <a:gd name="connsiteX3" fmla="*/ 1066 w 2131"/>
                <a:gd name="connsiteY3" fmla="*/ 7 h 2138"/>
                <a:gd name="connsiteX4" fmla="*/ 2131 w 2131"/>
                <a:gd name="connsiteY4" fmla="*/ 1073 h 2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8">
                  <a:moveTo>
                    <a:pt x="2131" y="1073"/>
                  </a:moveTo>
                  <a:cubicBezTo>
                    <a:pt x="2131" y="1682"/>
                    <a:pt x="1674" y="2139"/>
                    <a:pt x="1066" y="2139"/>
                  </a:cubicBezTo>
                  <a:cubicBezTo>
                    <a:pt x="457" y="2139"/>
                    <a:pt x="0" y="1682"/>
                    <a:pt x="0" y="1073"/>
                  </a:cubicBezTo>
                  <a:cubicBezTo>
                    <a:pt x="0" y="464"/>
                    <a:pt x="457" y="7"/>
                    <a:pt x="1066" y="7"/>
                  </a:cubicBezTo>
                  <a:cubicBezTo>
                    <a:pt x="1598" y="-69"/>
                    <a:pt x="2131" y="464"/>
                    <a:pt x="2131" y="1073"/>
                  </a:cubicBezTo>
                </a:path>
              </a:pathLst>
            </a:custGeom>
            <a:grpFill/>
            <a:ln w="7608" cap="flat">
              <a:noFill/>
              <a:prstDash val="solid"/>
              <a:miter/>
            </a:ln>
          </p:spPr>
          <p:txBody>
            <a:bodyPr rtlCol="0" anchor="ctr"/>
            <a:lstStyle/>
            <a:p>
              <a:endParaRPr lang="hi-IN"/>
            </a:p>
          </p:txBody>
        </p:sp>
        <p:sp>
          <p:nvSpPr>
            <p:cNvPr id="1186" name="Freeform: Shape 185"/>
            <p:cNvSpPr/>
            <p:nvPr/>
          </p:nvSpPr>
          <p:spPr>
            <a:xfrm>
              <a:off x="9556435" y="5296486"/>
              <a:ext cx="3197" cy="3202"/>
            </a:xfrm>
            <a:custGeom>
              <a:avLst/>
              <a:gdLst>
                <a:gd name="connsiteX0" fmla="*/ 3197 w 3197"/>
                <a:gd name="connsiteY0" fmla="*/ 1604 h 3202"/>
                <a:gd name="connsiteX1" fmla="*/ 1598 w 3197"/>
                <a:gd name="connsiteY1" fmla="*/ 3202 h 3202"/>
                <a:gd name="connsiteX2" fmla="*/ 0 w 3197"/>
                <a:gd name="connsiteY2" fmla="*/ 1604 h 3202"/>
                <a:gd name="connsiteX3" fmla="*/ 1598 w 3197"/>
                <a:gd name="connsiteY3" fmla="*/ 5 h 3202"/>
                <a:gd name="connsiteX4" fmla="*/ 3197 w 3197"/>
                <a:gd name="connsiteY4" fmla="*/ 1604 h 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02">
                  <a:moveTo>
                    <a:pt x="3197" y="1604"/>
                  </a:moveTo>
                  <a:cubicBezTo>
                    <a:pt x="3197" y="2517"/>
                    <a:pt x="2435" y="3202"/>
                    <a:pt x="1598" y="3202"/>
                  </a:cubicBezTo>
                  <a:cubicBezTo>
                    <a:pt x="685" y="3202"/>
                    <a:pt x="0" y="2441"/>
                    <a:pt x="0" y="1604"/>
                  </a:cubicBezTo>
                  <a:cubicBezTo>
                    <a:pt x="0" y="690"/>
                    <a:pt x="761" y="5"/>
                    <a:pt x="1598" y="5"/>
                  </a:cubicBezTo>
                  <a:cubicBezTo>
                    <a:pt x="2435" y="-71"/>
                    <a:pt x="3197" y="690"/>
                    <a:pt x="3197" y="1604"/>
                  </a:cubicBezTo>
                </a:path>
              </a:pathLst>
            </a:custGeom>
            <a:grpFill/>
            <a:ln w="7608" cap="flat">
              <a:noFill/>
              <a:prstDash val="solid"/>
              <a:miter/>
            </a:ln>
          </p:spPr>
          <p:txBody>
            <a:bodyPr rtlCol="0" anchor="ctr"/>
            <a:lstStyle/>
            <a:p>
              <a:endParaRPr lang="hi-IN"/>
            </a:p>
          </p:txBody>
        </p:sp>
        <p:sp>
          <p:nvSpPr>
            <p:cNvPr id="1187" name="Freeform: Shape 186"/>
            <p:cNvSpPr/>
            <p:nvPr/>
          </p:nvSpPr>
          <p:spPr>
            <a:xfrm>
              <a:off x="9631485" y="5137030"/>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3" y="5480"/>
                    <a:pt x="2740" y="5480"/>
                  </a:cubicBezTo>
                  <a:cubicBezTo>
                    <a:pt x="1218" y="5480"/>
                    <a:pt x="0" y="4262"/>
                    <a:pt x="0" y="2740"/>
                  </a:cubicBezTo>
                  <a:cubicBezTo>
                    <a:pt x="0" y="1218"/>
                    <a:pt x="1218" y="0"/>
                    <a:pt x="2740" y="0"/>
                  </a:cubicBezTo>
                  <a:cubicBezTo>
                    <a:pt x="4263" y="0"/>
                    <a:pt x="5480" y="1218"/>
                    <a:pt x="5480" y="2740"/>
                  </a:cubicBezTo>
                </a:path>
              </a:pathLst>
            </a:custGeom>
            <a:grpFill/>
            <a:ln w="7608" cap="flat">
              <a:noFill/>
              <a:prstDash val="solid"/>
              <a:miter/>
            </a:ln>
          </p:spPr>
          <p:txBody>
            <a:bodyPr rtlCol="0" anchor="ctr"/>
            <a:lstStyle/>
            <a:p>
              <a:endParaRPr lang="hi-IN"/>
            </a:p>
          </p:txBody>
        </p:sp>
        <p:sp>
          <p:nvSpPr>
            <p:cNvPr id="1188" name="Freeform: Shape 187"/>
            <p:cNvSpPr/>
            <p:nvPr/>
          </p:nvSpPr>
          <p:spPr>
            <a:xfrm>
              <a:off x="9692149" y="4971403"/>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4"/>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189" name="Freeform: Shape 188"/>
            <p:cNvSpPr/>
            <p:nvPr/>
          </p:nvSpPr>
          <p:spPr>
            <a:xfrm>
              <a:off x="9738351" y="4801513"/>
              <a:ext cx="8677" cy="8677"/>
            </a:xfrm>
            <a:custGeom>
              <a:avLst/>
              <a:gdLst>
                <a:gd name="connsiteX0" fmla="*/ 8677 w 8677"/>
                <a:gd name="connsiteY0" fmla="*/ 4339 h 8677"/>
                <a:gd name="connsiteX1" fmla="*/ 4338 w 8677"/>
                <a:gd name="connsiteY1" fmla="*/ 8677 h 8677"/>
                <a:gd name="connsiteX2" fmla="*/ 0 w 8677"/>
                <a:gd name="connsiteY2" fmla="*/ 4339 h 8677"/>
                <a:gd name="connsiteX3" fmla="*/ 4338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8" y="8677"/>
                  </a:cubicBezTo>
                  <a:cubicBezTo>
                    <a:pt x="1903" y="8677"/>
                    <a:pt x="0" y="6698"/>
                    <a:pt x="0" y="4339"/>
                  </a:cubicBezTo>
                  <a:cubicBezTo>
                    <a:pt x="0" y="1979"/>
                    <a:pt x="1903" y="0"/>
                    <a:pt x="4338" y="0"/>
                  </a:cubicBezTo>
                  <a:cubicBezTo>
                    <a:pt x="6774" y="0"/>
                    <a:pt x="8677" y="1979"/>
                    <a:pt x="8677" y="4339"/>
                  </a:cubicBezTo>
                </a:path>
              </a:pathLst>
            </a:custGeom>
            <a:grpFill/>
            <a:ln w="7608" cap="flat">
              <a:noFill/>
              <a:prstDash val="solid"/>
              <a:miter/>
            </a:ln>
          </p:spPr>
          <p:txBody>
            <a:bodyPr rtlCol="0" anchor="ctr"/>
            <a:lstStyle/>
            <a:p>
              <a:endParaRPr lang="hi-IN"/>
            </a:p>
          </p:txBody>
        </p:sp>
        <p:sp>
          <p:nvSpPr>
            <p:cNvPr id="1190" name="Freeform: Shape 189"/>
            <p:cNvSpPr/>
            <p:nvPr/>
          </p:nvSpPr>
          <p:spPr>
            <a:xfrm>
              <a:off x="9768721" y="4627589"/>
              <a:ext cx="10807" cy="10808"/>
            </a:xfrm>
            <a:custGeom>
              <a:avLst/>
              <a:gdLst>
                <a:gd name="connsiteX0" fmla="*/ 10808 w 10807"/>
                <a:gd name="connsiteY0" fmla="*/ 5404 h 10808"/>
                <a:gd name="connsiteX1" fmla="*/ 5404 w 10807"/>
                <a:gd name="connsiteY1" fmla="*/ 10809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9"/>
                    <a:pt x="5404" y="10809"/>
                  </a:cubicBezTo>
                  <a:cubicBezTo>
                    <a:pt x="2435" y="10809"/>
                    <a:pt x="0" y="8373"/>
                    <a:pt x="0" y="5404"/>
                  </a:cubicBezTo>
                  <a:cubicBezTo>
                    <a:pt x="0" y="2436"/>
                    <a:pt x="2435" y="0"/>
                    <a:pt x="5404" y="0"/>
                  </a:cubicBezTo>
                  <a:cubicBezTo>
                    <a:pt x="8373" y="0"/>
                    <a:pt x="10808" y="2360"/>
                    <a:pt x="10808" y="5404"/>
                  </a:cubicBezTo>
                </a:path>
              </a:pathLst>
            </a:custGeom>
            <a:grpFill/>
            <a:ln w="7608" cap="flat">
              <a:noFill/>
              <a:prstDash val="solid"/>
              <a:miter/>
            </a:ln>
          </p:spPr>
          <p:txBody>
            <a:bodyPr rtlCol="0" anchor="ctr"/>
            <a:lstStyle/>
            <a:p>
              <a:endParaRPr lang="hi-IN"/>
            </a:p>
          </p:txBody>
        </p:sp>
        <p:sp>
          <p:nvSpPr>
            <p:cNvPr id="1191" name="Freeform: Shape 190"/>
            <p:cNvSpPr/>
            <p:nvPr/>
          </p:nvSpPr>
          <p:spPr>
            <a:xfrm>
              <a:off x="9783259" y="4451382"/>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199"/>
                    <a:pt x="0" y="6546"/>
                  </a:cubicBezTo>
                  <a:cubicBezTo>
                    <a:pt x="0" y="2969"/>
                    <a:pt x="2892" y="0"/>
                    <a:pt x="6546" y="0"/>
                  </a:cubicBezTo>
                  <a:cubicBezTo>
                    <a:pt x="10199" y="76"/>
                    <a:pt x="13092" y="2969"/>
                    <a:pt x="13092" y="6546"/>
                  </a:cubicBezTo>
                </a:path>
              </a:pathLst>
            </a:custGeom>
            <a:grpFill/>
            <a:ln w="7608" cap="flat">
              <a:noFill/>
              <a:prstDash val="solid"/>
              <a:miter/>
            </a:ln>
          </p:spPr>
          <p:txBody>
            <a:bodyPr rtlCol="0" anchor="ctr"/>
            <a:lstStyle/>
            <a:p>
              <a:endParaRPr lang="hi-IN"/>
            </a:p>
          </p:txBody>
        </p:sp>
        <p:sp>
          <p:nvSpPr>
            <p:cNvPr id="1192" name="Freeform: Shape 191"/>
            <p:cNvSpPr/>
            <p:nvPr/>
          </p:nvSpPr>
          <p:spPr>
            <a:xfrm>
              <a:off x="9782194" y="4274642"/>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193" name="Freeform: Shape 192"/>
            <p:cNvSpPr/>
            <p:nvPr/>
          </p:nvSpPr>
          <p:spPr>
            <a:xfrm>
              <a:off x="9765448" y="4098586"/>
              <a:ext cx="17354" cy="17355"/>
            </a:xfrm>
            <a:custGeom>
              <a:avLst/>
              <a:gdLst>
                <a:gd name="connsiteX0" fmla="*/ 17355 w 17354"/>
                <a:gd name="connsiteY0" fmla="*/ 8678 h 17355"/>
                <a:gd name="connsiteX1" fmla="*/ 8677 w 17354"/>
                <a:gd name="connsiteY1" fmla="*/ 17356 h 17355"/>
                <a:gd name="connsiteX2" fmla="*/ 0 w 17354"/>
                <a:gd name="connsiteY2" fmla="*/ 8678 h 17355"/>
                <a:gd name="connsiteX3" fmla="*/ 8677 w 17354"/>
                <a:gd name="connsiteY3" fmla="*/ 1 h 17355"/>
                <a:gd name="connsiteX4" fmla="*/ 17355 w 17354"/>
                <a:gd name="connsiteY4" fmla="*/ 8678 h 17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5">
                  <a:moveTo>
                    <a:pt x="17355" y="8678"/>
                  </a:moveTo>
                  <a:cubicBezTo>
                    <a:pt x="17355" y="13474"/>
                    <a:pt x="13473" y="17356"/>
                    <a:pt x="8677" y="17356"/>
                  </a:cubicBezTo>
                  <a:cubicBezTo>
                    <a:pt x="3882" y="17356"/>
                    <a:pt x="0" y="13474"/>
                    <a:pt x="0" y="8678"/>
                  </a:cubicBezTo>
                  <a:cubicBezTo>
                    <a:pt x="0" y="3883"/>
                    <a:pt x="3882" y="1"/>
                    <a:pt x="8677" y="1"/>
                  </a:cubicBezTo>
                  <a:cubicBezTo>
                    <a:pt x="13473" y="-75"/>
                    <a:pt x="17355" y="3883"/>
                    <a:pt x="17355" y="8678"/>
                  </a:cubicBezTo>
                </a:path>
              </a:pathLst>
            </a:custGeom>
            <a:grpFill/>
            <a:ln w="7608" cap="flat">
              <a:noFill/>
              <a:prstDash val="solid"/>
              <a:miter/>
            </a:ln>
          </p:spPr>
          <p:txBody>
            <a:bodyPr rtlCol="0" anchor="ctr"/>
            <a:lstStyle/>
            <a:p>
              <a:endParaRPr lang="hi-IN"/>
            </a:p>
          </p:txBody>
        </p:sp>
        <p:sp>
          <p:nvSpPr>
            <p:cNvPr id="1194" name="Freeform: Shape 193"/>
            <p:cNvSpPr/>
            <p:nvPr/>
          </p:nvSpPr>
          <p:spPr>
            <a:xfrm>
              <a:off x="9733023" y="3924587"/>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2" y="19486"/>
                    <a:pt x="9743" y="19486"/>
                  </a:cubicBezTo>
                  <a:cubicBezTo>
                    <a:pt x="4339" y="19486"/>
                    <a:pt x="0" y="15071"/>
                    <a:pt x="0" y="9743"/>
                  </a:cubicBezTo>
                  <a:cubicBezTo>
                    <a:pt x="0" y="4415"/>
                    <a:pt x="4415" y="0"/>
                    <a:pt x="9743" y="0"/>
                  </a:cubicBezTo>
                  <a:cubicBezTo>
                    <a:pt x="15072" y="0"/>
                    <a:pt x="19486" y="4339"/>
                    <a:pt x="19486" y="9743"/>
                  </a:cubicBezTo>
                </a:path>
              </a:pathLst>
            </a:custGeom>
            <a:grpFill/>
            <a:ln w="7608" cap="flat">
              <a:noFill/>
              <a:prstDash val="solid"/>
              <a:miter/>
            </a:ln>
          </p:spPr>
          <p:txBody>
            <a:bodyPr rtlCol="0" anchor="ctr"/>
            <a:lstStyle/>
            <a:p>
              <a:endParaRPr lang="hi-IN"/>
            </a:p>
          </p:txBody>
        </p:sp>
        <p:sp>
          <p:nvSpPr>
            <p:cNvPr id="1195" name="Freeform: Shape 194"/>
            <p:cNvSpPr/>
            <p:nvPr/>
          </p:nvSpPr>
          <p:spPr>
            <a:xfrm>
              <a:off x="9685070" y="3754088"/>
              <a:ext cx="21768" cy="21769"/>
            </a:xfrm>
            <a:custGeom>
              <a:avLst/>
              <a:gdLst>
                <a:gd name="connsiteX0" fmla="*/ 21769 w 21768"/>
                <a:gd name="connsiteY0" fmla="*/ 10885 h 21769"/>
                <a:gd name="connsiteX1" fmla="*/ 10884 w 21768"/>
                <a:gd name="connsiteY1" fmla="*/ 21769 h 21769"/>
                <a:gd name="connsiteX2" fmla="*/ 0 w 21768"/>
                <a:gd name="connsiteY2" fmla="*/ 10885 h 21769"/>
                <a:gd name="connsiteX3" fmla="*/ 10884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4" y="21769"/>
                  </a:cubicBezTo>
                  <a:cubicBezTo>
                    <a:pt x="4871" y="21769"/>
                    <a:pt x="0" y="16898"/>
                    <a:pt x="0" y="10885"/>
                  </a:cubicBezTo>
                  <a:cubicBezTo>
                    <a:pt x="0" y="4871"/>
                    <a:pt x="4871" y="0"/>
                    <a:pt x="10884"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196" name="Freeform: Shape 195"/>
            <p:cNvSpPr/>
            <p:nvPr/>
          </p:nvSpPr>
          <p:spPr>
            <a:xfrm>
              <a:off x="9622808" y="3588994"/>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76"/>
                    <a:pt x="22835" y="5176"/>
                    <a:pt x="22835" y="11417"/>
                  </a:cubicBezTo>
                </a:path>
              </a:pathLst>
            </a:custGeom>
            <a:grpFill/>
            <a:ln w="7608" cap="flat">
              <a:noFill/>
              <a:prstDash val="solid"/>
              <a:miter/>
            </a:ln>
          </p:spPr>
          <p:txBody>
            <a:bodyPr rtlCol="0" anchor="ctr"/>
            <a:lstStyle/>
            <a:p>
              <a:endParaRPr lang="hi-IN"/>
            </a:p>
          </p:txBody>
        </p:sp>
        <p:sp>
          <p:nvSpPr>
            <p:cNvPr id="1197" name="Freeform: Shape 196"/>
            <p:cNvSpPr/>
            <p:nvPr/>
          </p:nvSpPr>
          <p:spPr>
            <a:xfrm>
              <a:off x="9546007" y="3430141"/>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404"/>
                    <a:pt x="23900" y="11950"/>
                  </a:cubicBezTo>
                </a:path>
              </a:pathLst>
            </a:custGeom>
            <a:grpFill/>
            <a:ln w="7608" cap="flat">
              <a:noFill/>
              <a:prstDash val="solid"/>
              <a:miter/>
            </a:ln>
          </p:spPr>
          <p:txBody>
            <a:bodyPr rtlCol="0" anchor="ctr"/>
            <a:lstStyle/>
            <a:p>
              <a:endParaRPr lang="hi-IN"/>
            </a:p>
          </p:txBody>
        </p:sp>
        <p:sp>
          <p:nvSpPr>
            <p:cNvPr id="1198" name="Freeform: Shape 197"/>
            <p:cNvSpPr/>
            <p:nvPr/>
          </p:nvSpPr>
          <p:spPr>
            <a:xfrm>
              <a:off x="9455354" y="3278824"/>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10"/>
                    <a:pt x="19410" y="24966"/>
                    <a:pt x="12483" y="24966"/>
                  </a:cubicBezTo>
                  <a:cubicBezTo>
                    <a:pt x="5556" y="24966"/>
                    <a:pt x="0" y="19333"/>
                    <a:pt x="0" y="12483"/>
                  </a:cubicBezTo>
                  <a:cubicBezTo>
                    <a:pt x="0" y="5557"/>
                    <a:pt x="5556" y="0"/>
                    <a:pt x="12483" y="0"/>
                  </a:cubicBezTo>
                  <a:cubicBezTo>
                    <a:pt x="19410" y="0"/>
                    <a:pt x="24966" y="5557"/>
                    <a:pt x="24966" y="12483"/>
                  </a:cubicBezTo>
                </a:path>
              </a:pathLst>
            </a:custGeom>
            <a:grpFill/>
            <a:ln w="7608" cap="flat">
              <a:noFill/>
              <a:prstDash val="solid"/>
              <a:miter/>
            </a:ln>
          </p:spPr>
          <p:txBody>
            <a:bodyPr rtlCol="0" anchor="ctr"/>
            <a:lstStyle/>
            <a:p>
              <a:endParaRPr lang="hi-IN"/>
            </a:p>
          </p:txBody>
        </p:sp>
        <p:sp>
          <p:nvSpPr>
            <p:cNvPr id="1199" name="Freeform: Shape 198"/>
            <p:cNvSpPr/>
            <p:nvPr/>
          </p:nvSpPr>
          <p:spPr>
            <a:xfrm>
              <a:off x="9351608" y="3136107"/>
              <a:ext cx="26031" cy="26031"/>
            </a:xfrm>
            <a:custGeom>
              <a:avLst/>
              <a:gdLst>
                <a:gd name="connsiteX0" fmla="*/ 26032 w 26031"/>
                <a:gd name="connsiteY0" fmla="*/ 13016 h 26031"/>
                <a:gd name="connsiteX1" fmla="*/ 13016 w 26031"/>
                <a:gd name="connsiteY1" fmla="*/ 26032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171"/>
                    <a:pt x="20171" y="26032"/>
                    <a:pt x="13016" y="26032"/>
                  </a:cubicBezTo>
                  <a:cubicBezTo>
                    <a:pt x="5861" y="26032"/>
                    <a:pt x="0" y="20171"/>
                    <a:pt x="0" y="13016"/>
                  </a:cubicBezTo>
                  <a:cubicBezTo>
                    <a:pt x="0" y="5785"/>
                    <a:pt x="5861" y="0"/>
                    <a:pt x="13016" y="0"/>
                  </a:cubicBezTo>
                  <a:cubicBezTo>
                    <a:pt x="20171" y="0"/>
                    <a:pt x="26032" y="5785"/>
                    <a:pt x="26032" y="13016"/>
                  </a:cubicBezTo>
                </a:path>
              </a:pathLst>
            </a:custGeom>
            <a:grpFill/>
            <a:ln w="7608" cap="flat">
              <a:noFill/>
              <a:prstDash val="solid"/>
              <a:miter/>
            </a:ln>
          </p:spPr>
          <p:txBody>
            <a:bodyPr rtlCol="0" anchor="ctr"/>
            <a:lstStyle/>
            <a:p>
              <a:endParaRPr lang="hi-IN"/>
            </a:p>
          </p:txBody>
        </p:sp>
        <p:sp>
          <p:nvSpPr>
            <p:cNvPr id="1200" name="Freeform: Shape 199"/>
            <p:cNvSpPr/>
            <p:nvPr/>
          </p:nvSpPr>
          <p:spPr>
            <a:xfrm>
              <a:off x="9235989" y="3003743"/>
              <a:ext cx="26030" cy="26031"/>
            </a:xfrm>
            <a:custGeom>
              <a:avLst/>
              <a:gdLst>
                <a:gd name="connsiteX0" fmla="*/ 26031 w 26030"/>
                <a:gd name="connsiteY0" fmla="*/ 13016 h 26031"/>
                <a:gd name="connsiteX1" fmla="*/ 13015 w 26030"/>
                <a:gd name="connsiteY1" fmla="*/ 26031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247"/>
                    <a:pt x="20171" y="26031"/>
                    <a:pt x="13015" y="26031"/>
                  </a:cubicBezTo>
                  <a:cubicBezTo>
                    <a:pt x="5785" y="26031"/>
                    <a:pt x="0" y="20171"/>
                    <a:pt x="0" y="13016"/>
                  </a:cubicBezTo>
                  <a:cubicBezTo>
                    <a:pt x="0" y="5861"/>
                    <a:pt x="5861" y="0"/>
                    <a:pt x="13015" y="0"/>
                  </a:cubicBezTo>
                  <a:cubicBezTo>
                    <a:pt x="20171" y="0"/>
                    <a:pt x="26031" y="5861"/>
                    <a:pt x="26031" y="13016"/>
                  </a:cubicBezTo>
                </a:path>
              </a:pathLst>
            </a:custGeom>
            <a:grpFill/>
            <a:ln w="7608" cap="flat">
              <a:noFill/>
              <a:prstDash val="solid"/>
              <a:miter/>
            </a:ln>
          </p:spPr>
          <p:txBody>
            <a:bodyPr rtlCol="0" anchor="ctr"/>
            <a:lstStyle/>
            <a:p>
              <a:endParaRPr lang="hi-IN"/>
            </a:p>
          </p:txBody>
        </p:sp>
        <p:sp>
          <p:nvSpPr>
            <p:cNvPr id="1201" name="Freeform: Shape 200"/>
            <p:cNvSpPr/>
            <p:nvPr/>
          </p:nvSpPr>
          <p:spPr>
            <a:xfrm>
              <a:off x="9108952" y="2882338"/>
              <a:ext cx="26031" cy="26031"/>
            </a:xfrm>
            <a:custGeom>
              <a:avLst/>
              <a:gdLst>
                <a:gd name="connsiteX0" fmla="*/ 26032 w 26031"/>
                <a:gd name="connsiteY0" fmla="*/ 13016 h 26031"/>
                <a:gd name="connsiteX1" fmla="*/ 13016 w 26031"/>
                <a:gd name="connsiteY1" fmla="*/ 26032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171"/>
                    <a:pt x="20171" y="26032"/>
                    <a:pt x="13016" y="26032"/>
                  </a:cubicBezTo>
                  <a:cubicBezTo>
                    <a:pt x="5785" y="26032"/>
                    <a:pt x="0" y="20171"/>
                    <a:pt x="0" y="13016"/>
                  </a:cubicBezTo>
                  <a:cubicBezTo>
                    <a:pt x="0" y="5785"/>
                    <a:pt x="5861" y="0"/>
                    <a:pt x="13016" y="0"/>
                  </a:cubicBezTo>
                  <a:cubicBezTo>
                    <a:pt x="20171" y="0"/>
                    <a:pt x="26032" y="5861"/>
                    <a:pt x="26032" y="13016"/>
                  </a:cubicBezTo>
                </a:path>
              </a:pathLst>
            </a:custGeom>
            <a:grpFill/>
            <a:ln w="7608" cap="flat">
              <a:noFill/>
              <a:prstDash val="solid"/>
              <a:miter/>
            </a:ln>
          </p:spPr>
          <p:txBody>
            <a:bodyPr rtlCol="0" anchor="ctr"/>
            <a:lstStyle/>
            <a:p>
              <a:endParaRPr lang="hi-IN"/>
            </a:p>
          </p:txBody>
        </p:sp>
        <p:sp>
          <p:nvSpPr>
            <p:cNvPr id="1202" name="Freeform: Shape 201"/>
            <p:cNvSpPr/>
            <p:nvPr/>
          </p:nvSpPr>
          <p:spPr>
            <a:xfrm>
              <a:off x="8971564" y="2772808"/>
              <a:ext cx="26030" cy="26031"/>
            </a:xfrm>
            <a:custGeom>
              <a:avLst/>
              <a:gdLst>
                <a:gd name="connsiteX0" fmla="*/ 26031 w 26030"/>
                <a:gd name="connsiteY0" fmla="*/ 13016 h 26031"/>
                <a:gd name="connsiteX1" fmla="*/ 13015 w 26030"/>
                <a:gd name="connsiteY1" fmla="*/ 26031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171"/>
                    <a:pt x="20170" y="26031"/>
                    <a:pt x="13015" y="26031"/>
                  </a:cubicBezTo>
                  <a:cubicBezTo>
                    <a:pt x="5861" y="26031"/>
                    <a:pt x="0" y="20171"/>
                    <a:pt x="0" y="13016"/>
                  </a:cubicBezTo>
                  <a:cubicBezTo>
                    <a:pt x="0" y="5785"/>
                    <a:pt x="5861" y="0"/>
                    <a:pt x="13015" y="0"/>
                  </a:cubicBezTo>
                  <a:cubicBezTo>
                    <a:pt x="20170" y="0"/>
                    <a:pt x="26031" y="5785"/>
                    <a:pt x="26031" y="13016"/>
                  </a:cubicBezTo>
                </a:path>
              </a:pathLst>
            </a:custGeom>
            <a:grpFill/>
            <a:ln w="7608" cap="flat">
              <a:noFill/>
              <a:prstDash val="solid"/>
              <a:miter/>
            </a:ln>
          </p:spPr>
          <p:txBody>
            <a:bodyPr rtlCol="0" anchor="ctr"/>
            <a:lstStyle/>
            <a:p>
              <a:endParaRPr lang="hi-IN"/>
            </a:p>
          </p:txBody>
        </p:sp>
        <p:sp>
          <p:nvSpPr>
            <p:cNvPr id="1203" name="Freeform: Shape 202"/>
            <p:cNvSpPr/>
            <p:nvPr/>
          </p:nvSpPr>
          <p:spPr>
            <a:xfrm>
              <a:off x="8825422" y="2676522"/>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09"/>
                    <a:pt x="19334" y="24966"/>
                    <a:pt x="12483" y="24966"/>
                  </a:cubicBezTo>
                  <a:cubicBezTo>
                    <a:pt x="5632" y="24966"/>
                    <a:pt x="0" y="19409"/>
                    <a:pt x="0" y="12483"/>
                  </a:cubicBezTo>
                  <a:cubicBezTo>
                    <a:pt x="0" y="5556"/>
                    <a:pt x="5632" y="0"/>
                    <a:pt x="12483" y="0"/>
                  </a:cubicBezTo>
                  <a:cubicBezTo>
                    <a:pt x="19334" y="0"/>
                    <a:pt x="24966" y="5556"/>
                    <a:pt x="24966" y="12483"/>
                  </a:cubicBezTo>
                </a:path>
              </a:pathLst>
            </a:custGeom>
            <a:grpFill/>
            <a:ln w="7608" cap="flat">
              <a:noFill/>
              <a:prstDash val="solid"/>
              <a:miter/>
            </a:ln>
          </p:spPr>
          <p:txBody>
            <a:bodyPr rtlCol="0" anchor="ctr"/>
            <a:lstStyle/>
            <a:p>
              <a:endParaRPr lang="hi-IN"/>
            </a:p>
          </p:txBody>
        </p:sp>
        <p:sp>
          <p:nvSpPr>
            <p:cNvPr id="1204" name="Freeform: Shape 203"/>
            <p:cNvSpPr/>
            <p:nvPr/>
          </p:nvSpPr>
          <p:spPr>
            <a:xfrm>
              <a:off x="8671212" y="2593785"/>
              <a:ext cx="23900" cy="23900"/>
            </a:xfrm>
            <a:custGeom>
              <a:avLst/>
              <a:gdLst>
                <a:gd name="connsiteX0" fmla="*/ 23900 w 23900"/>
                <a:gd name="connsiteY0" fmla="*/ 11950 h 23900"/>
                <a:gd name="connsiteX1" fmla="*/ 11951 w 23900"/>
                <a:gd name="connsiteY1" fmla="*/ 23900 h 23900"/>
                <a:gd name="connsiteX2" fmla="*/ 0 w 23900"/>
                <a:gd name="connsiteY2" fmla="*/ 11950 h 23900"/>
                <a:gd name="connsiteX3" fmla="*/ 11951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3" y="23900"/>
                    <a:pt x="11951" y="23900"/>
                  </a:cubicBezTo>
                  <a:cubicBezTo>
                    <a:pt x="5329" y="23900"/>
                    <a:pt x="0" y="18572"/>
                    <a:pt x="0" y="11950"/>
                  </a:cubicBezTo>
                  <a:cubicBezTo>
                    <a:pt x="0" y="5328"/>
                    <a:pt x="5329" y="0"/>
                    <a:pt x="11951" y="0"/>
                  </a:cubicBezTo>
                  <a:cubicBezTo>
                    <a:pt x="18573" y="0"/>
                    <a:pt x="23900" y="5328"/>
                    <a:pt x="23900" y="11950"/>
                  </a:cubicBezTo>
                </a:path>
              </a:pathLst>
            </a:custGeom>
            <a:grpFill/>
            <a:ln w="7608" cap="flat">
              <a:noFill/>
              <a:prstDash val="solid"/>
              <a:miter/>
            </a:ln>
          </p:spPr>
          <p:txBody>
            <a:bodyPr rtlCol="0" anchor="ctr"/>
            <a:lstStyle/>
            <a:p>
              <a:endParaRPr lang="hi-IN"/>
            </a:p>
          </p:txBody>
        </p:sp>
        <p:sp>
          <p:nvSpPr>
            <p:cNvPr id="1205" name="Freeform: Shape 204"/>
            <p:cNvSpPr/>
            <p:nvPr/>
          </p:nvSpPr>
          <p:spPr>
            <a:xfrm>
              <a:off x="8510685" y="2525814"/>
              <a:ext cx="21768" cy="21769"/>
            </a:xfrm>
            <a:custGeom>
              <a:avLst/>
              <a:gdLst>
                <a:gd name="connsiteX0" fmla="*/ 21769 w 21768"/>
                <a:gd name="connsiteY0" fmla="*/ 10884 h 21769"/>
                <a:gd name="connsiteX1" fmla="*/ 10885 w 21768"/>
                <a:gd name="connsiteY1" fmla="*/ 21769 h 21769"/>
                <a:gd name="connsiteX2" fmla="*/ 0 w 21768"/>
                <a:gd name="connsiteY2" fmla="*/ 10884 h 21769"/>
                <a:gd name="connsiteX3" fmla="*/ 10885 w 21768"/>
                <a:gd name="connsiteY3" fmla="*/ 0 h 21769"/>
                <a:gd name="connsiteX4" fmla="*/ 21769 w 21768"/>
                <a:gd name="connsiteY4" fmla="*/ 10884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4"/>
                  </a:moveTo>
                  <a:cubicBezTo>
                    <a:pt x="21769" y="16898"/>
                    <a:pt x="16897" y="21769"/>
                    <a:pt x="10885" y="21769"/>
                  </a:cubicBezTo>
                  <a:cubicBezTo>
                    <a:pt x="4871" y="21769"/>
                    <a:pt x="0" y="16898"/>
                    <a:pt x="0" y="10884"/>
                  </a:cubicBezTo>
                  <a:cubicBezTo>
                    <a:pt x="0" y="4871"/>
                    <a:pt x="4871" y="0"/>
                    <a:pt x="10885"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206" name="Freeform: Shape 205"/>
            <p:cNvSpPr/>
            <p:nvPr/>
          </p:nvSpPr>
          <p:spPr>
            <a:xfrm>
              <a:off x="8344145" y="2472076"/>
              <a:ext cx="20703" cy="20627"/>
            </a:xfrm>
            <a:custGeom>
              <a:avLst/>
              <a:gdLst>
                <a:gd name="connsiteX0" fmla="*/ 20703 w 20703"/>
                <a:gd name="connsiteY0" fmla="*/ 10276 h 20627"/>
                <a:gd name="connsiteX1" fmla="*/ 10352 w 20703"/>
                <a:gd name="connsiteY1" fmla="*/ 20627 h 20627"/>
                <a:gd name="connsiteX2" fmla="*/ 0 w 20703"/>
                <a:gd name="connsiteY2" fmla="*/ 10276 h 20627"/>
                <a:gd name="connsiteX3" fmla="*/ 10352 w 20703"/>
                <a:gd name="connsiteY3" fmla="*/ 0 h 20627"/>
                <a:gd name="connsiteX4" fmla="*/ 20703 w 20703"/>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627">
                  <a:moveTo>
                    <a:pt x="20703" y="10276"/>
                  </a:moveTo>
                  <a:cubicBezTo>
                    <a:pt x="20703" y="15984"/>
                    <a:pt x="16060" y="20627"/>
                    <a:pt x="10352" y="20627"/>
                  </a:cubicBezTo>
                  <a:cubicBezTo>
                    <a:pt x="4643" y="20627"/>
                    <a:pt x="0" y="15984"/>
                    <a:pt x="0" y="10276"/>
                  </a:cubicBezTo>
                  <a:cubicBezTo>
                    <a:pt x="0" y="4567"/>
                    <a:pt x="4643" y="0"/>
                    <a:pt x="10352" y="0"/>
                  </a:cubicBezTo>
                  <a:cubicBezTo>
                    <a:pt x="16060" y="0"/>
                    <a:pt x="20703" y="4643"/>
                    <a:pt x="20703" y="10276"/>
                  </a:cubicBezTo>
                </a:path>
              </a:pathLst>
            </a:custGeom>
            <a:grpFill/>
            <a:ln w="7608" cap="flat">
              <a:noFill/>
              <a:prstDash val="solid"/>
              <a:miter/>
            </a:ln>
          </p:spPr>
          <p:txBody>
            <a:bodyPr rtlCol="0" anchor="ctr"/>
            <a:lstStyle/>
            <a:p>
              <a:endParaRPr lang="hi-IN"/>
            </a:p>
          </p:txBody>
        </p:sp>
        <p:sp>
          <p:nvSpPr>
            <p:cNvPr id="1207" name="Freeform: Shape 206"/>
            <p:cNvSpPr/>
            <p:nvPr/>
          </p:nvSpPr>
          <p:spPr>
            <a:xfrm>
              <a:off x="8174027" y="2434095"/>
              <a:ext cx="18420" cy="18419"/>
            </a:xfrm>
            <a:custGeom>
              <a:avLst/>
              <a:gdLst>
                <a:gd name="connsiteX0" fmla="*/ 18420 w 18420"/>
                <a:gd name="connsiteY0" fmla="*/ 9210 h 18419"/>
                <a:gd name="connsiteX1" fmla="*/ 9210 w 18420"/>
                <a:gd name="connsiteY1" fmla="*/ 18420 h 18419"/>
                <a:gd name="connsiteX2" fmla="*/ 0 w 18420"/>
                <a:gd name="connsiteY2" fmla="*/ 9210 h 18419"/>
                <a:gd name="connsiteX3" fmla="*/ 9210 w 18420"/>
                <a:gd name="connsiteY3" fmla="*/ 0 h 18419"/>
                <a:gd name="connsiteX4" fmla="*/ 18420 w 18420"/>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19">
                  <a:moveTo>
                    <a:pt x="18420" y="9210"/>
                  </a:moveTo>
                  <a:cubicBezTo>
                    <a:pt x="18420" y="14310"/>
                    <a:pt x="14310" y="18420"/>
                    <a:pt x="9210" y="18420"/>
                  </a:cubicBezTo>
                  <a:cubicBezTo>
                    <a:pt x="4111" y="18420"/>
                    <a:pt x="0" y="14310"/>
                    <a:pt x="0" y="9210"/>
                  </a:cubicBezTo>
                  <a:cubicBezTo>
                    <a:pt x="0" y="4110"/>
                    <a:pt x="4111"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208" name="Freeform: Shape 207"/>
            <p:cNvSpPr/>
            <p:nvPr/>
          </p:nvSpPr>
          <p:spPr>
            <a:xfrm>
              <a:off x="8000940" y="2411564"/>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209" name="Freeform: Shape 208"/>
            <p:cNvSpPr/>
            <p:nvPr/>
          </p:nvSpPr>
          <p:spPr>
            <a:xfrm>
              <a:off x="7826407" y="2404714"/>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1037"/>
                    <a:pt x="0" y="7079"/>
                  </a:cubicBezTo>
                  <a:cubicBezTo>
                    <a:pt x="0" y="3197"/>
                    <a:pt x="3197" y="0"/>
                    <a:pt x="7079" y="0"/>
                  </a:cubicBezTo>
                  <a:cubicBezTo>
                    <a:pt x="11037" y="0"/>
                    <a:pt x="14157" y="3197"/>
                    <a:pt x="14157" y="7079"/>
                  </a:cubicBezTo>
                </a:path>
              </a:pathLst>
            </a:custGeom>
            <a:grpFill/>
            <a:ln w="7608" cap="flat">
              <a:noFill/>
              <a:prstDash val="solid"/>
              <a:miter/>
            </a:ln>
          </p:spPr>
          <p:txBody>
            <a:bodyPr rtlCol="0" anchor="ctr"/>
            <a:lstStyle/>
            <a:p>
              <a:endParaRPr lang="hi-IN"/>
            </a:p>
          </p:txBody>
        </p:sp>
        <p:sp>
          <p:nvSpPr>
            <p:cNvPr id="1210" name="Freeform: Shape 209"/>
            <p:cNvSpPr/>
            <p:nvPr/>
          </p:nvSpPr>
          <p:spPr>
            <a:xfrm>
              <a:off x="7652027" y="2413770"/>
              <a:ext cx="11950" cy="11875"/>
            </a:xfrm>
            <a:custGeom>
              <a:avLst/>
              <a:gdLst>
                <a:gd name="connsiteX0" fmla="*/ 11950 w 11950"/>
                <a:gd name="connsiteY0" fmla="*/ 5939 h 11875"/>
                <a:gd name="connsiteX1" fmla="*/ 5937 w 11950"/>
                <a:gd name="connsiteY1" fmla="*/ 11876 h 11875"/>
                <a:gd name="connsiteX2" fmla="*/ 0 w 11950"/>
                <a:gd name="connsiteY2" fmla="*/ 5939 h 11875"/>
                <a:gd name="connsiteX3" fmla="*/ 5937 w 11950"/>
                <a:gd name="connsiteY3" fmla="*/ 2 h 11875"/>
                <a:gd name="connsiteX4" fmla="*/ 11950 w 11950"/>
                <a:gd name="connsiteY4" fmla="*/ 5939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5">
                  <a:moveTo>
                    <a:pt x="11950" y="5939"/>
                  </a:moveTo>
                  <a:cubicBezTo>
                    <a:pt x="11950" y="9211"/>
                    <a:pt x="9286" y="11876"/>
                    <a:pt x="5937" y="11876"/>
                  </a:cubicBezTo>
                  <a:cubicBezTo>
                    <a:pt x="2664" y="11876"/>
                    <a:pt x="0" y="9211"/>
                    <a:pt x="0" y="5939"/>
                  </a:cubicBezTo>
                  <a:cubicBezTo>
                    <a:pt x="0" y="2666"/>
                    <a:pt x="2664" y="2"/>
                    <a:pt x="5937" y="2"/>
                  </a:cubicBezTo>
                  <a:cubicBezTo>
                    <a:pt x="9286" y="-75"/>
                    <a:pt x="11950" y="2589"/>
                    <a:pt x="11950" y="5939"/>
                  </a:cubicBezTo>
                </a:path>
              </a:pathLst>
            </a:custGeom>
            <a:grpFill/>
            <a:ln w="7608" cap="flat">
              <a:noFill/>
              <a:prstDash val="solid"/>
              <a:miter/>
            </a:ln>
          </p:spPr>
          <p:txBody>
            <a:bodyPr rtlCol="0" anchor="ctr"/>
            <a:lstStyle/>
            <a:p>
              <a:endParaRPr lang="hi-IN"/>
            </a:p>
          </p:txBody>
        </p:sp>
        <p:sp>
          <p:nvSpPr>
            <p:cNvPr id="1211" name="Freeform: Shape 210"/>
            <p:cNvSpPr/>
            <p:nvPr/>
          </p:nvSpPr>
          <p:spPr>
            <a:xfrm>
              <a:off x="7479017" y="2438431"/>
              <a:ext cx="9742" cy="9744"/>
            </a:xfrm>
            <a:custGeom>
              <a:avLst/>
              <a:gdLst>
                <a:gd name="connsiteX0" fmla="*/ 9743 w 9742"/>
                <a:gd name="connsiteY0" fmla="*/ 4873 h 9744"/>
                <a:gd name="connsiteX1" fmla="*/ 4871 w 9742"/>
                <a:gd name="connsiteY1" fmla="*/ 9745 h 9744"/>
                <a:gd name="connsiteX2" fmla="*/ 0 w 9742"/>
                <a:gd name="connsiteY2" fmla="*/ 4873 h 9744"/>
                <a:gd name="connsiteX3" fmla="*/ 4871 w 9742"/>
                <a:gd name="connsiteY3" fmla="*/ 2 h 9744"/>
                <a:gd name="connsiteX4" fmla="*/ 9743 w 9742"/>
                <a:gd name="connsiteY4" fmla="*/ 4873 h 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4">
                  <a:moveTo>
                    <a:pt x="9743" y="4873"/>
                  </a:moveTo>
                  <a:cubicBezTo>
                    <a:pt x="9743" y="7537"/>
                    <a:pt x="7535" y="9745"/>
                    <a:pt x="4871" y="9745"/>
                  </a:cubicBezTo>
                  <a:cubicBezTo>
                    <a:pt x="2207" y="9745"/>
                    <a:pt x="0" y="7537"/>
                    <a:pt x="0" y="4873"/>
                  </a:cubicBezTo>
                  <a:cubicBezTo>
                    <a:pt x="0" y="2209"/>
                    <a:pt x="2207" y="2"/>
                    <a:pt x="4871" y="2"/>
                  </a:cubicBezTo>
                  <a:cubicBezTo>
                    <a:pt x="7535" y="-74"/>
                    <a:pt x="9743" y="2133"/>
                    <a:pt x="9743" y="4873"/>
                  </a:cubicBezTo>
                </a:path>
              </a:pathLst>
            </a:custGeom>
            <a:grpFill/>
            <a:ln w="7608" cap="flat">
              <a:noFill/>
              <a:prstDash val="solid"/>
              <a:miter/>
            </a:ln>
          </p:spPr>
          <p:txBody>
            <a:bodyPr rtlCol="0" anchor="ctr"/>
            <a:lstStyle/>
            <a:p>
              <a:endParaRPr lang="hi-IN"/>
            </a:p>
          </p:txBody>
        </p:sp>
        <p:sp>
          <p:nvSpPr>
            <p:cNvPr id="1212" name="Freeform: Shape 211"/>
            <p:cNvSpPr/>
            <p:nvPr/>
          </p:nvSpPr>
          <p:spPr>
            <a:xfrm>
              <a:off x="7308214" y="247801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79"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213" name="Freeform: Shape 212"/>
            <p:cNvSpPr/>
            <p:nvPr/>
          </p:nvSpPr>
          <p:spPr>
            <a:xfrm>
              <a:off x="7142130" y="2533425"/>
              <a:ext cx="6545" cy="6546"/>
            </a:xfrm>
            <a:custGeom>
              <a:avLst/>
              <a:gdLst>
                <a:gd name="connsiteX0" fmla="*/ 6546 w 6545"/>
                <a:gd name="connsiteY0" fmla="*/ 3273 h 6546"/>
                <a:gd name="connsiteX1" fmla="*/ 3273 w 6545"/>
                <a:gd name="connsiteY1" fmla="*/ 6546 h 6546"/>
                <a:gd name="connsiteX2" fmla="*/ 0 w 6545"/>
                <a:gd name="connsiteY2" fmla="*/ 3273 h 6546"/>
                <a:gd name="connsiteX3" fmla="*/ 3273 w 6545"/>
                <a:gd name="connsiteY3" fmla="*/ 0 h 6546"/>
                <a:gd name="connsiteX4" fmla="*/ 6546 w 6545"/>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6">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214" name="Freeform: Shape 213"/>
            <p:cNvSpPr/>
            <p:nvPr/>
          </p:nvSpPr>
          <p:spPr>
            <a:xfrm>
              <a:off x="6981602" y="2603528"/>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425" y="0"/>
                    <a:pt x="4415" y="990"/>
                    <a:pt x="4415" y="2207"/>
                  </a:cubicBezTo>
                </a:path>
              </a:pathLst>
            </a:custGeom>
            <a:grpFill/>
            <a:ln w="7608" cap="flat">
              <a:noFill/>
              <a:prstDash val="solid"/>
              <a:miter/>
            </a:ln>
          </p:spPr>
          <p:txBody>
            <a:bodyPr rtlCol="0" anchor="ctr"/>
            <a:lstStyle/>
            <a:p>
              <a:endParaRPr lang="hi-IN"/>
            </a:p>
          </p:txBody>
        </p:sp>
        <p:sp>
          <p:nvSpPr>
            <p:cNvPr id="1215" name="Freeform: Shape 214"/>
            <p:cNvSpPr/>
            <p:nvPr/>
          </p:nvSpPr>
          <p:spPr>
            <a:xfrm>
              <a:off x="6827545" y="2687407"/>
              <a:ext cx="3197" cy="3272"/>
            </a:xfrm>
            <a:custGeom>
              <a:avLst/>
              <a:gdLst>
                <a:gd name="connsiteX0" fmla="*/ 3197 w 3197"/>
                <a:gd name="connsiteY0" fmla="*/ 1598 h 3272"/>
                <a:gd name="connsiteX1" fmla="*/ 1599 w 3197"/>
                <a:gd name="connsiteY1" fmla="*/ 3273 h 3272"/>
                <a:gd name="connsiteX2" fmla="*/ 0 w 3197"/>
                <a:gd name="connsiteY2" fmla="*/ 1598 h 3272"/>
                <a:gd name="connsiteX3" fmla="*/ 1599 w 3197"/>
                <a:gd name="connsiteY3" fmla="*/ 0 h 3272"/>
                <a:gd name="connsiteX4" fmla="*/ 3197 w 3197"/>
                <a:gd name="connsiteY4" fmla="*/ 1598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598"/>
                  </a:moveTo>
                  <a:cubicBezTo>
                    <a:pt x="3197" y="2512"/>
                    <a:pt x="2436" y="3273"/>
                    <a:pt x="1599" y="3273"/>
                  </a:cubicBezTo>
                  <a:cubicBezTo>
                    <a:pt x="685" y="3273"/>
                    <a:pt x="0" y="2512"/>
                    <a:pt x="0" y="1598"/>
                  </a:cubicBezTo>
                  <a:cubicBezTo>
                    <a:pt x="0" y="685"/>
                    <a:pt x="761" y="0"/>
                    <a:pt x="1599" y="0"/>
                  </a:cubicBezTo>
                  <a:cubicBezTo>
                    <a:pt x="2436" y="0"/>
                    <a:pt x="3197" y="685"/>
                    <a:pt x="3197" y="1598"/>
                  </a:cubicBezTo>
                </a:path>
              </a:pathLst>
            </a:custGeom>
            <a:grpFill/>
            <a:ln w="7608" cap="flat">
              <a:noFill/>
              <a:prstDash val="solid"/>
              <a:miter/>
            </a:ln>
          </p:spPr>
          <p:txBody>
            <a:bodyPr rtlCol="0" anchor="ctr"/>
            <a:lstStyle/>
            <a:p>
              <a:endParaRPr lang="hi-IN"/>
            </a:p>
          </p:txBody>
        </p:sp>
        <p:sp>
          <p:nvSpPr>
            <p:cNvPr id="1216" name="Freeform: Shape 215"/>
            <p:cNvSpPr/>
            <p:nvPr/>
          </p:nvSpPr>
          <p:spPr>
            <a:xfrm>
              <a:off x="6681403" y="2784758"/>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217" name="Freeform: Shape 216"/>
            <p:cNvSpPr/>
            <p:nvPr/>
          </p:nvSpPr>
          <p:spPr>
            <a:xfrm>
              <a:off x="6544548" y="2894821"/>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9" y="1065"/>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218" name="Freeform: Shape 217"/>
            <p:cNvSpPr/>
            <p:nvPr/>
          </p:nvSpPr>
          <p:spPr>
            <a:xfrm>
              <a:off x="9402073" y="5845436"/>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8"/>
                    <a:pt x="837" y="1066"/>
                    <a:pt x="533" y="1066"/>
                  </a:cubicBezTo>
                  <a:cubicBezTo>
                    <a:pt x="229" y="1066"/>
                    <a:pt x="0" y="838"/>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219" name="Freeform: Shape 218"/>
            <p:cNvSpPr/>
            <p:nvPr/>
          </p:nvSpPr>
          <p:spPr>
            <a:xfrm>
              <a:off x="9517159" y="5712615"/>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9" y="1065"/>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220" name="Freeform: Shape 219"/>
            <p:cNvSpPr/>
            <p:nvPr/>
          </p:nvSpPr>
          <p:spPr>
            <a:xfrm>
              <a:off x="9620525" y="5570355"/>
              <a:ext cx="2130" cy="2130"/>
            </a:xfrm>
            <a:custGeom>
              <a:avLst/>
              <a:gdLst>
                <a:gd name="connsiteX0" fmla="*/ 2131 w 2130"/>
                <a:gd name="connsiteY0" fmla="*/ 1065 h 2130"/>
                <a:gd name="connsiteX1" fmla="*/ 1065 w 2130"/>
                <a:gd name="connsiteY1" fmla="*/ 2131 h 2130"/>
                <a:gd name="connsiteX2" fmla="*/ 0 w 2130"/>
                <a:gd name="connsiteY2" fmla="*/ 1065 h 2130"/>
                <a:gd name="connsiteX3" fmla="*/ 1065 w 2130"/>
                <a:gd name="connsiteY3" fmla="*/ 0 h 2130"/>
                <a:gd name="connsiteX4" fmla="*/ 2131 w 2130"/>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0">
                  <a:moveTo>
                    <a:pt x="2131" y="1065"/>
                  </a:moveTo>
                  <a:cubicBezTo>
                    <a:pt x="2131" y="1674"/>
                    <a:pt x="1674" y="2131"/>
                    <a:pt x="1065" y="2131"/>
                  </a:cubicBezTo>
                  <a:cubicBezTo>
                    <a:pt x="456" y="2131"/>
                    <a:pt x="0" y="1674"/>
                    <a:pt x="0" y="1065"/>
                  </a:cubicBezTo>
                  <a:cubicBezTo>
                    <a:pt x="0" y="457"/>
                    <a:pt x="456" y="0"/>
                    <a:pt x="1065"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221" name="Freeform: Shape 220"/>
            <p:cNvSpPr/>
            <p:nvPr/>
          </p:nvSpPr>
          <p:spPr>
            <a:xfrm>
              <a:off x="9711254" y="5419494"/>
              <a:ext cx="4415" cy="4414"/>
            </a:xfrm>
            <a:custGeom>
              <a:avLst/>
              <a:gdLst>
                <a:gd name="connsiteX0" fmla="*/ 4415 w 4415"/>
                <a:gd name="connsiteY0" fmla="*/ 2207 h 4414"/>
                <a:gd name="connsiteX1" fmla="*/ 2208 w 4415"/>
                <a:gd name="connsiteY1" fmla="*/ 4415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5"/>
                    <a:pt x="2208" y="4415"/>
                  </a:cubicBezTo>
                  <a:cubicBezTo>
                    <a:pt x="990" y="4415"/>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222" name="Freeform: Shape 221"/>
            <p:cNvSpPr/>
            <p:nvPr/>
          </p:nvSpPr>
          <p:spPr>
            <a:xfrm>
              <a:off x="9790185" y="5262239"/>
              <a:ext cx="5481" cy="5480"/>
            </a:xfrm>
            <a:custGeom>
              <a:avLst/>
              <a:gdLst>
                <a:gd name="connsiteX0" fmla="*/ 5481 w 5481"/>
                <a:gd name="connsiteY0" fmla="*/ 2741 h 5480"/>
                <a:gd name="connsiteX1" fmla="*/ 2740 w 5481"/>
                <a:gd name="connsiteY1" fmla="*/ 5481 h 5480"/>
                <a:gd name="connsiteX2" fmla="*/ 0 w 5481"/>
                <a:gd name="connsiteY2" fmla="*/ 2741 h 5480"/>
                <a:gd name="connsiteX3" fmla="*/ 2740 w 5481"/>
                <a:gd name="connsiteY3" fmla="*/ 0 h 5480"/>
                <a:gd name="connsiteX4" fmla="*/ 5481 w 5481"/>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1"/>
                  </a:moveTo>
                  <a:cubicBezTo>
                    <a:pt x="5481" y="4262"/>
                    <a:pt x="4263" y="5481"/>
                    <a:pt x="2740" y="5481"/>
                  </a:cubicBezTo>
                  <a:cubicBezTo>
                    <a:pt x="1218" y="5481"/>
                    <a:pt x="0" y="4262"/>
                    <a:pt x="0" y="2741"/>
                  </a:cubicBezTo>
                  <a:cubicBezTo>
                    <a:pt x="0" y="1218"/>
                    <a:pt x="1218" y="0"/>
                    <a:pt x="2740" y="0"/>
                  </a:cubicBezTo>
                  <a:cubicBezTo>
                    <a:pt x="4263" y="0"/>
                    <a:pt x="5481" y="1218"/>
                    <a:pt x="5481" y="2741"/>
                  </a:cubicBezTo>
                </a:path>
              </a:pathLst>
            </a:custGeom>
            <a:grpFill/>
            <a:ln w="7608" cap="flat">
              <a:noFill/>
              <a:prstDash val="solid"/>
              <a:miter/>
            </a:ln>
          </p:spPr>
          <p:txBody>
            <a:bodyPr rtlCol="0" anchor="ctr"/>
            <a:lstStyle/>
            <a:p>
              <a:endParaRPr lang="hi-IN"/>
            </a:p>
          </p:txBody>
        </p:sp>
        <p:sp>
          <p:nvSpPr>
            <p:cNvPr id="1223" name="Freeform: Shape 222"/>
            <p:cNvSpPr/>
            <p:nvPr/>
          </p:nvSpPr>
          <p:spPr>
            <a:xfrm>
              <a:off x="9855569" y="509843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4"/>
                    <a:pt x="1674" y="0"/>
                    <a:pt x="3806" y="0"/>
                  </a:cubicBezTo>
                  <a:cubicBezTo>
                    <a:pt x="5936" y="0"/>
                    <a:pt x="7612" y="1751"/>
                    <a:pt x="7612" y="3806"/>
                  </a:cubicBezTo>
                </a:path>
              </a:pathLst>
            </a:custGeom>
            <a:grpFill/>
            <a:ln w="7608" cap="flat">
              <a:noFill/>
              <a:prstDash val="solid"/>
              <a:miter/>
            </a:ln>
          </p:spPr>
          <p:txBody>
            <a:bodyPr rtlCol="0" anchor="ctr"/>
            <a:lstStyle/>
            <a:p>
              <a:endParaRPr lang="hi-IN"/>
            </a:p>
          </p:txBody>
        </p:sp>
        <p:sp>
          <p:nvSpPr>
            <p:cNvPr id="1224" name="Freeform: Shape 223"/>
            <p:cNvSpPr/>
            <p:nvPr/>
          </p:nvSpPr>
          <p:spPr>
            <a:xfrm>
              <a:off x="9907479" y="4929843"/>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131" y="9743"/>
                    <a:pt x="0" y="7535"/>
                    <a:pt x="0" y="4871"/>
                  </a:cubicBezTo>
                  <a:cubicBezTo>
                    <a:pt x="0" y="2207"/>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225" name="Freeform: Shape 224"/>
            <p:cNvSpPr/>
            <p:nvPr/>
          </p:nvSpPr>
          <p:spPr>
            <a:xfrm>
              <a:off x="9945461" y="4757442"/>
              <a:ext cx="11950" cy="11873"/>
            </a:xfrm>
            <a:custGeom>
              <a:avLst/>
              <a:gdLst>
                <a:gd name="connsiteX0" fmla="*/ 11951 w 11950"/>
                <a:gd name="connsiteY0" fmla="*/ 5937 h 11873"/>
                <a:gd name="connsiteX1" fmla="*/ 6013 w 11950"/>
                <a:gd name="connsiteY1" fmla="*/ 11874 h 11873"/>
                <a:gd name="connsiteX2" fmla="*/ 0 w 11950"/>
                <a:gd name="connsiteY2" fmla="*/ 5937 h 11873"/>
                <a:gd name="connsiteX3" fmla="*/ 6013 w 11950"/>
                <a:gd name="connsiteY3" fmla="*/ 0 h 11873"/>
                <a:gd name="connsiteX4" fmla="*/ 11951 w 11950"/>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3">
                  <a:moveTo>
                    <a:pt x="11951" y="5937"/>
                  </a:moveTo>
                  <a:cubicBezTo>
                    <a:pt x="11951" y="9210"/>
                    <a:pt x="9286" y="11874"/>
                    <a:pt x="6013" y="11874"/>
                  </a:cubicBezTo>
                  <a:cubicBezTo>
                    <a:pt x="2740" y="11874"/>
                    <a:pt x="0" y="9210"/>
                    <a:pt x="0" y="5937"/>
                  </a:cubicBezTo>
                  <a:cubicBezTo>
                    <a:pt x="0" y="2664"/>
                    <a:pt x="2664" y="0"/>
                    <a:pt x="6013" y="0"/>
                  </a:cubicBezTo>
                  <a:cubicBezTo>
                    <a:pt x="9286" y="0"/>
                    <a:pt x="11951" y="2664"/>
                    <a:pt x="11951" y="5937"/>
                  </a:cubicBezTo>
                </a:path>
              </a:pathLst>
            </a:custGeom>
            <a:grpFill/>
            <a:ln w="7608" cap="flat">
              <a:noFill/>
              <a:prstDash val="solid"/>
              <a:miter/>
            </a:ln>
          </p:spPr>
          <p:txBody>
            <a:bodyPr rtlCol="0" anchor="ctr"/>
            <a:lstStyle/>
            <a:p>
              <a:endParaRPr lang="hi-IN"/>
            </a:p>
          </p:txBody>
        </p:sp>
        <p:sp>
          <p:nvSpPr>
            <p:cNvPr id="1226" name="Freeform: Shape 225"/>
            <p:cNvSpPr/>
            <p:nvPr/>
          </p:nvSpPr>
          <p:spPr>
            <a:xfrm>
              <a:off x="9969361" y="4582377"/>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0"/>
                    <a:pt x="10960" y="14157"/>
                    <a:pt x="7079" y="14157"/>
                  </a:cubicBezTo>
                  <a:cubicBezTo>
                    <a:pt x="3197" y="14157"/>
                    <a:pt x="0" y="10960"/>
                    <a:pt x="0" y="7079"/>
                  </a:cubicBezTo>
                  <a:cubicBezTo>
                    <a:pt x="0" y="3197"/>
                    <a:pt x="3197" y="0"/>
                    <a:pt x="7079" y="0"/>
                  </a:cubicBezTo>
                  <a:cubicBezTo>
                    <a:pt x="10960" y="0"/>
                    <a:pt x="14157" y="3197"/>
                    <a:pt x="14157" y="7079"/>
                  </a:cubicBezTo>
                </a:path>
              </a:pathLst>
            </a:custGeom>
            <a:grpFill/>
            <a:ln w="7608" cap="flat">
              <a:noFill/>
              <a:prstDash val="solid"/>
              <a:miter/>
            </a:ln>
          </p:spPr>
          <p:txBody>
            <a:bodyPr rtlCol="0" anchor="ctr"/>
            <a:lstStyle/>
            <a:p>
              <a:endParaRPr lang="hi-IN"/>
            </a:p>
          </p:txBody>
        </p:sp>
        <p:sp>
          <p:nvSpPr>
            <p:cNvPr id="1227" name="Freeform: Shape 226"/>
            <p:cNvSpPr/>
            <p:nvPr/>
          </p:nvSpPr>
          <p:spPr>
            <a:xfrm>
              <a:off x="9979028" y="4405865"/>
              <a:ext cx="16288" cy="16288"/>
            </a:xfrm>
            <a:custGeom>
              <a:avLst/>
              <a:gdLst>
                <a:gd name="connsiteX0" fmla="*/ 16289 w 16288"/>
                <a:gd name="connsiteY0" fmla="*/ 8144 h 16288"/>
                <a:gd name="connsiteX1" fmla="*/ 8144 w 16288"/>
                <a:gd name="connsiteY1" fmla="*/ 16288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8"/>
                    <a:pt x="8144" y="16288"/>
                  </a:cubicBezTo>
                  <a:cubicBezTo>
                    <a:pt x="3653" y="16288"/>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228" name="Freeform: Shape 227"/>
            <p:cNvSpPr/>
            <p:nvPr/>
          </p:nvSpPr>
          <p:spPr>
            <a:xfrm>
              <a:off x="9974461" y="4229125"/>
              <a:ext cx="18419" cy="18419"/>
            </a:xfrm>
            <a:custGeom>
              <a:avLst/>
              <a:gdLst>
                <a:gd name="connsiteX0" fmla="*/ 18419 w 18419"/>
                <a:gd name="connsiteY0" fmla="*/ 9210 h 18419"/>
                <a:gd name="connsiteX1" fmla="*/ 9210 w 18419"/>
                <a:gd name="connsiteY1" fmla="*/ 18420 h 18419"/>
                <a:gd name="connsiteX2" fmla="*/ 0 w 18419"/>
                <a:gd name="connsiteY2" fmla="*/ 9210 h 18419"/>
                <a:gd name="connsiteX3" fmla="*/ 9210 w 18419"/>
                <a:gd name="connsiteY3" fmla="*/ 0 h 18419"/>
                <a:gd name="connsiteX4" fmla="*/ 18419 w 18419"/>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19">
                  <a:moveTo>
                    <a:pt x="18419" y="9210"/>
                  </a:moveTo>
                  <a:cubicBezTo>
                    <a:pt x="18419" y="14310"/>
                    <a:pt x="14310" y="18420"/>
                    <a:pt x="9210" y="18420"/>
                  </a:cubicBezTo>
                  <a:cubicBezTo>
                    <a:pt x="4110" y="18420"/>
                    <a:pt x="0" y="14310"/>
                    <a:pt x="0" y="9210"/>
                  </a:cubicBezTo>
                  <a:cubicBezTo>
                    <a:pt x="0" y="4110"/>
                    <a:pt x="4110" y="0"/>
                    <a:pt x="9210" y="0"/>
                  </a:cubicBezTo>
                  <a:cubicBezTo>
                    <a:pt x="14234" y="0"/>
                    <a:pt x="18419" y="4110"/>
                    <a:pt x="18419" y="9210"/>
                  </a:cubicBezTo>
                </a:path>
              </a:pathLst>
            </a:custGeom>
            <a:grpFill/>
            <a:ln w="7608" cap="flat">
              <a:noFill/>
              <a:prstDash val="solid"/>
              <a:miter/>
            </a:ln>
          </p:spPr>
          <p:txBody>
            <a:bodyPr rtlCol="0" anchor="ctr"/>
            <a:lstStyle/>
            <a:p>
              <a:endParaRPr lang="hi-IN"/>
            </a:p>
          </p:txBody>
        </p:sp>
        <p:sp>
          <p:nvSpPr>
            <p:cNvPr id="1229" name="Freeform: Shape 228"/>
            <p:cNvSpPr/>
            <p:nvPr/>
          </p:nvSpPr>
          <p:spPr>
            <a:xfrm>
              <a:off x="9955356" y="4053222"/>
              <a:ext cx="20703" cy="20703"/>
            </a:xfrm>
            <a:custGeom>
              <a:avLst/>
              <a:gdLst>
                <a:gd name="connsiteX0" fmla="*/ 20703 w 20703"/>
                <a:gd name="connsiteY0" fmla="*/ 10352 h 20703"/>
                <a:gd name="connsiteX1" fmla="*/ 10352 w 20703"/>
                <a:gd name="connsiteY1" fmla="*/ 20703 h 20703"/>
                <a:gd name="connsiteX2" fmla="*/ 0 w 20703"/>
                <a:gd name="connsiteY2" fmla="*/ 10352 h 20703"/>
                <a:gd name="connsiteX3" fmla="*/ 10352 w 20703"/>
                <a:gd name="connsiteY3" fmla="*/ 0 h 20703"/>
                <a:gd name="connsiteX4" fmla="*/ 20703 w 20703"/>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703">
                  <a:moveTo>
                    <a:pt x="20703" y="10352"/>
                  </a:moveTo>
                  <a:cubicBezTo>
                    <a:pt x="20703" y="16060"/>
                    <a:pt x="16060" y="20703"/>
                    <a:pt x="10352" y="20703"/>
                  </a:cubicBezTo>
                  <a:cubicBezTo>
                    <a:pt x="4643" y="20703"/>
                    <a:pt x="0" y="16060"/>
                    <a:pt x="0" y="10352"/>
                  </a:cubicBezTo>
                  <a:cubicBezTo>
                    <a:pt x="0" y="4643"/>
                    <a:pt x="4643" y="0"/>
                    <a:pt x="10352" y="0"/>
                  </a:cubicBezTo>
                  <a:cubicBezTo>
                    <a:pt x="16060" y="0"/>
                    <a:pt x="20703" y="4643"/>
                    <a:pt x="20703" y="10352"/>
                  </a:cubicBezTo>
                </a:path>
              </a:pathLst>
            </a:custGeom>
            <a:grpFill/>
            <a:ln w="7608" cap="flat">
              <a:noFill/>
              <a:prstDash val="solid"/>
              <a:miter/>
            </a:ln>
          </p:spPr>
          <p:txBody>
            <a:bodyPr rtlCol="0" anchor="ctr"/>
            <a:lstStyle/>
            <a:p>
              <a:endParaRPr lang="hi-IN"/>
            </a:p>
          </p:txBody>
        </p:sp>
        <p:sp>
          <p:nvSpPr>
            <p:cNvPr id="1230" name="Freeform: Shape 229"/>
            <p:cNvSpPr/>
            <p:nvPr/>
          </p:nvSpPr>
          <p:spPr>
            <a:xfrm>
              <a:off x="9922170" y="3879375"/>
              <a:ext cx="22834" cy="22834"/>
            </a:xfrm>
            <a:custGeom>
              <a:avLst/>
              <a:gdLst>
                <a:gd name="connsiteX0" fmla="*/ 22835 w 22834"/>
                <a:gd name="connsiteY0" fmla="*/ 11417 h 22834"/>
                <a:gd name="connsiteX1" fmla="*/ 11417 w 22834"/>
                <a:gd name="connsiteY1" fmla="*/ 22834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4"/>
                    <a:pt x="11417" y="22834"/>
                  </a:cubicBezTo>
                  <a:cubicBezTo>
                    <a:pt x="5099" y="22834"/>
                    <a:pt x="0" y="17735"/>
                    <a:pt x="0" y="11417"/>
                  </a:cubicBezTo>
                  <a:cubicBezTo>
                    <a:pt x="0" y="5100"/>
                    <a:pt x="5099"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231" name="Freeform: Shape 230"/>
            <p:cNvSpPr/>
            <p:nvPr/>
          </p:nvSpPr>
          <p:spPr>
            <a:xfrm>
              <a:off x="9875130" y="3708724"/>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09"/>
                    <a:pt x="19410" y="24966"/>
                    <a:pt x="12483" y="24966"/>
                  </a:cubicBezTo>
                  <a:cubicBezTo>
                    <a:pt x="5556" y="24966"/>
                    <a:pt x="0" y="19333"/>
                    <a:pt x="0" y="12483"/>
                  </a:cubicBezTo>
                  <a:cubicBezTo>
                    <a:pt x="0" y="5557"/>
                    <a:pt x="5632" y="0"/>
                    <a:pt x="12483" y="0"/>
                  </a:cubicBezTo>
                  <a:cubicBezTo>
                    <a:pt x="19334" y="0"/>
                    <a:pt x="24966" y="5557"/>
                    <a:pt x="24966" y="12483"/>
                  </a:cubicBezTo>
                </a:path>
              </a:pathLst>
            </a:custGeom>
            <a:grpFill/>
            <a:ln w="7608" cap="flat">
              <a:noFill/>
              <a:prstDash val="solid"/>
              <a:miter/>
            </a:ln>
          </p:spPr>
          <p:txBody>
            <a:bodyPr rtlCol="0" anchor="ctr"/>
            <a:lstStyle/>
            <a:p>
              <a:endParaRPr lang="hi-IN"/>
            </a:p>
          </p:txBody>
        </p:sp>
        <p:sp>
          <p:nvSpPr>
            <p:cNvPr id="1232" name="Freeform: Shape 231"/>
            <p:cNvSpPr/>
            <p:nvPr/>
          </p:nvSpPr>
          <p:spPr>
            <a:xfrm>
              <a:off x="9814314" y="3542335"/>
              <a:ext cx="27096" cy="27097"/>
            </a:xfrm>
            <a:custGeom>
              <a:avLst/>
              <a:gdLst>
                <a:gd name="connsiteX0" fmla="*/ 27097 w 27096"/>
                <a:gd name="connsiteY0" fmla="*/ 13549 h 27097"/>
                <a:gd name="connsiteX1" fmla="*/ 13549 w 27096"/>
                <a:gd name="connsiteY1" fmla="*/ 27097 h 27097"/>
                <a:gd name="connsiteX2" fmla="*/ 0 w 27096"/>
                <a:gd name="connsiteY2" fmla="*/ 13549 h 27097"/>
                <a:gd name="connsiteX3" fmla="*/ 13549 w 27096"/>
                <a:gd name="connsiteY3" fmla="*/ 0 h 27097"/>
                <a:gd name="connsiteX4" fmla="*/ 27097 w 27096"/>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6" h="27097">
                  <a:moveTo>
                    <a:pt x="27097" y="13549"/>
                  </a:moveTo>
                  <a:cubicBezTo>
                    <a:pt x="27097" y="21008"/>
                    <a:pt x="21008" y="27097"/>
                    <a:pt x="13549" y="27097"/>
                  </a:cubicBezTo>
                  <a:cubicBezTo>
                    <a:pt x="6013" y="27097"/>
                    <a:pt x="0" y="21008"/>
                    <a:pt x="0" y="13549"/>
                  </a:cubicBezTo>
                  <a:cubicBezTo>
                    <a:pt x="0" y="6013"/>
                    <a:pt x="6090" y="0"/>
                    <a:pt x="13549" y="0"/>
                  </a:cubicBezTo>
                  <a:cubicBezTo>
                    <a:pt x="21008" y="0"/>
                    <a:pt x="27097" y="6089"/>
                    <a:pt x="27097" y="13549"/>
                  </a:cubicBezTo>
                </a:path>
              </a:pathLst>
            </a:custGeom>
            <a:grpFill/>
            <a:ln w="7608" cap="flat">
              <a:noFill/>
              <a:prstDash val="solid"/>
              <a:miter/>
            </a:ln>
          </p:spPr>
          <p:txBody>
            <a:bodyPr rtlCol="0" anchor="ctr"/>
            <a:lstStyle/>
            <a:p>
              <a:endParaRPr lang="hi-IN"/>
            </a:p>
          </p:txBody>
        </p:sp>
        <p:sp>
          <p:nvSpPr>
            <p:cNvPr id="1233" name="Freeform: Shape 232"/>
            <p:cNvSpPr/>
            <p:nvPr/>
          </p:nvSpPr>
          <p:spPr>
            <a:xfrm>
              <a:off x="9740786" y="3381884"/>
              <a:ext cx="28163" cy="28238"/>
            </a:xfrm>
            <a:custGeom>
              <a:avLst/>
              <a:gdLst>
                <a:gd name="connsiteX0" fmla="*/ 28163 w 28163"/>
                <a:gd name="connsiteY0" fmla="*/ 14158 h 28238"/>
                <a:gd name="connsiteX1" fmla="*/ 14081 w 28163"/>
                <a:gd name="connsiteY1" fmla="*/ 28239 h 28238"/>
                <a:gd name="connsiteX2" fmla="*/ 0 w 28163"/>
                <a:gd name="connsiteY2" fmla="*/ 14158 h 28238"/>
                <a:gd name="connsiteX3" fmla="*/ 14081 w 28163"/>
                <a:gd name="connsiteY3" fmla="*/ 0 h 28238"/>
                <a:gd name="connsiteX4" fmla="*/ 28163 w 28163"/>
                <a:gd name="connsiteY4" fmla="*/ 14158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3" h="28238">
                  <a:moveTo>
                    <a:pt x="28163" y="14158"/>
                  </a:moveTo>
                  <a:cubicBezTo>
                    <a:pt x="28163" y="21921"/>
                    <a:pt x="21845" y="28239"/>
                    <a:pt x="14081" y="28239"/>
                  </a:cubicBezTo>
                  <a:cubicBezTo>
                    <a:pt x="6318" y="28239"/>
                    <a:pt x="0" y="21921"/>
                    <a:pt x="0" y="14158"/>
                  </a:cubicBezTo>
                  <a:cubicBezTo>
                    <a:pt x="0" y="6394"/>
                    <a:pt x="6318" y="0"/>
                    <a:pt x="14081" y="0"/>
                  </a:cubicBezTo>
                  <a:cubicBezTo>
                    <a:pt x="21845" y="76"/>
                    <a:pt x="28163" y="6394"/>
                    <a:pt x="28163" y="14158"/>
                  </a:cubicBezTo>
                </a:path>
              </a:pathLst>
            </a:custGeom>
            <a:grpFill/>
            <a:ln w="7608" cap="flat">
              <a:noFill/>
              <a:prstDash val="solid"/>
              <a:miter/>
            </a:ln>
          </p:spPr>
          <p:txBody>
            <a:bodyPr rtlCol="0" anchor="ctr"/>
            <a:lstStyle/>
            <a:p>
              <a:endParaRPr lang="hi-IN"/>
            </a:p>
          </p:txBody>
        </p:sp>
        <p:sp>
          <p:nvSpPr>
            <p:cNvPr id="1234" name="Freeform: Shape 233"/>
            <p:cNvSpPr/>
            <p:nvPr/>
          </p:nvSpPr>
          <p:spPr>
            <a:xfrm>
              <a:off x="9654319" y="3227979"/>
              <a:ext cx="29380" cy="29380"/>
            </a:xfrm>
            <a:custGeom>
              <a:avLst/>
              <a:gdLst>
                <a:gd name="connsiteX0" fmla="*/ 29380 w 29380"/>
                <a:gd name="connsiteY0" fmla="*/ 14690 h 29380"/>
                <a:gd name="connsiteX1" fmla="*/ 14691 w 29380"/>
                <a:gd name="connsiteY1" fmla="*/ 29381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1" y="29381"/>
                  </a:cubicBezTo>
                  <a:cubicBezTo>
                    <a:pt x="6622" y="29381"/>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235" name="Freeform: Shape 234"/>
            <p:cNvSpPr/>
            <p:nvPr/>
          </p:nvSpPr>
          <p:spPr>
            <a:xfrm>
              <a:off x="9555827" y="3081609"/>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0" y="30446"/>
                    <a:pt x="0" y="23672"/>
                    <a:pt x="0" y="15223"/>
                  </a:cubicBezTo>
                  <a:cubicBezTo>
                    <a:pt x="0" y="6851"/>
                    <a:pt x="6773" y="0"/>
                    <a:pt x="15223" y="0"/>
                  </a:cubicBezTo>
                  <a:cubicBezTo>
                    <a:pt x="23596" y="0"/>
                    <a:pt x="30446" y="6851"/>
                    <a:pt x="30446" y="15223"/>
                  </a:cubicBezTo>
                </a:path>
              </a:pathLst>
            </a:custGeom>
            <a:grpFill/>
            <a:ln w="7608" cap="flat">
              <a:noFill/>
              <a:prstDash val="solid"/>
              <a:miter/>
            </a:ln>
          </p:spPr>
          <p:txBody>
            <a:bodyPr rtlCol="0" anchor="ctr"/>
            <a:lstStyle/>
            <a:p>
              <a:endParaRPr lang="hi-IN"/>
            </a:p>
          </p:txBody>
        </p:sp>
        <p:sp>
          <p:nvSpPr>
            <p:cNvPr id="1236" name="Freeform: Shape 235"/>
            <p:cNvSpPr/>
            <p:nvPr/>
          </p:nvSpPr>
          <p:spPr>
            <a:xfrm>
              <a:off x="9446220" y="2944220"/>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1" y="30446"/>
                    <a:pt x="0" y="23672"/>
                    <a:pt x="0" y="15223"/>
                  </a:cubicBezTo>
                  <a:cubicBezTo>
                    <a:pt x="0" y="6850"/>
                    <a:pt x="6774" y="0"/>
                    <a:pt x="15223" y="0"/>
                  </a:cubicBezTo>
                  <a:cubicBezTo>
                    <a:pt x="23672" y="0"/>
                    <a:pt x="30446" y="6850"/>
                    <a:pt x="30446" y="15223"/>
                  </a:cubicBezTo>
                </a:path>
              </a:pathLst>
            </a:custGeom>
            <a:grpFill/>
            <a:ln w="7608" cap="flat">
              <a:noFill/>
              <a:prstDash val="solid"/>
              <a:miter/>
            </a:ln>
          </p:spPr>
          <p:txBody>
            <a:bodyPr rtlCol="0" anchor="ctr"/>
            <a:lstStyle/>
            <a:p>
              <a:endParaRPr lang="hi-IN"/>
            </a:p>
          </p:txBody>
        </p:sp>
        <p:sp>
          <p:nvSpPr>
            <p:cNvPr id="1237" name="Freeform: Shape 236"/>
            <p:cNvSpPr/>
            <p:nvPr/>
          </p:nvSpPr>
          <p:spPr>
            <a:xfrm>
              <a:off x="9325349" y="2815661"/>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8" y="31512"/>
                    <a:pt x="0" y="24433"/>
                    <a:pt x="0" y="15756"/>
                  </a:cubicBezTo>
                  <a:cubicBezTo>
                    <a:pt x="0" y="7079"/>
                    <a:pt x="7078" y="0"/>
                    <a:pt x="15755" y="0"/>
                  </a:cubicBezTo>
                  <a:cubicBezTo>
                    <a:pt x="24433" y="0"/>
                    <a:pt x="31512" y="7079"/>
                    <a:pt x="31512" y="15756"/>
                  </a:cubicBezTo>
                </a:path>
              </a:pathLst>
            </a:custGeom>
            <a:grpFill/>
            <a:ln w="7608" cap="flat">
              <a:noFill/>
              <a:prstDash val="solid"/>
              <a:miter/>
            </a:ln>
          </p:spPr>
          <p:txBody>
            <a:bodyPr rtlCol="0" anchor="ctr"/>
            <a:lstStyle/>
            <a:p>
              <a:endParaRPr lang="hi-IN"/>
            </a:p>
          </p:txBody>
        </p:sp>
        <p:sp>
          <p:nvSpPr>
            <p:cNvPr id="1238" name="Freeform: Shape 237"/>
            <p:cNvSpPr/>
            <p:nvPr/>
          </p:nvSpPr>
          <p:spPr>
            <a:xfrm>
              <a:off x="9195419" y="2698444"/>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3" y="30446"/>
                    <a:pt x="15223" y="30446"/>
                  </a:cubicBezTo>
                  <a:cubicBezTo>
                    <a:pt x="6851" y="30446"/>
                    <a:pt x="0" y="23672"/>
                    <a:pt x="0" y="15223"/>
                  </a:cubicBezTo>
                  <a:cubicBezTo>
                    <a:pt x="0" y="6851"/>
                    <a:pt x="6774" y="0"/>
                    <a:pt x="15223" y="0"/>
                  </a:cubicBezTo>
                  <a:cubicBezTo>
                    <a:pt x="23673" y="76"/>
                    <a:pt x="30446" y="6851"/>
                    <a:pt x="30446" y="15223"/>
                  </a:cubicBezTo>
                </a:path>
              </a:pathLst>
            </a:custGeom>
            <a:grpFill/>
            <a:ln w="7608" cap="flat">
              <a:noFill/>
              <a:prstDash val="solid"/>
              <a:miter/>
            </a:ln>
          </p:spPr>
          <p:txBody>
            <a:bodyPr rtlCol="0" anchor="ctr"/>
            <a:lstStyle/>
            <a:p>
              <a:endParaRPr lang="hi-IN"/>
            </a:p>
          </p:txBody>
        </p:sp>
        <p:sp>
          <p:nvSpPr>
            <p:cNvPr id="1239" name="Freeform: Shape 238"/>
            <p:cNvSpPr/>
            <p:nvPr/>
          </p:nvSpPr>
          <p:spPr>
            <a:xfrm>
              <a:off x="9055824" y="2591730"/>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774" y="30446"/>
                    <a:pt x="0" y="23672"/>
                    <a:pt x="0" y="15223"/>
                  </a:cubicBezTo>
                  <a:cubicBezTo>
                    <a:pt x="0" y="6850"/>
                    <a:pt x="6774" y="0"/>
                    <a:pt x="15223" y="0"/>
                  </a:cubicBezTo>
                  <a:cubicBezTo>
                    <a:pt x="23672" y="0"/>
                    <a:pt x="30446" y="6850"/>
                    <a:pt x="30446" y="15223"/>
                  </a:cubicBezTo>
                </a:path>
              </a:pathLst>
            </a:custGeom>
            <a:grpFill/>
            <a:ln w="7608" cap="flat">
              <a:noFill/>
              <a:prstDash val="solid"/>
              <a:miter/>
            </a:ln>
          </p:spPr>
          <p:txBody>
            <a:bodyPr rtlCol="0" anchor="ctr"/>
            <a:lstStyle/>
            <a:p>
              <a:endParaRPr lang="hi-IN"/>
            </a:p>
          </p:txBody>
        </p:sp>
        <p:sp>
          <p:nvSpPr>
            <p:cNvPr id="1240" name="Freeform: Shape 239"/>
            <p:cNvSpPr/>
            <p:nvPr/>
          </p:nvSpPr>
          <p:spPr>
            <a:xfrm>
              <a:off x="8908541" y="2497271"/>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622" y="29381"/>
                    <a:pt x="0" y="22835"/>
                    <a:pt x="0" y="14690"/>
                  </a:cubicBezTo>
                  <a:cubicBezTo>
                    <a:pt x="0" y="6622"/>
                    <a:pt x="6546" y="0"/>
                    <a:pt x="14690" y="0"/>
                  </a:cubicBezTo>
                  <a:cubicBezTo>
                    <a:pt x="22835" y="0"/>
                    <a:pt x="29380" y="6546"/>
                    <a:pt x="29380" y="14690"/>
                  </a:cubicBezTo>
                </a:path>
              </a:pathLst>
            </a:custGeom>
            <a:grpFill/>
            <a:ln w="7608" cap="flat">
              <a:noFill/>
              <a:prstDash val="solid"/>
              <a:miter/>
            </a:ln>
          </p:spPr>
          <p:txBody>
            <a:bodyPr rtlCol="0" anchor="ctr"/>
            <a:lstStyle/>
            <a:p>
              <a:endParaRPr lang="hi-IN"/>
            </a:p>
          </p:txBody>
        </p:sp>
        <p:sp>
          <p:nvSpPr>
            <p:cNvPr id="1241" name="Freeform: Shape 240"/>
            <p:cNvSpPr/>
            <p:nvPr/>
          </p:nvSpPr>
          <p:spPr>
            <a:xfrm>
              <a:off x="8754102" y="2415218"/>
              <a:ext cx="28163" cy="28162"/>
            </a:xfrm>
            <a:custGeom>
              <a:avLst/>
              <a:gdLst>
                <a:gd name="connsiteX0" fmla="*/ 28163 w 28163"/>
                <a:gd name="connsiteY0" fmla="*/ 14081 h 28162"/>
                <a:gd name="connsiteX1" fmla="*/ 14081 w 28163"/>
                <a:gd name="connsiteY1" fmla="*/ 28163 h 28162"/>
                <a:gd name="connsiteX2" fmla="*/ 0 w 28163"/>
                <a:gd name="connsiteY2" fmla="*/ 14081 h 28162"/>
                <a:gd name="connsiteX3" fmla="*/ 14081 w 28163"/>
                <a:gd name="connsiteY3" fmla="*/ 0 h 28162"/>
                <a:gd name="connsiteX4" fmla="*/ 28163 w 28163"/>
                <a:gd name="connsiteY4" fmla="*/ 14081 h 2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3" h="28162">
                  <a:moveTo>
                    <a:pt x="28163" y="14081"/>
                  </a:moveTo>
                  <a:cubicBezTo>
                    <a:pt x="28163" y="21845"/>
                    <a:pt x="21845" y="28163"/>
                    <a:pt x="14081" y="28163"/>
                  </a:cubicBezTo>
                  <a:cubicBezTo>
                    <a:pt x="6318" y="28163"/>
                    <a:pt x="0" y="21845"/>
                    <a:pt x="0" y="14081"/>
                  </a:cubicBezTo>
                  <a:cubicBezTo>
                    <a:pt x="0" y="6318"/>
                    <a:pt x="6318" y="0"/>
                    <a:pt x="14081" y="0"/>
                  </a:cubicBezTo>
                  <a:cubicBezTo>
                    <a:pt x="21845" y="0"/>
                    <a:pt x="28163" y="6318"/>
                    <a:pt x="28163" y="14081"/>
                  </a:cubicBezTo>
                </a:path>
              </a:pathLst>
            </a:custGeom>
            <a:grpFill/>
            <a:ln w="7608" cap="flat">
              <a:noFill/>
              <a:prstDash val="solid"/>
              <a:miter/>
            </a:ln>
          </p:spPr>
          <p:txBody>
            <a:bodyPr rtlCol="0" anchor="ctr"/>
            <a:lstStyle/>
            <a:p>
              <a:endParaRPr lang="hi-IN"/>
            </a:p>
          </p:txBody>
        </p:sp>
        <p:sp>
          <p:nvSpPr>
            <p:cNvPr id="1242" name="Freeform: Shape 241"/>
            <p:cNvSpPr/>
            <p:nvPr/>
          </p:nvSpPr>
          <p:spPr>
            <a:xfrm>
              <a:off x="8593346" y="2346029"/>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08"/>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243" name="Freeform: Shape 242"/>
            <p:cNvSpPr/>
            <p:nvPr/>
          </p:nvSpPr>
          <p:spPr>
            <a:xfrm>
              <a:off x="8427948" y="2290769"/>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10"/>
                    <a:pt x="19410" y="24966"/>
                    <a:pt x="12483" y="24966"/>
                  </a:cubicBezTo>
                  <a:cubicBezTo>
                    <a:pt x="5556" y="24966"/>
                    <a:pt x="0" y="19333"/>
                    <a:pt x="0" y="12483"/>
                  </a:cubicBezTo>
                  <a:cubicBezTo>
                    <a:pt x="0" y="5557"/>
                    <a:pt x="5632" y="0"/>
                    <a:pt x="12483" y="0"/>
                  </a:cubicBezTo>
                  <a:cubicBezTo>
                    <a:pt x="19334" y="0"/>
                    <a:pt x="24966" y="5557"/>
                    <a:pt x="24966" y="12483"/>
                  </a:cubicBezTo>
                </a:path>
              </a:pathLst>
            </a:custGeom>
            <a:grpFill/>
            <a:ln w="7608" cap="flat">
              <a:noFill/>
              <a:prstDash val="solid"/>
              <a:miter/>
            </a:ln>
          </p:spPr>
          <p:txBody>
            <a:bodyPr rtlCol="0" anchor="ctr"/>
            <a:lstStyle/>
            <a:p>
              <a:endParaRPr lang="hi-IN"/>
            </a:p>
          </p:txBody>
        </p:sp>
        <p:sp>
          <p:nvSpPr>
            <p:cNvPr id="1244" name="Freeform: Shape 243"/>
            <p:cNvSpPr/>
            <p:nvPr/>
          </p:nvSpPr>
          <p:spPr>
            <a:xfrm>
              <a:off x="8258515" y="2249210"/>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76"/>
                    <a:pt x="22835" y="11417"/>
                  </a:cubicBezTo>
                </a:path>
              </a:pathLst>
            </a:custGeom>
            <a:grpFill/>
            <a:ln w="7608" cap="flat">
              <a:noFill/>
              <a:prstDash val="solid"/>
              <a:miter/>
            </a:ln>
          </p:spPr>
          <p:txBody>
            <a:bodyPr rtlCol="0" anchor="ctr"/>
            <a:lstStyle/>
            <a:p>
              <a:endParaRPr lang="hi-IN"/>
            </a:p>
          </p:txBody>
        </p:sp>
        <p:sp>
          <p:nvSpPr>
            <p:cNvPr id="1245" name="Freeform: Shape 244"/>
            <p:cNvSpPr/>
            <p:nvPr/>
          </p:nvSpPr>
          <p:spPr>
            <a:xfrm>
              <a:off x="8086189" y="2221733"/>
              <a:ext cx="20627" cy="20703"/>
            </a:xfrm>
            <a:custGeom>
              <a:avLst/>
              <a:gdLst>
                <a:gd name="connsiteX0" fmla="*/ 20628 w 20627"/>
                <a:gd name="connsiteY0" fmla="*/ 10352 h 20703"/>
                <a:gd name="connsiteX1" fmla="*/ 10275 w 20627"/>
                <a:gd name="connsiteY1" fmla="*/ 20703 h 20703"/>
                <a:gd name="connsiteX2" fmla="*/ 0 w 20627"/>
                <a:gd name="connsiteY2" fmla="*/ 10352 h 20703"/>
                <a:gd name="connsiteX3" fmla="*/ 10275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0"/>
                    <a:pt x="15984" y="20703"/>
                    <a:pt x="10275" y="20703"/>
                  </a:cubicBezTo>
                  <a:cubicBezTo>
                    <a:pt x="4567" y="20703"/>
                    <a:pt x="0" y="16060"/>
                    <a:pt x="0" y="10352"/>
                  </a:cubicBezTo>
                  <a:cubicBezTo>
                    <a:pt x="0" y="4643"/>
                    <a:pt x="4643" y="0"/>
                    <a:pt x="10275" y="0"/>
                  </a:cubicBezTo>
                  <a:cubicBezTo>
                    <a:pt x="16060" y="76"/>
                    <a:pt x="20628" y="4643"/>
                    <a:pt x="20628" y="10352"/>
                  </a:cubicBezTo>
                </a:path>
              </a:pathLst>
            </a:custGeom>
            <a:grpFill/>
            <a:ln w="7608" cap="flat">
              <a:noFill/>
              <a:prstDash val="solid"/>
              <a:miter/>
            </a:ln>
          </p:spPr>
          <p:txBody>
            <a:bodyPr rtlCol="0" anchor="ctr"/>
            <a:lstStyle/>
            <a:p>
              <a:endParaRPr lang="hi-IN"/>
            </a:p>
          </p:txBody>
        </p:sp>
        <p:sp>
          <p:nvSpPr>
            <p:cNvPr id="1246" name="Freeform: Shape 245"/>
            <p:cNvSpPr/>
            <p:nvPr/>
          </p:nvSpPr>
          <p:spPr>
            <a:xfrm>
              <a:off x="7912723" y="2209098"/>
              <a:ext cx="17353" cy="17354"/>
            </a:xfrm>
            <a:custGeom>
              <a:avLst/>
              <a:gdLst>
                <a:gd name="connsiteX0" fmla="*/ 17354 w 17353"/>
                <a:gd name="connsiteY0" fmla="*/ 8677 h 17354"/>
                <a:gd name="connsiteX1" fmla="*/ 8676 w 17353"/>
                <a:gd name="connsiteY1" fmla="*/ 17354 h 17354"/>
                <a:gd name="connsiteX2" fmla="*/ 0 w 17353"/>
                <a:gd name="connsiteY2" fmla="*/ 8677 h 17354"/>
                <a:gd name="connsiteX3" fmla="*/ 8676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2"/>
                    <a:pt x="13472" y="17354"/>
                    <a:pt x="8676" y="17354"/>
                  </a:cubicBezTo>
                  <a:cubicBezTo>
                    <a:pt x="3881" y="17354"/>
                    <a:pt x="0" y="13472"/>
                    <a:pt x="0" y="8677"/>
                  </a:cubicBezTo>
                  <a:cubicBezTo>
                    <a:pt x="0" y="3882"/>
                    <a:pt x="3881" y="0"/>
                    <a:pt x="8676"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247" name="Freeform: Shape 246"/>
            <p:cNvSpPr/>
            <p:nvPr/>
          </p:nvSpPr>
          <p:spPr>
            <a:xfrm>
              <a:off x="7738037" y="2210163"/>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248" name="Freeform: Shape 247"/>
            <p:cNvSpPr/>
            <p:nvPr/>
          </p:nvSpPr>
          <p:spPr>
            <a:xfrm>
              <a:off x="7563961" y="2225539"/>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199"/>
                    <a:pt x="0" y="6546"/>
                  </a:cubicBezTo>
                  <a:cubicBezTo>
                    <a:pt x="0" y="2968"/>
                    <a:pt x="2892" y="0"/>
                    <a:pt x="6546" y="0"/>
                  </a:cubicBezTo>
                  <a:cubicBezTo>
                    <a:pt x="10123" y="0"/>
                    <a:pt x="13092" y="2968"/>
                    <a:pt x="13092" y="6546"/>
                  </a:cubicBezTo>
                </a:path>
              </a:pathLst>
            </a:custGeom>
            <a:grpFill/>
            <a:ln w="7608" cap="flat">
              <a:noFill/>
              <a:prstDash val="solid"/>
              <a:miter/>
            </a:ln>
          </p:spPr>
          <p:txBody>
            <a:bodyPr rtlCol="0" anchor="ctr"/>
            <a:lstStyle/>
            <a:p>
              <a:endParaRPr lang="hi-IN"/>
            </a:p>
          </p:txBody>
        </p:sp>
        <p:sp>
          <p:nvSpPr>
            <p:cNvPr id="1249" name="Freeform: Shape 248"/>
            <p:cNvSpPr/>
            <p:nvPr/>
          </p:nvSpPr>
          <p:spPr>
            <a:xfrm>
              <a:off x="7391712" y="2255224"/>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250" name="Freeform: Shape 249"/>
            <p:cNvSpPr/>
            <p:nvPr/>
          </p:nvSpPr>
          <p:spPr>
            <a:xfrm>
              <a:off x="7222279" y="2298914"/>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79"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251" name="Freeform: Shape 250"/>
            <p:cNvSpPr/>
            <p:nvPr/>
          </p:nvSpPr>
          <p:spPr>
            <a:xfrm>
              <a:off x="7056881" y="2356305"/>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252" name="Freeform: Shape 251"/>
            <p:cNvSpPr/>
            <p:nvPr/>
          </p:nvSpPr>
          <p:spPr>
            <a:xfrm>
              <a:off x="6896125" y="2426559"/>
              <a:ext cx="5480" cy="5480"/>
            </a:xfrm>
            <a:custGeom>
              <a:avLst/>
              <a:gdLst>
                <a:gd name="connsiteX0" fmla="*/ 5481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0" y="5480"/>
                  </a:cubicBezTo>
                  <a:cubicBezTo>
                    <a:pt x="1218" y="5480"/>
                    <a:pt x="0" y="4262"/>
                    <a:pt x="0" y="2740"/>
                  </a:cubicBezTo>
                  <a:cubicBezTo>
                    <a:pt x="0" y="1218"/>
                    <a:pt x="1218" y="0"/>
                    <a:pt x="2740"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253" name="Freeform: Shape 252"/>
            <p:cNvSpPr/>
            <p:nvPr/>
          </p:nvSpPr>
          <p:spPr>
            <a:xfrm>
              <a:off x="6742220" y="2510357"/>
              <a:ext cx="3196" cy="3202"/>
            </a:xfrm>
            <a:custGeom>
              <a:avLst/>
              <a:gdLst>
                <a:gd name="connsiteX0" fmla="*/ 3197 w 3196"/>
                <a:gd name="connsiteY0" fmla="*/ 1604 h 3202"/>
                <a:gd name="connsiteX1" fmla="*/ 1598 w 3196"/>
                <a:gd name="connsiteY1" fmla="*/ 3202 h 3202"/>
                <a:gd name="connsiteX2" fmla="*/ 0 w 3196"/>
                <a:gd name="connsiteY2" fmla="*/ 1604 h 3202"/>
                <a:gd name="connsiteX3" fmla="*/ 1598 w 3196"/>
                <a:gd name="connsiteY3" fmla="*/ 5 h 3202"/>
                <a:gd name="connsiteX4" fmla="*/ 3197 w 3196"/>
                <a:gd name="connsiteY4" fmla="*/ 1604 h 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202">
                  <a:moveTo>
                    <a:pt x="3197" y="1604"/>
                  </a:moveTo>
                  <a:cubicBezTo>
                    <a:pt x="3197" y="2517"/>
                    <a:pt x="2435" y="3202"/>
                    <a:pt x="1598" y="3202"/>
                  </a:cubicBezTo>
                  <a:cubicBezTo>
                    <a:pt x="685" y="3202"/>
                    <a:pt x="0" y="2441"/>
                    <a:pt x="0" y="1604"/>
                  </a:cubicBezTo>
                  <a:cubicBezTo>
                    <a:pt x="0" y="690"/>
                    <a:pt x="761" y="5"/>
                    <a:pt x="1598" y="5"/>
                  </a:cubicBezTo>
                  <a:cubicBezTo>
                    <a:pt x="2511" y="-71"/>
                    <a:pt x="3197" y="690"/>
                    <a:pt x="3197" y="1604"/>
                  </a:cubicBezTo>
                </a:path>
              </a:pathLst>
            </a:custGeom>
            <a:grpFill/>
            <a:ln w="7608" cap="flat">
              <a:noFill/>
              <a:prstDash val="solid"/>
              <a:miter/>
            </a:ln>
          </p:spPr>
          <p:txBody>
            <a:bodyPr rtlCol="0" anchor="ctr"/>
            <a:lstStyle/>
            <a:p>
              <a:endParaRPr lang="hi-IN"/>
            </a:p>
          </p:txBody>
        </p:sp>
        <p:sp>
          <p:nvSpPr>
            <p:cNvPr id="1254" name="Freeform: Shape 253"/>
            <p:cNvSpPr/>
            <p:nvPr/>
          </p:nvSpPr>
          <p:spPr>
            <a:xfrm>
              <a:off x="6594936" y="2605887"/>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599" y="0"/>
                    <a:pt x="2131" y="457"/>
                    <a:pt x="2131" y="1066"/>
                  </a:cubicBezTo>
                </a:path>
              </a:pathLst>
            </a:custGeom>
            <a:grpFill/>
            <a:ln w="7608" cap="flat">
              <a:noFill/>
              <a:prstDash val="solid"/>
              <a:miter/>
            </a:ln>
          </p:spPr>
          <p:txBody>
            <a:bodyPr rtlCol="0" anchor="ctr"/>
            <a:lstStyle/>
            <a:p>
              <a:endParaRPr lang="hi-IN"/>
            </a:p>
          </p:txBody>
        </p:sp>
        <p:sp>
          <p:nvSpPr>
            <p:cNvPr id="1255" name="Freeform: Shape 254"/>
            <p:cNvSpPr/>
            <p:nvPr/>
          </p:nvSpPr>
          <p:spPr>
            <a:xfrm>
              <a:off x="6455873" y="2713134"/>
              <a:ext cx="1065" cy="1065"/>
            </a:xfrm>
            <a:custGeom>
              <a:avLst/>
              <a:gdLst>
                <a:gd name="connsiteX0" fmla="*/ 1065 w 1065"/>
                <a:gd name="connsiteY0" fmla="*/ 533 h 1065"/>
                <a:gd name="connsiteX1" fmla="*/ 532 w 1065"/>
                <a:gd name="connsiteY1" fmla="*/ 1065 h 1065"/>
                <a:gd name="connsiteX2" fmla="*/ 0 w 1065"/>
                <a:gd name="connsiteY2" fmla="*/ 533 h 1065"/>
                <a:gd name="connsiteX3" fmla="*/ 532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2" y="1065"/>
                  </a:cubicBezTo>
                  <a:cubicBezTo>
                    <a:pt x="228" y="1065"/>
                    <a:pt x="0" y="837"/>
                    <a:pt x="0" y="533"/>
                  </a:cubicBezTo>
                  <a:cubicBezTo>
                    <a:pt x="0" y="228"/>
                    <a:pt x="228" y="0"/>
                    <a:pt x="532"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256" name="Freeform: Shape 255"/>
            <p:cNvSpPr/>
            <p:nvPr/>
          </p:nvSpPr>
          <p:spPr>
            <a:xfrm>
              <a:off x="6325412" y="2830885"/>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8" y="1065"/>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257" name="Freeform: Shape 256"/>
            <p:cNvSpPr/>
            <p:nvPr/>
          </p:nvSpPr>
          <p:spPr>
            <a:xfrm>
              <a:off x="9555598" y="5967906"/>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304"/>
                    <a:pt x="1066" y="533"/>
                  </a:cubicBezTo>
                </a:path>
              </a:pathLst>
            </a:custGeom>
            <a:grpFill/>
            <a:ln w="7608" cap="flat">
              <a:noFill/>
              <a:prstDash val="solid"/>
              <a:miter/>
            </a:ln>
          </p:spPr>
          <p:txBody>
            <a:bodyPr rtlCol="0" anchor="ctr"/>
            <a:lstStyle/>
            <a:p>
              <a:endParaRPr lang="hi-IN"/>
            </a:p>
          </p:txBody>
        </p:sp>
        <p:sp>
          <p:nvSpPr>
            <p:cNvPr id="1258" name="Freeform: Shape 257"/>
            <p:cNvSpPr/>
            <p:nvPr/>
          </p:nvSpPr>
          <p:spPr>
            <a:xfrm>
              <a:off x="9669771" y="5834171"/>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6" y="2131"/>
                    <a:pt x="0" y="1675"/>
                    <a:pt x="0" y="1066"/>
                  </a:cubicBezTo>
                  <a:cubicBezTo>
                    <a:pt x="0" y="457"/>
                    <a:pt x="456" y="0"/>
                    <a:pt x="1066" y="0"/>
                  </a:cubicBezTo>
                  <a:cubicBezTo>
                    <a:pt x="1674" y="0"/>
                    <a:pt x="2131" y="533"/>
                    <a:pt x="2131" y="1066"/>
                  </a:cubicBezTo>
                </a:path>
              </a:pathLst>
            </a:custGeom>
            <a:grpFill/>
            <a:ln w="7608" cap="flat">
              <a:noFill/>
              <a:prstDash val="solid"/>
              <a:miter/>
            </a:ln>
          </p:spPr>
          <p:txBody>
            <a:bodyPr rtlCol="0" anchor="ctr"/>
            <a:lstStyle/>
            <a:p>
              <a:endParaRPr lang="hi-IN"/>
            </a:p>
          </p:txBody>
        </p:sp>
        <p:sp>
          <p:nvSpPr>
            <p:cNvPr id="1259" name="Freeform: Shape 258"/>
            <p:cNvSpPr/>
            <p:nvPr/>
          </p:nvSpPr>
          <p:spPr>
            <a:xfrm>
              <a:off x="9774125" y="5692824"/>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260" name="Freeform: Shape 259"/>
            <p:cNvSpPr/>
            <p:nvPr/>
          </p:nvSpPr>
          <p:spPr>
            <a:xfrm>
              <a:off x="9866377" y="5542877"/>
              <a:ext cx="4415" cy="4414"/>
            </a:xfrm>
            <a:custGeom>
              <a:avLst/>
              <a:gdLst>
                <a:gd name="connsiteX0" fmla="*/ 4415 w 4415"/>
                <a:gd name="connsiteY0" fmla="*/ 2208 h 4414"/>
                <a:gd name="connsiteX1" fmla="*/ 2208 w 4415"/>
                <a:gd name="connsiteY1" fmla="*/ 4415 h 4414"/>
                <a:gd name="connsiteX2" fmla="*/ 0 w 4415"/>
                <a:gd name="connsiteY2" fmla="*/ 2208 h 4414"/>
                <a:gd name="connsiteX3" fmla="*/ 2208 w 4415"/>
                <a:gd name="connsiteY3" fmla="*/ 0 h 4414"/>
                <a:gd name="connsiteX4" fmla="*/ 4415 w 4415"/>
                <a:gd name="connsiteY4" fmla="*/ 2208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8"/>
                  </a:moveTo>
                  <a:cubicBezTo>
                    <a:pt x="4415" y="3425"/>
                    <a:pt x="3426" y="4415"/>
                    <a:pt x="2208" y="4415"/>
                  </a:cubicBezTo>
                  <a:cubicBezTo>
                    <a:pt x="990" y="4415"/>
                    <a:pt x="0" y="3425"/>
                    <a:pt x="0" y="2208"/>
                  </a:cubicBezTo>
                  <a:cubicBezTo>
                    <a:pt x="0" y="990"/>
                    <a:pt x="990" y="0"/>
                    <a:pt x="2208" y="0"/>
                  </a:cubicBezTo>
                  <a:cubicBezTo>
                    <a:pt x="3426" y="0"/>
                    <a:pt x="4415" y="990"/>
                    <a:pt x="4415" y="2208"/>
                  </a:cubicBezTo>
                </a:path>
              </a:pathLst>
            </a:custGeom>
            <a:grpFill/>
            <a:ln w="7608" cap="flat">
              <a:noFill/>
              <a:prstDash val="solid"/>
              <a:miter/>
            </a:ln>
          </p:spPr>
          <p:txBody>
            <a:bodyPr rtlCol="0" anchor="ctr"/>
            <a:lstStyle/>
            <a:p>
              <a:endParaRPr lang="hi-IN"/>
            </a:p>
          </p:txBody>
        </p:sp>
        <p:sp>
          <p:nvSpPr>
            <p:cNvPr id="1261" name="Freeform: Shape 260"/>
            <p:cNvSpPr/>
            <p:nvPr/>
          </p:nvSpPr>
          <p:spPr>
            <a:xfrm>
              <a:off x="9947972" y="5386993"/>
              <a:ext cx="5481" cy="5480"/>
            </a:xfrm>
            <a:custGeom>
              <a:avLst/>
              <a:gdLst>
                <a:gd name="connsiteX0" fmla="*/ 5481 w 5481"/>
                <a:gd name="connsiteY0" fmla="*/ 2740 h 5480"/>
                <a:gd name="connsiteX1" fmla="*/ 2741 w 5481"/>
                <a:gd name="connsiteY1" fmla="*/ 5481 h 5480"/>
                <a:gd name="connsiteX2" fmla="*/ 0 w 5481"/>
                <a:gd name="connsiteY2" fmla="*/ 2740 h 5480"/>
                <a:gd name="connsiteX3" fmla="*/ 2741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1"/>
                    <a:pt x="2741" y="5481"/>
                  </a:cubicBezTo>
                  <a:cubicBezTo>
                    <a:pt x="1218" y="5481"/>
                    <a:pt x="0" y="4262"/>
                    <a:pt x="0" y="2740"/>
                  </a:cubicBezTo>
                  <a:cubicBezTo>
                    <a:pt x="0" y="1218"/>
                    <a:pt x="1218" y="0"/>
                    <a:pt x="2741" y="0"/>
                  </a:cubicBezTo>
                  <a:cubicBezTo>
                    <a:pt x="4263" y="0"/>
                    <a:pt x="5481" y="1218"/>
                    <a:pt x="5481" y="2740"/>
                  </a:cubicBezTo>
                </a:path>
              </a:pathLst>
            </a:custGeom>
            <a:grpFill/>
            <a:ln w="7608" cap="flat">
              <a:noFill/>
              <a:prstDash val="solid"/>
              <a:miter/>
            </a:ln>
          </p:spPr>
          <p:txBody>
            <a:bodyPr rtlCol="0" anchor="ctr"/>
            <a:lstStyle/>
            <a:p>
              <a:endParaRPr lang="hi-IN"/>
            </a:p>
          </p:txBody>
        </p:sp>
        <p:sp>
          <p:nvSpPr>
            <p:cNvPr id="1262" name="Freeform: Shape 261"/>
            <p:cNvSpPr/>
            <p:nvPr/>
          </p:nvSpPr>
          <p:spPr>
            <a:xfrm>
              <a:off x="10017238" y="5224791"/>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5"/>
                    <a:pt x="1674" y="0"/>
                    <a:pt x="3806" y="0"/>
                  </a:cubicBezTo>
                  <a:cubicBezTo>
                    <a:pt x="5860" y="76"/>
                    <a:pt x="7612" y="1751"/>
                    <a:pt x="7612" y="3806"/>
                  </a:cubicBezTo>
                </a:path>
              </a:pathLst>
            </a:custGeom>
            <a:grpFill/>
            <a:ln w="7608" cap="flat">
              <a:noFill/>
              <a:prstDash val="solid"/>
              <a:miter/>
            </a:ln>
          </p:spPr>
          <p:txBody>
            <a:bodyPr rtlCol="0" anchor="ctr"/>
            <a:lstStyle/>
            <a:p>
              <a:endParaRPr lang="hi-IN"/>
            </a:p>
          </p:txBody>
        </p:sp>
        <p:sp>
          <p:nvSpPr>
            <p:cNvPr id="1263" name="Freeform: Shape 262"/>
            <p:cNvSpPr/>
            <p:nvPr/>
          </p:nvSpPr>
          <p:spPr>
            <a:xfrm>
              <a:off x="10074249" y="5057870"/>
              <a:ext cx="9742" cy="9742"/>
            </a:xfrm>
            <a:custGeom>
              <a:avLst/>
              <a:gdLst>
                <a:gd name="connsiteX0" fmla="*/ 9742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2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2" y="4871"/>
                  </a:moveTo>
                  <a:cubicBezTo>
                    <a:pt x="9742" y="7535"/>
                    <a:pt x="7535" y="9743"/>
                    <a:pt x="4871" y="9743"/>
                  </a:cubicBezTo>
                  <a:cubicBezTo>
                    <a:pt x="2131" y="9743"/>
                    <a:pt x="0" y="7535"/>
                    <a:pt x="0" y="4871"/>
                  </a:cubicBezTo>
                  <a:cubicBezTo>
                    <a:pt x="0" y="2207"/>
                    <a:pt x="2207" y="0"/>
                    <a:pt x="4871" y="0"/>
                  </a:cubicBezTo>
                  <a:cubicBezTo>
                    <a:pt x="7535" y="0"/>
                    <a:pt x="9742" y="2207"/>
                    <a:pt x="9742" y="4871"/>
                  </a:cubicBezTo>
                </a:path>
              </a:pathLst>
            </a:custGeom>
            <a:grpFill/>
            <a:ln w="7608" cap="flat">
              <a:noFill/>
              <a:prstDash val="solid"/>
              <a:miter/>
            </a:ln>
          </p:spPr>
          <p:txBody>
            <a:bodyPr rtlCol="0" anchor="ctr"/>
            <a:lstStyle/>
            <a:p>
              <a:endParaRPr lang="hi-IN"/>
            </a:p>
          </p:txBody>
        </p:sp>
        <p:sp>
          <p:nvSpPr>
            <p:cNvPr id="1264" name="Freeform: Shape 263"/>
            <p:cNvSpPr/>
            <p:nvPr/>
          </p:nvSpPr>
          <p:spPr>
            <a:xfrm>
              <a:off x="10118547" y="4887067"/>
              <a:ext cx="11950" cy="11873"/>
            </a:xfrm>
            <a:custGeom>
              <a:avLst/>
              <a:gdLst>
                <a:gd name="connsiteX0" fmla="*/ 11951 w 11950"/>
                <a:gd name="connsiteY0" fmla="*/ 5937 h 11873"/>
                <a:gd name="connsiteX1" fmla="*/ 6013 w 11950"/>
                <a:gd name="connsiteY1" fmla="*/ 11874 h 11873"/>
                <a:gd name="connsiteX2" fmla="*/ 0 w 11950"/>
                <a:gd name="connsiteY2" fmla="*/ 5937 h 11873"/>
                <a:gd name="connsiteX3" fmla="*/ 6013 w 11950"/>
                <a:gd name="connsiteY3" fmla="*/ 0 h 11873"/>
                <a:gd name="connsiteX4" fmla="*/ 11951 w 11950"/>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3">
                  <a:moveTo>
                    <a:pt x="11951" y="5937"/>
                  </a:moveTo>
                  <a:cubicBezTo>
                    <a:pt x="11951" y="9210"/>
                    <a:pt x="9286" y="11874"/>
                    <a:pt x="6013" y="11874"/>
                  </a:cubicBezTo>
                  <a:cubicBezTo>
                    <a:pt x="2740" y="11874"/>
                    <a:pt x="0" y="9210"/>
                    <a:pt x="0" y="5937"/>
                  </a:cubicBezTo>
                  <a:cubicBezTo>
                    <a:pt x="0" y="2664"/>
                    <a:pt x="2664" y="0"/>
                    <a:pt x="6013" y="0"/>
                  </a:cubicBezTo>
                  <a:cubicBezTo>
                    <a:pt x="9286" y="0"/>
                    <a:pt x="11951" y="2664"/>
                    <a:pt x="11951" y="5937"/>
                  </a:cubicBezTo>
                </a:path>
              </a:pathLst>
            </a:custGeom>
            <a:grpFill/>
            <a:ln w="7608" cap="flat">
              <a:noFill/>
              <a:prstDash val="solid"/>
              <a:miter/>
            </a:ln>
          </p:spPr>
          <p:txBody>
            <a:bodyPr rtlCol="0" anchor="ctr"/>
            <a:lstStyle/>
            <a:p>
              <a:endParaRPr lang="hi-IN"/>
            </a:p>
          </p:txBody>
        </p:sp>
        <p:sp>
          <p:nvSpPr>
            <p:cNvPr id="1265" name="Freeform: Shape 264"/>
            <p:cNvSpPr/>
            <p:nvPr/>
          </p:nvSpPr>
          <p:spPr>
            <a:xfrm>
              <a:off x="10150135" y="4713295"/>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8"/>
                    <a:pt x="7079" y="14158"/>
                  </a:cubicBezTo>
                  <a:cubicBezTo>
                    <a:pt x="3197" y="14158"/>
                    <a:pt x="0" y="10961"/>
                    <a:pt x="0" y="7079"/>
                  </a:cubicBezTo>
                  <a:cubicBezTo>
                    <a:pt x="0" y="3197"/>
                    <a:pt x="3197" y="0"/>
                    <a:pt x="7079" y="0"/>
                  </a:cubicBezTo>
                  <a:cubicBezTo>
                    <a:pt x="10960" y="0"/>
                    <a:pt x="14157" y="3121"/>
                    <a:pt x="14157" y="7079"/>
                  </a:cubicBezTo>
                </a:path>
              </a:pathLst>
            </a:custGeom>
            <a:grpFill/>
            <a:ln w="7608" cap="flat">
              <a:noFill/>
              <a:prstDash val="solid"/>
              <a:miter/>
            </a:ln>
          </p:spPr>
          <p:txBody>
            <a:bodyPr rtlCol="0" anchor="ctr"/>
            <a:lstStyle/>
            <a:p>
              <a:endParaRPr lang="hi-IN"/>
            </a:p>
          </p:txBody>
        </p:sp>
        <p:sp>
          <p:nvSpPr>
            <p:cNvPr id="1266" name="Freeform: Shape 265"/>
            <p:cNvSpPr/>
            <p:nvPr/>
          </p:nvSpPr>
          <p:spPr>
            <a:xfrm>
              <a:off x="10168251" y="4537012"/>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4"/>
                    <a:pt x="8677" y="17354"/>
                  </a:cubicBezTo>
                  <a:cubicBezTo>
                    <a:pt x="3882" y="17354"/>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267" name="Freeform: Shape 266"/>
            <p:cNvSpPr/>
            <p:nvPr/>
          </p:nvSpPr>
          <p:spPr>
            <a:xfrm>
              <a:off x="10173731" y="4360348"/>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415" y="0"/>
                    <a:pt x="9743" y="0"/>
                  </a:cubicBezTo>
                  <a:cubicBezTo>
                    <a:pt x="15147" y="0"/>
                    <a:pt x="19486" y="4339"/>
                    <a:pt x="19486" y="9743"/>
                  </a:cubicBezTo>
                </a:path>
              </a:pathLst>
            </a:custGeom>
            <a:grpFill/>
            <a:ln w="7608" cap="flat">
              <a:noFill/>
              <a:prstDash val="solid"/>
              <a:miter/>
            </a:ln>
          </p:spPr>
          <p:txBody>
            <a:bodyPr rtlCol="0" anchor="ctr"/>
            <a:lstStyle/>
            <a:p>
              <a:endParaRPr lang="hi-IN"/>
            </a:p>
          </p:txBody>
        </p:sp>
        <p:sp>
          <p:nvSpPr>
            <p:cNvPr id="1268" name="Freeform: Shape 267"/>
            <p:cNvSpPr/>
            <p:nvPr/>
          </p:nvSpPr>
          <p:spPr>
            <a:xfrm>
              <a:off x="10165967" y="4183608"/>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7"/>
                    <a:pt x="16898" y="21769"/>
                    <a:pt x="10885" y="21769"/>
                  </a:cubicBezTo>
                  <a:cubicBezTo>
                    <a:pt x="4871" y="21769"/>
                    <a:pt x="0" y="16897"/>
                    <a:pt x="0" y="10884"/>
                  </a:cubicBezTo>
                  <a:cubicBezTo>
                    <a:pt x="0" y="4871"/>
                    <a:pt x="4871" y="0"/>
                    <a:pt x="10885" y="0"/>
                  </a:cubicBezTo>
                  <a:cubicBezTo>
                    <a:pt x="16898" y="0"/>
                    <a:pt x="21769" y="4871"/>
                    <a:pt x="21769" y="10884"/>
                  </a:cubicBezTo>
                </a:path>
              </a:pathLst>
            </a:custGeom>
            <a:grpFill/>
            <a:ln w="7608" cap="flat">
              <a:noFill/>
              <a:prstDash val="solid"/>
              <a:miter/>
            </a:ln>
          </p:spPr>
          <p:txBody>
            <a:bodyPr rtlCol="0" anchor="ctr"/>
            <a:lstStyle/>
            <a:p>
              <a:endParaRPr lang="hi-IN"/>
            </a:p>
          </p:txBody>
        </p:sp>
        <p:sp>
          <p:nvSpPr>
            <p:cNvPr id="1269" name="Freeform: Shape 268"/>
            <p:cNvSpPr/>
            <p:nvPr/>
          </p:nvSpPr>
          <p:spPr>
            <a:xfrm>
              <a:off x="10144732" y="4007401"/>
              <a:ext cx="24965" cy="24966"/>
            </a:xfrm>
            <a:custGeom>
              <a:avLst/>
              <a:gdLst>
                <a:gd name="connsiteX0" fmla="*/ 24965 w 24965"/>
                <a:gd name="connsiteY0" fmla="*/ 12483 h 24966"/>
                <a:gd name="connsiteX1" fmla="*/ 12483 w 24965"/>
                <a:gd name="connsiteY1" fmla="*/ 24966 h 24966"/>
                <a:gd name="connsiteX2" fmla="*/ 0 w 24965"/>
                <a:gd name="connsiteY2" fmla="*/ 12483 h 24966"/>
                <a:gd name="connsiteX3" fmla="*/ 12483 w 24965"/>
                <a:gd name="connsiteY3" fmla="*/ 0 h 24966"/>
                <a:gd name="connsiteX4" fmla="*/ 24965 w 24965"/>
                <a:gd name="connsiteY4" fmla="*/ 12483 h 24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5" h="24966">
                  <a:moveTo>
                    <a:pt x="24965" y="12483"/>
                  </a:moveTo>
                  <a:cubicBezTo>
                    <a:pt x="24965" y="19409"/>
                    <a:pt x="19409" y="24966"/>
                    <a:pt x="12483" y="24966"/>
                  </a:cubicBezTo>
                  <a:cubicBezTo>
                    <a:pt x="5556" y="24966"/>
                    <a:pt x="0" y="19409"/>
                    <a:pt x="0" y="12483"/>
                  </a:cubicBezTo>
                  <a:cubicBezTo>
                    <a:pt x="0" y="5556"/>
                    <a:pt x="5632" y="0"/>
                    <a:pt x="12483" y="0"/>
                  </a:cubicBezTo>
                  <a:cubicBezTo>
                    <a:pt x="19409" y="0"/>
                    <a:pt x="24965" y="5556"/>
                    <a:pt x="24965" y="12483"/>
                  </a:cubicBezTo>
                </a:path>
              </a:pathLst>
            </a:custGeom>
            <a:grpFill/>
            <a:ln w="7608" cap="flat">
              <a:noFill/>
              <a:prstDash val="solid"/>
              <a:miter/>
            </a:ln>
          </p:spPr>
          <p:txBody>
            <a:bodyPr rtlCol="0" anchor="ctr"/>
            <a:lstStyle/>
            <a:p>
              <a:endParaRPr lang="hi-IN"/>
            </a:p>
          </p:txBody>
        </p:sp>
        <p:sp>
          <p:nvSpPr>
            <p:cNvPr id="1270" name="Freeform: Shape 269"/>
            <p:cNvSpPr/>
            <p:nvPr/>
          </p:nvSpPr>
          <p:spPr>
            <a:xfrm>
              <a:off x="10111012" y="3833629"/>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4"/>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271" name="Freeform: Shape 270"/>
            <p:cNvSpPr/>
            <p:nvPr/>
          </p:nvSpPr>
          <p:spPr>
            <a:xfrm>
              <a:off x="10064353" y="3662750"/>
              <a:ext cx="29380" cy="29380"/>
            </a:xfrm>
            <a:custGeom>
              <a:avLst/>
              <a:gdLst>
                <a:gd name="connsiteX0" fmla="*/ 29380 w 29380"/>
                <a:gd name="connsiteY0" fmla="*/ 14690 h 29380"/>
                <a:gd name="connsiteX1" fmla="*/ 14691 w 29380"/>
                <a:gd name="connsiteY1" fmla="*/ 29381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1" y="29381"/>
                  </a:cubicBezTo>
                  <a:cubicBezTo>
                    <a:pt x="6546" y="29381"/>
                    <a:pt x="0" y="22835"/>
                    <a:pt x="0" y="14690"/>
                  </a:cubicBezTo>
                  <a:cubicBezTo>
                    <a:pt x="0" y="6622"/>
                    <a:pt x="6546" y="0"/>
                    <a:pt x="14691" y="0"/>
                  </a:cubicBezTo>
                  <a:cubicBezTo>
                    <a:pt x="22835" y="0"/>
                    <a:pt x="29380" y="6622"/>
                    <a:pt x="29380" y="14690"/>
                  </a:cubicBezTo>
                </a:path>
              </a:pathLst>
            </a:custGeom>
            <a:grpFill/>
            <a:ln w="7608" cap="flat">
              <a:noFill/>
              <a:prstDash val="solid"/>
              <a:miter/>
            </a:ln>
          </p:spPr>
          <p:txBody>
            <a:bodyPr rtlCol="0" anchor="ctr"/>
            <a:lstStyle/>
            <a:p>
              <a:endParaRPr lang="hi-IN"/>
            </a:p>
          </p:txBody>
        </p:sp>
        <p:sp>
          <p:nvSpPr>
            <p:cNvPr id="1272" name="Freeform: Shape 271"/>
            <p:cNvSpPr/>
            <p:nvPr/>
          </p:nvSpPr>
          <p:spPr>
            <a:xfrm>
              <a:off x="10005288" y="3495829"/>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4" y="31512"/>
                    <a:pt x="15756" y="31512"/>
                  </a:cubicBezTo>
                  <a:cubicBezTo>
                    <a:pt x="7079" y="31512"/>
                    <a:pt x="0" y="24433"/>
                    <a:pt x="0" y="15756"/>
                  </a:cubicBezTo>
                  <a:cubicBezTo>
                    <a:pt x="0" y="7079"/>
                    <a:pt x="7079" y="0"/>
                    <a:pt x="15756" y="0"/>
                  </a:cubicBezTo>
                  <a:cubicBezTo>
                    <a:pt x="24434" y="0"/>
                    <a:pt x="31512" y="7079"/>
                    <a:pt x="31512" y="15756"/>
                  </a:cubicBezTo>
                </a:path>
              </a:pathLst>
            </a:custGeom>
            <a:grpFill/>
            <a:ln w="7608" cap="flat">
              <a:noFill/>
              <a:prstDash val="solid"/>
              <a:miter/>
            </a:ln>
          </p:spPr>
          <p:txBody>
            <a:bodyPr rtlCol="0" anchor="ctr"/>
            <a:lstStyle/>
            <a:p>
              <a:endParaRPr lang="hi-IN"/>
            </a:p>
          </p:txBody>
        </p:sp>
        <p:sp>
          <p:nvSpPr>
            <p:cNvPr id="1273" name="Freeform: Shape 272"/>
            <p:cNvSpPr/>
            <p:nvPr/>
          </p:nvSpPr>
          <p:spPr>
            <a:xfrm>
              <a:off x="9934501" y="3334236"/>
              <a:ext cx="32576" cy="32577"/>
            </a:xfrm>
            <a:custGeom>
              <a:avLst/>
              <a:gdLst>
                <a:gd name="connsiteX0" fmla="*/ 32577 w 32576"/>
                <a:gd name="connsiteY0" fmla="*/ 16289 h 32577"/>
                <a:gd name="connsiteX1" fmla="*/ 16288 w 32576"/>
                <a:gd name="connsiteY1" fmla="*/ 32577 h 32577"/>
                <a:gd name="connsiteX2" fmla="*/ 0 w 32576"/>
                <a:gd name="connsiteY2" fmla="*/ 16289 h 32577"/>
                <a:gd name="connsiteX3" fmla="*/ 16288 w 32576"/>
                <a:gd name="connsiteY3" fmla="*/ 0 h 32577"/>
                <a:gd name="connsiteX4" fmla="*/ 32577 w 32576"/>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6" h="32577">
                  <a:moveTo>
                    <a:pt x="32577" y="16289"/>
                  </a:moveTo>
                  <a:cubicBezTo>
                    <a:pt x="32577" y="25270"/>
                    <a:pt x="25270" y="32577"/>
                    <a:pt x="16288" y="32577"/>
                  </a:cubicBezTo>
                  <a:cubicBezTo>
                    <a:pt x="7307" y="32577"/>
                    <a:pt x="0" y="25270"/>
                    <a:pt x="0" y="16289"/>
                  </a:cubicBezTo>
                  <a:cubicBezTo>
                    <a:pt x="0" y="7307"/>
                    <a:pt x="7307" y="0"/>
                    <a:pt x="16288" y="0"/>
                  </a:cubicBezTo>
                  <a:cubicBezTo>
                    <a:pt x="25270" y="0"/>
                    <a:pt x="32577" y="7231"/>
                    <a:pt x="32577" y="16289"/>
                  </a:cubicBezTo>
                </a:path>
              </a:pathLst>
            </a:custGeom>
            <a:grpFill/>
            <a:ln w="7608" cap="flat">
              <a:noFill/>
              <a:prstDash val="solid"/>
              <a:miter/>
            </a:ln>
          </p:spPr>
          <p:txBody>
            <a:bodyPr rtlCol="0" anchor="ctr"/>
            <a:lstStyle/>
            <a:p>
              <a:endParaRPr lang="hi-IN"/>
            </a:p>
          </p:txBody>
        </p:sp>
        <p:sp>
          <p:nvSpPr>
            <p:cNvPr id="1274" name="Freeform: Shape 273"/>
            <p:cNvSpPr/>
            <p:nvPr/>
          </p:nvSpPr>
          <p:spPr>
            <a:xfrm>
              <a:off x="9851839" y="3178275"/>
              <a:ext cx="33643" cy="33643"/>
            </a:xfrm>
            <a:custGeom>
              <a:avLst/>
              <a:gdLst>
                <a:gd name="connsiteX0" fmla="*/ 33643 w 33643"/>
                <a:gd name="connsiteY0" fmla="*/ 16821 h 33643"/>
                <a:gd name="connsiteX1" fmla="*/ 16822 w 33643"/>
                <a:gd name="connsiteY1" fmla="*/ 33643 h 33643"/>
                <a:gd name="connsiteX2" fmla="*/ 0 w 33643"/>
                <a:gd name="connsiteY2" fmla="*/ 16821 h 33643"/>
                <a:gd name="connsiteX3" fmla="*/ 16822 w 33643"/>
                <a:gd name="connsiteY3" fmla="*/ 0 h 33643"/>
                <a:gd name="connsiteX4" fmla="*/ 33643 w 33643"/>
                <a:gd name="connsiteY4" fmla="*/ 16821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3">
                  <a:moveTo>
                    <a:pt x="33643" y="16821"/>
                  </a:moveTo>
                  <a:cubicBezTo>
                    <a:pt x="33643" y="26108"/>
                    <a:pt x="26108" y="33643"/>
                    <a:pt x="16822" y="33643"/>
                  </a:cubicBezTo>
                  <a:cubicBezTo>
                    <a:pt x="7536" y="33643"/>
                    <a:pt x="0" y="26108"/>
                    <a:pt x="0" y="16821"/>
                  </a:cubicBezTo>
                  <a:cubicBezTo>
                    <a:pt x="0" y="7535"/>
                    <a:pt x="7536" y="0"/>
                    <a:pt x="16822" y="0"/>
                  </a:cubicBezTo>
                  <a:cubicBezTo>
                    <a:pt x="26108" y="0"/>
                    <a:pt x="33643" y="7535"/>
                    <a:pt x="33643" y="16821"/>
                  </a:cubicBezTo>
                </a:path>
              </a:pathLst>
            </a:custGeom>
            <a:grpFill/>
            <a:ln w="7608" cap="flat">
              <a:noFill/>
              <a:prstDash val="solid"/>
              <a:miter/>
            </a:ln>
          </p:spPr>
          <p:txBody>
            <a:bodyPr rtlCol="0" anchor="ctr"/>
            <a:lstStyle/>
            <a:p>
              <a:endParaRPr lang="hi-IN"/>
            </a:p>
          </p:txBody>
        </p:sp>
        <p:sp>
          <p:nvSpPr>
            <p:cNvPr id="1275" name="Freeform: Shape 274"/>
            <p:cNvSpPr/>
            <p:nvPr/>
          </p:nvSpPr>
          <p:spPr>
            <a:xfrm>
              <a:off x="9757836" y="3028937"/>
              <a:ext cx="34709" cy="34708"/>
            </a:xfrm>
            <a:custGeom>
              <a:avLst/>
              <a:gdLst>
                <a:gd name="connsiteX0" fmla="*/ 34709 w 34709"/>
                <a:gd name="connsiteY0" fmla="*/ 17354 h 34708"/>
                <a:gd name="connsiteX1" fmla="*/ 17355 w 34709"/>
                <a:gd name="connsiteY1" fmla="*/ 34709 h 34708"/>
                <a:gd name="connsiteX2" fmla="*/ 0 w 34709"/>
                <a:gd name="connsiteY2" fmla="*/ 17354 h 34708"/>
                <a:gd name="connsiteX3" fmla="*/ 17355 w 34709"/>
                <a:gd name="connsiteY3" fmla="*/ 0 h 34708"/>
                <a:gd name="connsiteX4" fmla="*/ 34709 w 34709"/>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8">
                  <a:moveTo>
                    <a:pt x="34709" y="17354"/>
                  </a:moveTo>
                  <a:cubicBezTo>
                    <a:pt x="34709" y="26945"/>
                    <a:pt x="26945" y="34709"/>
                    <a:pt x="17355" y="34709"/>
                  </a:cubicBezTo>
                  <a:cubicBezTo>
                    <a:pt x="7764" y="34709"/>
                    <a:pt x="0" y="26945"/>
                    <a:pt x="0" y="17354"/>
                  </a:cubicBezTo>
                  <a:cubicBezTo>
                    <a:pt x="0" y="7764"/>
                    <a:pt x="7764" y="0"/>
                    <a:pt x="17355" y="0"/>
                  </a:cubicBezTo>
                  <a:cubicBezTo>
                    <a:pt x="26869" y="0"/>
                    <a:pt x="34709" y="7764"/>
                    <a:pt x="34709" y="17354"/>
                  </a:cubicBezTo>
                </a:path>
              </a:pathLst>
            </a:custGeom>
            <a:grpFill/>
            <a:ln w="7608" cap="flat">
              <a:noFill/>
              <a:prstDash val="solid"/>
              <a:miter/>
            </a:ln>
          </p:spPr>
          <p:txBody>
            <a:bodyPr rtlCol="0" anchor="ctr"/>
            <a:lstStyle/>
            <a:p>
              <a:endParaRPr lang="hi-IN"/>
            </a:p>
          </p:txBody>
        </p:sp>
        <p:sp>
          <p:nvSpPr>
            <p:cNvPr id="1276" name="Freeform: Shape 275"/>
            <p:cNvSpPr/>
            <p:nvPr/>
          </p:nvSpPr>
          <p:spPr>
            <a:xfrm>
              <a:off x="9652950" y="2887058"/>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1" y="35774"/>
                    <a:pt x="17887" y="35774"/>
                  </a:cubicBezTo>
                  <a:cubicBezTo>
                    <a:pt x="7992" y="35774"/>
                    <a:pt x="0" y="27782"/>
                    <a:pt x="0" y="17887"/>
                  </a:cubicBezTo>
                  <a:cubicBezTo>
                    <a:pt x="0" y="7992"/>
                    <a:pt x="7992" y="0"/>
                    <a:pt x="17887" y="0"/>
                  </a:cubicBezTo>
                  <a:cubicBezTo>
                    <a:pt x="27781" y="0"/>
                    <a:pt x="35774" y="7992"/>
                    <a:pt x="35774" y="17887"/>
                  </a:cubicBezTo>
                </a:path>
              </a:pathLst>
            </a:custGeom>
            <a:grpFill/>
            <a:ln w="7608" cap="flat">
              <a:noFill/>
              <a:prstDash val="solid"/>
              <a:miter/>
            </a:ln>
          </p:spPr>
          <p:txBody>
            <a:bodyPr rtlCol="0" anchor="ctr"/>
            <a:lstStyle/>
            <a:p>
              <a:endParaRPr lang="hi-IN"/>
            </a:p>
          </p:txBody>
        </p:sp>
        <p:sp>
          <p:nvSpPr>
            <p:cNvPr id="1277" name="Freeform: Shape 276"/>
            <p:cNvSpPr/>
            <p:nvPr/>
          </p:nvSpPr>
          <p:spPr>
            <a:xfrm>
              <a:off x="9538320" y="2753855"/>
              <a:ext cx="35773" cy="35774"/>
            </a:xfrm>
            <a:custGeom>
              <a:avLst/>
              <a:gdLst>
                <a:gd name="connsiteX0" fmla="*/ 35774 w 35773"/>
                <a:gd name="connsiteY0" fmla="*/ 17888 h 35774"/>
                <a:gd name="connsiteX1" fmla="*/ 17887 w 35773"/>
                <a:gd name="connsiteY1" fmla="*/ 35775 h 35774"/>
                <a:gd name="connsiteX2" fmla="*/ 0 w 35773"/>
                <a:gd name="connsiteY2" fmla="*/ 17888 h 35774"/>
                <a:gd name="connsiteX3" fmla="*/ 17887 w 35773"/>
                <a:gd name="connsiteY3" fmla="*/ 1 h 35774"/>
                <a:gd name="connsiteX4" fmla="*/ 35774 w 35773"/>
                <a:gd name="connsiteY4" fmla="*/ 17888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8"/>
                  </a:moveTo>
                  <a:cubicBezTo>
                    <a:pt x="35774" y="27783"/>
                    <a:pt x="27782" y="35775"/>
                    <a:pt x="17887" y="35775"/>
                  </a:cubicBezTo>
                  <a:cubicBezTo>
                    <a:pt x="7992" y="35775"/>
                    <a:pt x="0" y="27783"/>
                    <a:pt x="0" y="17888"/>
                  </a:cubicBezTo>
                  <a:cubicBezTo>
                    <a:pt x="0" y="7993"/>
                    <a:pt x="7992" y="1"/>
                    <a:pt x="17887" y="1"/>
                  </a:cubicBezTo>
                  <a:cubicBezTo>
                    <a:pt x="27706" y="-75"/>
                    <a:pt x="35774" y="7993"/>
                    <a:pt x="35774" y="17888"/>
                  </a:cubicBezTo>
                </a:path>
              </a:pathLst>
            </a:custGeom>
            <a:grpFill/>
            <a:ln w="7608" cap="flat">
              <a:noFill/>
              <a:prstDash val="solid"/>
              <a:miter/>
            </a:ln>
          </p:spPr>
          <p:txBody>
            <a:bodyPr rtlCol="0" anchor="ctr"/>
            <a:lstStyle/>
            <a:p>
              <a:endParaRPr lang="hi-IN"/>
            </a:p>
          </p:txBody>
        </p:sp>
        <p:sp>
          <p:nvSpPr>
            <p:cNvPr id="1278" name="Freeform: Shape 277"/>
            <p:cNvSpPr/>
            <p:nvPr/>
          </p:nvSpPr>
          <p:spPr>
            <a:xfrm>
              <a:off x="9414023" y="2629559"/>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1" y="35774"/>
                    <a:pt x="17887" y="35774"/>
                  </a:cubicBezTo>
                  <a:cubicBezTo>
                    <a:pt x="7992" y="35774"/>
                    <a:pt x="0" y="27782"/>
                    <a:pt x="0" y="17887"/>
                  </a:cubicBezTo>
                  <a:cubicBezTo>
                    <a:pt x="0" y="7992"/>
                    <a:pt x="7992" y="0"/>
                    <a:pt x="17887" y="0"/>
                  </a:cubicBezTo>
                  <a:cubicBezTo>
                    <a:pt x="27781" y="0"/>
                    <a:pt x="35774" y="7992"/>
                    <a:pt x="35774" y="17887"/>
                  </a:cubicBezTo>
                </a:path>
              </a:pathLst>
            </a:custGeom>
            <a:grpFill/>
            <a:ln w="7608" cap="flat">
              <a:noFill/>
              <a:prstDash val="solid"/>
              <a:miter/>
            </a:ln>
          </p:spPr>
          <p:txBody>
            <a:bodyPr rtlCol="0" anchor="ctr"/>
            <a:lstStyle/>
            <a:p>
              <a:endParaRPr lang="hi-IN"/>
            </a:p>
          </p:txBody>
        </p:sp>
        <p:sp>
          <p:nvSpPr>
            <p:cNvPr id="1279" name="Freeform: Shape 278"/>
            <p:cNvSpPr/>
            <p:nvPr/>
          </p:nvSpPr>
          <p:spPr>
            <a:xfrm>
              <a:off x="9280821" y="2514929"/>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1" y="35774"/>
                    <a:pt x="17887" y="35774"/>
                  </a:cubicBezTo>
                  <a:cubicBezTo>
                    <a:pt x="7992" y="35774"/>
                    <a:pt x="0" y="27782"/>
                    <a:pt x="0" y="17887"/>
                  </a:cubicBezTo>
                  <a:cubicBezTo>
                    <a:pt x="0" y="7992"/>
                    <a:pt x="7992" y="0"/>
                    <a:pt x="17887" y="0"/>
                  </a:cubicBezTo>
                  <a:cubicBezTo>
                    <a:pt x="27781" y="0"/>
                    <a:pt x="35774" y="7992"/>
                    <a:pt x="35774" y="17887"/>
                  </a:cubicBezTo>
                </a:path>
              </a:pathLst>
            </a:custGeom>
            <a:grpFill/>
            <a:ln w="7608" cap="flat">
              <a:noFill/>
              <a:prstDash val="solid"/>
              <a:miter/>
            </a:ln>
          </p:spPr>
          <p:txBody>
            <a:bodyPr rtlCol="0" anchor="ctr"/>
            <a:lstStyle/>
            <a:p>
              <a:endParaRPr lang="hi-IN"/>
            </a:p>
          </p:txBody>
        </p:sp>
        <p:sp>
          <p:nvSpPr>
            <p:cNvPr id="1280" name="Freeform: Shape 279"/>
            <p:cNvSpPr/>
            <p:nvPr/>
          </p:nvSpPr>
          <p:spPr>
            <a:xfrm>
              <a:off x="9139932" y="2411108"/>
              <a:ext cx="34708" cy="34708"/>
            </a:xfrm>
            <a:custGeom>
              <a:avLst/>
              <a:gdLst>
                <a:gd name="connsiteX0" fmla="*/ 34708 w 34708"/>
                <a:gd name="connsiteY0" fmla="*/ 17354 h 34708"/>
                <a:gd name="connsiteX1" fmla="*/ 17354 w 34708"/>
                <a:gd name="connsiteY1" fmla="*/ 34709 h 34708"/>
                <a:gd name="connsiteX2" fmla="*/ 0 w 34708"/>
                <a:gd name="connsiteY2" fmla="*/ 17354 h 34708"/>
                <a:gd name="connsiteX3" fmla="*/ 17354 w 34708"/>
                <a:gd name="connsiteY3" fmla="*/ 0 h 34708"/>
                <a:gd name="connsiteX4" fmla="*/ 34708 w 34708"/>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8">
                  <a:moveTo>
                    <a:pt x="34708" y="17354"/>
                  </a:moveTo>
                  <a:cubicBezTo>
                    <a:pt x="34708" y="26945"/>
                    <a:pt x="26944" y="34709"/>
                    <a:pt x="17354" y="34709"/>
                  </a:cubicBezTo>
                  <a:cubicBezTo>
                    <a:pt x="7764" y="34709"/>
                    <a:pt x="0" y="26945"/>
                    <a:pt x="0" y="17354"/>
                  </a:cubicBezTo>
                  <a:cubicBezTo>
                    <a:pt x="0" y="7764"/>
                    <a:pt x="7764" y="0"/>
                    <a:pt x="17354" y="0"/>
                  </a:cubicBezTo>
                  <a:cubicBezTo>
                    <a:pt x="26944" y="0"/>
                    <a:pt x="34708" y="7764"/>
                    <a:pt x="34708" y="17354"/>
                  </a:cubicBezTo>
                </a:path>
              </a:pathLst>
            </a:custGeom>
            <a:grpFill/>
            <a:ln w="7608" cap="flat">
              <a:noFill/>
              <a:prstDash val="solid"/>
              <a:miter/>
            </a:ln>
          </p:spPr>
          <p:txBody>
            <a:bodyPr rtlCol="0" anchor="ctr"/>
            <a:lstStyle/>
            <a:p>
              <a:endParaRPr lang="hi-IN"/>
            </a:p>
          </p:txBody>
        </p:sp>
        <p:sp>
          <p:nvSpPr>
            <p:cNvPr id="1281" name="Freeform: Shape 280"/>
            <p:cNvSpPr/>
            <p:nvPr/>
          </p:nvSpPr>
          <p:spPr>
            <a:xfrm>
              <a:off x="8991659" y="2318171"/>
              <a:ext cx="33642" cy="33643"/>
            </a:xfrm>
            <a:custGeom>
              <a:avLst/>
              <a:gdLst>
                <a:gd name="connsiteX0" fmla="*/ 33642 w 33642"/>
                <a:gd name="connsiteY0" fmla="*/ 16821 h 33643"/>
                <a:gd name="connsiteX1" fmla="*/ 16821 w 33642"/>
                <a:gd name="connsiteY1" fmla="*/ 33643 h 33643"/>
                <a:gd name="connsiteX2" fmla="*/ 0 w 33642"/>
                <a:gd name="connsiteY2" fmla="*/ 16821 h 33643"/>
                <a:gd name="connsiteX3" fmla="*/ 16821 w 33642"/>
                <a:gd name="connsiteY3" fmla="*/ 0 h 33643"/>
                <a:gd name="connsiteX4" fmla="*/ 33642 w 33642"/>
                <a:gd name="connsiteY4" fmla="*/ 16821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2" h="33643">
                  <a:moveTo>
                    <a:pt x="33642" y="16821"/>
                  </a:moveTo>
                  <a:cubicBezTo>
                    <a:pt x="33642" y="26108"/>
                    <a:pt x="26107" y="33643"/>
                    <a:pt x="16821" y="33643"/>
                  </a:cubicBezTo>
                  <a:cubicBezTo>
                    <a:pt x="7535" y="33643"/>
                    <a:pt x="0" y="26108"/>
                    <a:pt x="0" y="16821"/>
                  </a:cubicBezTo>
                  <a:cubicBezTo>
                    <a:pt x="0" y="7535"/>
                    <a:pt x="7535" y="0"/>
                    <a:pt x="16821" y="0"/>
                  </a:cubicBezTo>
                  <a:cubicBezTo>
                    <a:pt x="26107" y="0"/>
                    <a:pt x="33642" y="7535"/>
                    <a:pt x="33642" y="16821"/>
                  </a:cubicBezTo>
                </a:path>
              </a:pathLst>
            </a:custGeom>
            <a:grpFill/>
            <a:ln w="7608" cap="flat">
              <a:noFill/>
              <a:prstDash val="solid"/>
              <a:miter/>
            </a:ln>
          </p:spPr>
          <p:txBody>
            <a:bodyPr rtlCol="0" anchor="ctr"/>
            <a:lstStyle/>
            <a:p>
              <a:endParaRPr lang="hi-IN"/>
            </a:p>
          </p:txBody>
        </p:sp>
        <p:sp>
          <p:nvSpPr>
            <p:cNvPr id="1282" name="Freeform: Shape 281"/>
            <p:cNvSpPr/>
            <p:nvPr/>
          </p:nvSpPr>
          <p:spPr>
            <a:xfrm>
              <a:off x="8836840" y="2236575"/>
              <a:ext cx="32577" cy="32577"/>
            </a:xfrm>
            <a:custGeom>
              <a:avLst/>
              <a:gdLst>
                <a:gd name="connsiteX0" fmla="*/ 32578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1" y="32577"/>
                    <a:pt x="16289" y="32577"/>
                  </a:cubicBezTo>
                  <a:cubicBezTo>
                    <a:pt x="7308" y="32577"/>
                    <a:pt x="0" y="25270"/>
                    <a:pt x="0" y="16289"/>
                  </a:cubicBezTo>
                  <a:cubicBezTo>
                    <a:pt x="0" y="7307"/>
                    <a:pt x="7308" y="0"/>
                    <a:pt x="16289" y="0"/>
                  </a:cubicBezTo>
                  <a:cubicBezTo>
                    <a:pt x="25271" y="0"/>
                    <a:pt x="32578" y="7307"/>
                    <a:pt x="32578" y="16289"/>
                  </a:cubicBezTo>
                </a:path>
              </a:pathLst>
            </a:custGeom>
            <a:grpFill/>
            <a:ln w="7608" cap="flat">
              <a:noFill/>
              <a:prstDash val="solid"/>
              <a:miter/>
            </a:ln>
          </p:spPr>
          <p:txBody>
            <a:bodyPr rtlCol="0" anchor="ctr"/>
            <a:lstStyle/>
            <a:p>
              <a:endParaRPr lang="hi-IN"/>
            </a:p>
          </p:txBody>
        </p:sp>
        <p:sp>
          <p:nvSpPr>
            <p:cNvPr id="1283" name="Freeform: Shape 282"/>
            <p:cNvSpPr/>
            <p:nvPr/>
          </p:nvSpPr>
          <p:spPr>
            <a:xfrm>
              <a:off x="8676312" y="2166853"/>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9" y="31512"/>
                    <a:pt x="0" y="24433"/>
                    <a:pt x="0" y="15756"/>
                  </a:cubicBezTo>
                  <a:cubicBezTo>
                    <a:pt x="0" y="7079"/>
                    <a:pt x="7079" y="0"/>
                    <a:pt x="15755" y="0"/>
                  </a:cubicBezTo>
                  <a:cubicBezTo>
                    <a:pt x="24433" y="0"/>
                    <a:pt x="31512" y="7079"/>
                    <a:pt x="31512" y="15756"/>
                  </a:cubicBezTo>
                </a:path>
              </a:pathLst>
            </a:custGeom>
            <a:grpFill/>
            <a:ln w="7608" cap="flat">
              <a:noFill/>
              <a:prstDash val="solid"/>
              <a:miter/>
            </a:ln>
          </p:spPr>
          <p:txBody>
            <a:bodyPr rtlCol="0" anchor="ctr"/>
            <a:lstStyle/>
            <a:p>
              <a:endParaRPr lang="hi-IN"/>
            </a:p>
          </p:txBody>
        </p:sp>
        <p:sp>
          <p:nvSpPr>
            <p:cNvPr id="1284" name="Freeform: Shape 283"/>
            <p:cNvSpPr/>
            <p:nvPr/>
          </p:nvSpPr>
          <p:spPr>
            <a:xfrm>
              <a:off x="8511446" y="2109843"/>
              <a:ext cx="29380" cy="29380"/>
            </a:xfrm>
            <a:custGeom>
              <a:avLst/>
              <a:gdLst>
                <a:gd name="connsiteX0" fmla="*/ 29380 w 29380"/>
                <a:gd name="connsiteY0" fmla="*/ 14690 h 29380"/>
                <a:gd name="connsiteX1" fmla="*/ 14691 w 29380"/>
                <a:gd name="connsiteY1" fmla="*/ 29380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0"/>
                    <a:pt x="14691" y="29380"/>
                  </a:cubicBezTo>
                  <a:cubicBezTo>
                    <a:pt x="6622" y="29380"/>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285" name="Freeform: Shape 284"/>
            <p:cNvSpPr/>
            <p:nvPr/>
          </p:nvSpPr>
          <p:spPr>
            <a:xfrm>
              <a:off x="8342926" y="2065543"/>
              <a:ext cx="27097" cy="27097"/>
            </a:xfrm>
            <a:custGeom>
              <a:avLst/>
              <a:gdLst>
                <a:gd name="connsiteX0" fmla="*/ 27098 w 27097"/>
                <a:gd name="connsiteY0" fmla="*/ 13549 h 27097"/>
                <a:gd name="connsiteX1" fmla="*/ 13549 w 27097"/>
                <a:gd name="connsiteY1" fmla="*/ 27098 h 27097"/>
                <a:gd name="connsiteX2" fmla="*/ 0 w 27097"/>
                <a:gd name="connsiteY2" fmla="*/ 13549 h 27097"/>
                <a:gd name="connsiteX3" fmla="*/ 13549 w 27097"/>
                <a:gd name="connsiteY3" fmla="*/ 1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09"/>
                    <a:pt x="21008" y="27098"/>
                    <a:pt x="13549" y="27098"/>
                  </a:cubicBezTo>
                  <a:cubicBezTo>
                    <a:pt x="6090" y="27098"/>
                    <a:pt x="0" y="21009"/>
                    <a:pt x="0" y="13549"/>
                  </a:cubicBezTo>
                  <a:cubicBezTo>
                    <a:pt x="0" y="6090"/>
                    <a:pt x="6090" y="1"/>
                    <a:pt x="13549" y="1"/>
                  </a:cubicBezTo>
                  <a:cubicBezTo>
                    <a:pt x="21008" y="-75"/>
                    <a:pt x="27098" y="6014"/>
                    <a:pt x="27098" y="13549"/>
                  </a:cubicBezTo>
                </a:path>
              </a:pathLst>
            </a:custGeom>
            <a:grpFill/>
            <a:ln w="7608" cap="flat">
              <a:noFill/>
              <a:prstDash val="solid"/>
              <a:miter/>
            </a:ln>
          </p:spPr>
          <p:txBody>
            <a:bodyPr rtlCol="0" anchor="ctr"/>
            <a:lstStyle/>
            <a:p>
              <a:endParaRPr lang="hi-IN"/>
            </a:p>
          </p:txBody>
        </p:sp>
        <p:sp>
          <p:nvSpPr>
            <p:cNvPr id="1286" name="Freeform: Shape 285"/>
            <p:cNvSpPr/>
            <p:nvPr/>
          </p:nvSpPr>
          <p:spPr>
            <a:xfrm>
              <a:off x="8171287" y="2033880"/>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10"/>
                    <a:pt x="19333" y="24966"/>
                    <a:pt x="12483" y="24966"/>
                  </a:cubicBezTo>
                  <a:cubicBezTo>
                    <a:pt x="5556" y="24966"/>
                    <a:pt x="0" y="19333"/>
                    <a:pt x="0" y="12483"/>
                  </a:cubicBezTo>
                  <a:cubicBezTo>
                    <a:pt x="0" y="5557"/>
                    <a:pt x="5632" y="0"/>
                    <a:pt x="12483" y="0"/>
                  </a:cubicBezTo>
                  <a:cubicBezTo>
                    <a:pt x="19333" y="0"/>
                    <a:pt x="24966" y="5633"/>
                    <a:pt x="24966" y="12483"/>
                  </a:cubicBezTo>
                </a:path>
              </a:pathLst>
            </a:custGeom>
            <a:grpFill/>
            <a:ln w="7608" cap="flat">
              <a:noFill/>
              <a:prstDash val="solid"/>
              <a:miter/>
            </a:ln>
          </p:spPr>
          <p:txBody>
            <a:bodyPr rtlCol="0" anchor="ctr"/>
            <a:lstStyle/>
            <a:p>
              <a:endParaRPr lang="hi-IN"/>
            </a:p>
          </p:txBody>
        </p:sp>
        <p:sp>
          <p:nvSpPr>
            <p:cNvPr id="1287" name="Freeform: Shape 286"/>
            <p:cNvSpPr/>
            <p:nvPr/>
          </p:nvSpPr>
          <p:spPr>
            <a:xfrm>
              <a:off x="7998200" y="2015840"/>
              <a:ext cx="21768" cy="21769"/>
            </a:xfrm>
            <a:custGeom>
              <a:avLst/>
              <a:gdLst>
                <a:gd name="connsiteX0" fmla="*/ 21769 w 21768"/>
                <a:gd name="connsiteY0" fmla="*/ 10884 h 21769"/>
                <a:gd name="connsiteX1" fmla="*/ 10884 w 21768"/>
                <a:gd name="connsiteY1" fmla="*/ 21769 h 21769"/>
                <a:gd name="connsiteX2" fmla="*/ 0 w 21768"/>
                <a:gd name="connsiteY2" fmla="*/ 10884 h 21769"/>
                <a:gd name="connsiteX3" fmla="*/ 10884 w 21768"/>
                <a:gd name="connsiteY3" fmla="*/ 0 h 21769"/>
                <a:gd name="connsiteX4" fmla="*/ 21769 w 21768"/>
                <a:gd name="connsiteY4" fmla="*/ 10884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4"/>
                  </a:moveTo>
                  <a:cubicBezTo>
                    <a:pt x="21769" y="16898"/>
                    <a:pt x="16897" y="21769"/>
                    <a:pt x="10884" y="21769"/>
                  </a:cubicBezTo>
                  <a:cubicBezTo>
                    <a:pt x="4871" y="21769"/>
                    <a:pt x="0" y="16898"/>
                    <a:pt x="0" y="10884"/>
                  </a:cubicBezTo>
                  <a:cubicBezTo>
                    <a:pt x="0" y="4871"/>
                    <a:pt x="4871" y="0"/>
                    <a:pt x="10884"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288" name="Freeform: Shape 287"/>
            <p:cNvSpPr/>
            <p:nvPr/>
          </p:nvSpPr>
          <p:spPr>
            <a:xfrm>
              <a:off x="7823820" y="2010435"/>
              <a:ext cx="19485" cy="19486"/>
            </a:xfrm>
            <a:custGeom>
              <a:avLst/>
              <a:gdLst>
                <a:gd name="connsiteX0" fmla="*/ 19486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6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6" y="9744"/>
                  </a:moveTo>
                  <a:cubicBezTo>
                    <a:pt x="19486" y="15148"/>
                    <a:pt x="15071" y="19487"/>
                    <a:pt x="9743" y="19487"/>
                  </a:cubicBezTo>
                  <a:cubicBezTo>
                    <a:pt x="4338" y="19487"/>
                    <a:pt x="0" y="15072"/>
                    <a:pt x="0" y="9744"/>
                  </a:cubicBezTo>
                  <a:cubicBezTo>
                    <a:pt x="0" y="4340"/>
                    <a:pt x="4414" y="1"/>
                    <a:pt x="9743" y="1"/>
                  </a:cubicBezTo>
                  <a:cubicBezTo>
                    <a:pt x="15071" y="-75"/>
                    <a:pt x="19486" y="4340"/>
                    <a:pt x="19486" y="9744"/>
                  </a:cubicBezTo>
                </a:path>
              </a:pathLst>
            </a:custGeom>
            <a:grpFill/>
            <a:ln w="7608" cap="flat">
              <a:noFill/>
              <a:prstDash val="solid"/>
              <a:miter/>
            </a:ln>
          </p:spPr>
          <p:txBody>
            <a:bodyPr rtlCol="0" anchor="ctr"/>
            <a:lstStyle/>
            <a:p>
              <a:endParaRPr lang="hi-IN"/>
            </a:p>
          </p:txBody>
        </p:sp>
        <p:sp>
          <p:nvSpPr>
            <p:cNvPr id="1289" name="Freeform: Shape 288"/>
            <p:cNvSpPr/>
            <p:nvPr/>
          </p:nvSpPr>
          <p:spPr>
            <a:xfrm>
              <a:off x="7649211" y="2018048"/>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290" name="Freeform: Shape 289"/>
            <p:cNvSpPr/>
            <p:nvPr/>
          </p:nvSpPr>
          <p:spPr>
            <a:xfrm>
              <a:off x="7476201" y="2039284"/>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0"/>
                    <a:pt x="11037" y="14157"/>
                    <a:pt x="7079" y="14157"/>
                  </a:cubicBezTo>
                  <a:cubicBezTo>
                    <a:pt x="3197" y="14157"/>
                    <a:pt x="0" y="10960"/>
                    <a:pt x="0" y="7079"/>
                  </a:cubicBezTo>
                  <a:cubicBezTo>
                    <a:pt x="0" y="3197"/>
                    <a:pt x="3197" y="0"/>
                    <a:pt x="7079" y="0"/>
                  </a:cubicBezTo>
                  <a:cubicBezTo>
                    <a:pt x="10961" y="76"/>
                    <a:pt x="14157" y="3197"/>
                    <a:pt x="14157" y="7079"/>
                  </a:cubicBezTo>
                </a:path>
              </a:pathLst>
            </a:custGeom>
            <a:grpFill/>
            <a:ln w="7608" cap="flat">
              <a:noFill/>
              <a:prstDash val="solid"/>
              <a:miter/>
            </a:ln>
          </p:spPr>
          <p:txBody>
            <a:bodyPr rtlCol="0" anchor="ctr"/>
            <a:lstStyle/>
            <a:p>
              <a:endParaRPr lang="hi-IN"/>
            </a:p>
          </p:txBody>
        </p:sp>
        <p:sp>
          <p:nvSpPr>
            <p:cNvPr id="1291" name="Freeform: Shape 290"/>
            <p:cNvSpPr/>
            <p:nvPr/>
          </p:nvSpPr>
          <p:spPr>
            <a:xfrm>
              <a:off x="7304636" y="2073154"/>
              <a:ext cx="11950" cy="11875"/>
            </a:xfrm>
            <a:custGeom>
              <a:avLst/>
              <a:gdLst>
                <a:gd name="connsiteX0" fmla="*/ 11950 w 11950"/>
                <a:gd name="connsiteY0" fmla="*/ 5939 h 11875"/>
                <a:gd name="connsiteX1" fmla="*/ 6013 w 11950"/>
                <a:gd name="connsiteY1" fmla="*/ 11876 h 11875"/>
                <a:gd name="connsiteX2" fmla="*/ 0 w 11950"/>
                <a:gd name="connsiteY2" fmla="*/ 5939 h 11875"/>
                <a:gd name="connsiteX3" fmla="*/ 6013 w 11950"/>
                <a:gd name="connsiteY3" fmla="*/ 2 h 11875"/>
                <a:gd name="connsiteX4" fmla="*/ 11950 w 11950"/>
                <a:gd name="connsiteY4" fmla="*/ 5939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5">
                  <a:moveTo>
                    <a:pt x="11950" y="5939"/>
                  </a:moveTo>
                  <a:cubicBezTo>
                    <a:pt x="11950" y="9211"/>
                    <a:pt x="9286" y="11876"/>
                    <a:pt x="6013" y="11876"/>
                  </a:cubicBezTo>
                  <a:cubicBezTo>
                    <a:pt x="2741" y="11876"/>
                    <a:pt x="0" y="9211"/>
                    <a:pt x="0" y="5939"/>
                  </a:cubicBezTo>
                  <a:cubicBezTo>
                    <a:pt x="0" y="2666"/>
                    <a:pt x="2664" y="2"/>
                    <a:pt x="6013" y="2"/>
                  </a:cubicBezTo>
                  <a:cubicBezTo>
                    <a:pt x="9286" y="-75"/>
                    <a:pt x="11950" y="2589"/>
                    <a:pt x="11950" y="5939"/>
                  </a:cubicBezTo>
                </a:path>
              </a:pathLst>
            </a:custGeom>
            <a:grpFill/>
            <a:ln w="7608" cap="flat">
              <a:noFill/>
              <a:prstDash val="solid"/>
              <a:miter/>
            </a:ln>
          </p:spPr>
          <p:txBody>
            <a:bodyPr rtlCol="0" anchor="ctr"/>
            <a:lstStyle/>
            <a:p>
              <a:endParaRPr lang="hi-IN"/>
            </a:p>
          </p:txBody>
        </p:sp>
        <p:sp>
          <p:nvSpPr>
            <p:cNvPr id="1292" name="Freeform: Shape 291"/>
            <p:cNvSpPr/>
            <p:nvPr/>
          </p:nvSpPr>
          <p:spPr>
            <a:xfrm>
              <a:off x="7135965" y="2119662"/>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131" y="9743"/>
                    <a:pt x="0" y="7535"/>
                    <a:pt x="0" y="4871"/>
                  </a:cubicBezTo>
                  <a:cubicBezTo>
                    <a:pt x="0" y="2207"/>
                    <a:pt x="2207" y="0"/>
                    <a:pt x="4871" y="0"/>
                  </a:cubicBezTo>
                  <a:cubicBezTo>
                    <a:pt x="7612" y="0"/>
                    <a:pt x="9743" y="2207"/>
                    <a:pt x="9743" y="4871"/>
                  </a:cubicBezTo>
                </a:path>
              </a:pathLst>
            </a:custGeom>
            <a:grpFill/>
            <a:ln w="7608" cap="flat">
              <a:noFill/>
              <a:prstDash val="solid"/>
              <a:miter/>
            </a:ln>
          </p:spPr>
          <p:txBody>
            <a:bodyPr rtlCol="0" anchor="ctr"/>
            <a:lstStyle/>
            <a:p>
              <a:endParaRPr lang="hi-IN"/>
            </a:p>
          </p:txBody>
        </p:sp>
        <p:sp>
          <p:nvSpPr>
            <p:cNvPr id="1293" name="Freeform: Shape 292"/>
            <p:cNvSpPr/>
            <p:nvPr/>
          </p:nvSpPr>
          <p:spPr>
            <a:xfrm>
              <a:off x="6971175" y="2178804"/>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294" name="Freeform: Shape 293"/>
            <p:cNvSpPr/>
            <p:nvPr/>
          </p:nvSpPr>
          <p:spPr>
            <a:xfrm>
              <a:off x="6811180" y="2250124"/>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295" name="Freeform: Shape 294"/>
            <p:cNvSpPr/>
            <p:nvPr/>
          </p:nvSpPr>
          <p:spPr>
            <a:xfrm>
              <a:off x="6656285" y="2332785"/>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89"/>
                    <a:pt x="990" y="0"/>
                    <a:pt x="2208"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296" name="Freeform: Shape 295"/>
            <p:cNvSpPr/>
            <p:nvPr/>
          </p:nvSpPr>
          <p:spPr>
            <a:xfrm>
              <a:off x="6508697" y="2427397"/>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675" y="0"/>
                    <a:pt x="2131" y="457"/>
                    <a:pt x="2131" y="1065"/>
                  </a:cubicBezTo>
                </a:path>
              </a:pathLst>
            </a:custGeom>
            <a:grpFill/>
            <a:ln w="7608" cap="flat">
              <a:noFill/>
              <a:prstDash val="solid"/>
              <a:miter/>
            </a:ln>
          </p:spPr>
          <p:txBody>
            <a:bodyPr rtlCol="0" anchor="ctr"/>
            <a:lstStyle/>
            <a:p>
              <a:endParaRPr lang="hi-IN"/>
            </a:p>
          </p:txBody>
        </p:sp>
        <p:sp>
          <p:nvSpPr>
            <p:cNvPr id="1297" name="Freeform: Shape 296"/>
            <p:cNvSpPr/>
            <p:nvPr/>
          </p:nvSpPr>
          <p:spPr>
            <a:xfrm>
              <a:off x="6367275" y="2531751"/>
              <a:ext cx="2130" cy="2131"/>
            </a:xfrm>
            <a:custGeom>
              <a:avLst/>
              <a:gdLst>
                <a:gd name="connsiteX0" fmla="*/ 2131 w 2130"/>
                <a:gd name="connsiteY0" fmla="*/ 1066 h 2131"/>
                <a:gd name="connsiteX1" fmla="*/ 1066 w 2130"/>
                <a:gd name="connsiteY1" fmla="*/ 2131 h 2131"/>
                <a:gd name="connsiteX2" fmla="*/ 0 w 2130"/>
                <a:gd name="connsiteY2" fmla="*/ 1066 h 2131"/>
                <a:gd name="connsiteX3" fmla="*/ 1066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298" name="Freeform: Shape 297"/>
            <p:cNvSpPr/>
            <p:nvPr/>
          </p:nvSpPr>
          <p:spPr>
            <a:xfrm>
              <a:off x="6234606" y="2646913"/>
              <a:ext cx="1065" cy="1065"/>
            </a:xfrm>
            <a:custGeom>
              <a:avLst/>
              <a:gdLst>
                <a:gd name="connsiteX0" fmla="*/ 1065 w 1065"/>
                <a:gd name="connsiteY0" fmla="*/ 533 h 1065"/>
                <a:gd name="connsiteX1" fmla="*/ 533 w 1065"/>
                <a:gd name="connsiteY1" fmla="*/ 1066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3" y="1066"/>
                  </a:cubicBezTo>
                  <a:cubicBezTo>
                    <a:pt x="228" y="1066"/>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299" name="Freeform: Shape 298"/>
            <p:cNvSpPr/>
            <p:nvPr/>
          </p:nvSpPr>
          <p:spPr>
            <a:xfrm>
              <a:off x="9709122" y="6090376"/>
              <a:ext cx="1065" cy="1065"/>
            </a:xfrm>
            <a:custGeom>
              <a:avLst/>
              <a:gdLst>
                <a:gd name="connsiteX0" fmla="*/ 1066 w 1065"/>
                <a:gd name="connsiteY0" fmla="*/ 532 h 1065"/>
                <a:gd name="connsiteX1" fmla="*/ 533 w 1065"/>
                <a:gd name="connsiteY1" fmla="*/ 1065 h 1065"/>
                <a:gd name="connsiteX2" fmla="*/ 0 w 1065"/>
                <a:gd name="connsiteY2" fmla="*/ 532 h 1065"/>
                <a:gd name="connsiteX3" fmla="*/ 533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8" y="1065"/>
                    <a:pt x="533" y="1065"/>
                  </a:cubicBezTo>
                  <a:cubicBezTo>
                    <a:pt x="229" y="1065"/>
                    <a:pt x="0" y="837"/>
                    <a:pt x="0" y="532"/>
                  </a:cubicBezTo>
                  <a:cubicBezTo>
                    <a:pt x="0" y="228"/>
                    <a:pt x="229" y="0"/>
                    <a:pt x="533" y="0"/>
                  </a:cubicBezTo>
                  <a:cubicBezTo>
                    <a:pt x="838" y="0"/>
                    <a:pt x="1066" y="228"/>
                    <a:pt x="1066" y="532"/>
                  </a:cubicBezTo>
                </a:path>
              </a:pathLst>
            </a:custGeom>
            <a:grpFill/>
            <a:ln w="7608" cap="flat">
              <a:noFill/>
              <a:prstDash val="solid"/>
              <a:miter/>
            </a:ln>
          </p:spPr>
          <p:txBody>
            <a:bodyPr rtlCol="0" anchor="ctr"/>
            <a:lstStyle/>
            <a:p>
              <a:endParaRPr lang="hi-IN"/>
            </a:p>
          </p:txBody>
        </p:sp>
        <p:sp>
          <p:nvSpPr>
            <p:cNvPr id="1300" name="Freeform: Shape 299"/>
            <p:cNvSpPr/>
            <p:nvPr/>
          </p:nvSpPr>
          <p:spPr>
            <a:xfrm>
              <a:off x="9822839" y="5956329"/>
              <a:ext cx="2131" cy="2138"/>
            </a:xfrm>
            <a:custGeom>
              <a:avLst/>
              <a:gdLst>
                <a:gd name="connsiteX0" fmla="*/ 2131 w 2131"/>
                <a:gd name="connsiteY0" fmla="*/ 1073 h 2138"/>
                <a:gd name="connsiteX1" fmla="*/ 1066 w 2131"/>
                <a:gd name="connsiteY1" fmla="*/ 2139 h 2138"/>
                <a:gd name="connsiteX2" fmla="*/ 0 w 2131"/>
                <a:gd name="connsiteY2" fmla="*/ 1073 h 2138"/>
                <a:gd name="connsiteX3" fmla="*/ 1066 w 2131"/>
                <a:gd name="connsiteY3" fmla="*/ 7 h 2138"/>
                <a:gd name="connsiteX4" fmla="*/ 2131 w 2131"/>
                <a:gd name="connsiteY4" fmla="*/ 1073 h 2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8">
                  <a:moveTo>
                    <a:pt x="2131" y="1073"/>
                  </a:moveTo>
                  <a:cubicBezTo>
                    <a:pt x="2131" y="1682"/>
                    <a:pt x="1674" y="2139"/>
                    <a:pt x="1066" y="2139"/>
                  </a:cubicBezTo>
                  <a:cubicBezTo>
                    <a:pt x="456" y="2139"/>
                    <a:pt x="0" y="1682"/>
                    <a:pt x="0" y="1073"/>
                  </a:cubicBezTo>
                  <a:cubicBezTo>
                    <a:pt x="0" y="464"/>
                    <a:pt x="456" y="7"/>
                    <a:pt x="1066" y="7"/>
                  </a:cubicBezTo>
                  <a:cubicBezTo>
                    <a:pt x="1674" y="-69"/>
                    <a:pt x="2131" y="464"/>
                    <a:pt x="2131" y="1073"/>
                  </a:cubicBezTo>
                </a:path>
              </a:pathLst>
            </a:custGeom>
            <a:grpFill/>
            <a:ln w="7608" cap="flat">
              <a:noFill/>
              <a:prstDash val="solid"/>
              <a:miter/>
            </a:ln>
          </p:spPr>
          <p:txBody>
            <a:bodyPr rtlCol="0" anchor="ctr"/>
            <a:lstStyle/>
            <a:p>
              <a:endParaRPr lang="hi-IN"/>
            </a:p>
          </p:txBody>
        </p:sp>
        <p:sp>
          <p:nvSpPr>
            <p:cNvPr id="1301" name="Freeform: Shape 300"/>
            <p:cNvSpPr/>
            <p:nvPr/>
          </p:nvSpPr>
          <p:spPr>
            <a:xfrm>
              <a:off x="9927650" y="5815218"/>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4"/>
                    <a:pt x="1674" y="2131"/>
                    <a:pt x="1066" y="2131"/>
                  </a:cubicBezTo>
                  <a:cubicBezTo>
                    <a:pt x="456" y="2131"/>
                    <a:pt x="0" y="1674"/>
                    <a:pt x="0" y="1066"/>
                  </a:cubicBezTo>
                  <a:cubicBezTo>
                    <a:pt x="0" y="457"/>
                    <a:pt x="532"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302" name="Freeform: Shape 301"/>
            <p:cNvSpPr/>
            <p:nvPr/>
          </p:nvSpPr>
          <p:spPr>
            <a:xfrm>
              <a:off x="10021195" y="5666108"/>
              <a:ext cx="4415" cy="4414"/>
            </a:xfrm>
            <a:custGeom>
              <a:avLst/>
              <a:gdLst>
                <a:gd name="connsiteX0" fmla="*/ 4415 w 4415"/>
                <a:gd name="connsiteY0" fmla="*/ 2208 h 4414"/>
                <a:gd name="connsiteX1" fmla="*/ 2208 w 4415"/>
                <a:gd name="connsiteY1" fmla="*/ 4415 h 4414"/>
                <a:gd name="connsiteX2" fmla="*/ 0 w 4415"/>
                <a:gd name="connsiteY2" fmla="*/ 2208 h 4414"/>
                <a:gd name="connsiteX3" fmla="*/ 2208 w 4415"/>
                <a:gd name="connsiteY3" fmla="*/ 0 h 4414"/>
                <a:gd name="connsiteX4" fmla="*/ 4415 w 4415"/>
                <a:gd name="connsiteY4" fmla="*/ 2208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8"/>
                  </a:moveTo>
                  <a:cubicBezTo>
                    <a:pt x="4415" y="3425"/>
                    <a:pt x="3426" y="4415"/>
                    <a:pt x="2208" y="4415"/>
                  </a:cubicBezTo>
                  <a:cubicBezTo>
                    <a:pt x="990" y="4415"/>
                    <a:pt x="0" y="3425"/>
                    <a:pt x="0" y="2208"/>
                  </a:cubicBezTo>
                  <a:cubicBezTo>
                    <a:pt x="0" y="990"/>
                    <a:pt x="990" y="0"/>
                    <a:pt x="2208" y="0"/>
                  </a:cubicBezTo>
                  <a:cubicBezTo>
                    <a:pt x="3426" y="0"/>
                    <a:pt x="4415" y="990"/>
                    <a:pt x="4415" y="2208"/>
                  </a:cubicBezTo>
                </a:path>
              </a:pathLst>
            </a:custGeom>
            <a:grpFill/>
            <a:ln w="7608" cap="flat">
              <a:noFill/>
              <a:prstDash val="solid"/>
              <a:miter/>
            </a:ln>
          </p:spPr>
          <p:txBody>
            <a:bodyPr rtlCol="0" anchor="ctr"/>
            <a:lstStyle/>
            <a:p>
              <a:endParaRPr lang="hi-IN"/>
            </a:p>
          </p:txBody>
        </p:sp>
        <p:sp>
          <p:nvSpPr>
            <p:cNvPr id="1303" name="Freeform: Shape 302"/>
            <p:cNvSpPr/>
            <p:nvPr/>
          </p:nvSpPr>
          <p:spPr>
            <a:xfrm>
              <a:off x="10104466" y="5510833"/>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304" name="Freeform: Shape 303"/>
            <p:cNvSpPr/>
            <p:nvPr/>
          </p:nvSpPr>
          <p:spPr>
            <a:xfrm>
              <a:off x="10176928" y="5350153"/>
              <a:ext cx="8677" cy="8676"/>
            </a:xfrm>
            <a:custGeom>
              <a:avLst/>
              <a:gdLst>
                <a:gd name="connsiteX0" fmla="*/ 8677 w 8677"/>
                <a:gd name="connsiteY0" fmla="*/ 4338 h 8676"/>
                <a:gd name="connsiteX1" fmla="*/ 4338 w 8677"/>
                <a:gd name="connsiteY1" fmla="*/ 8677 h 8676"/>
                <a:gd name="connsiteX2" fmla="*/ 0 w 8677"/>
                <a:gd name="connsiteY2" fmla="*/ 4338 h 8676"/>
                <a:gd name="connsiteX3" fmla="*/ 4338 w 8677"/>
                <a:gd name="connsiteY3" fmla="*/ 0 h 8676"/>
                <a:gd name="connsiteX4" fmla="*/ 8677 w 8677"/>
                <a:gd name="connsiteY4" fmla="*/ 4338 h 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6">
                  <a:moveTo>
                    <a:pt x="8677" y="4338"/>
                  </a:moveTo>
                  <a:cubicBezTo>
                    <a:pt x="8677" y="6698"/>
                    <a:pt x="6698" y="8677"/>
                    <a:pt x="4338" y="8677"/>
                  </a:cubicBezTo>
                  <a:cubicBezTo>
                    <a:pt x="1979" y="8677"/>
                    <a:pt x="0" y="6698"/>
                    <a:pt x="0" y="4338"/>
                  </a:cubicBezTo>
                  <a:cubicBezTo>
                    <a:pt x="0" y="1979"/>
                    <a:pt x="1903" y="0"/>
                    <a:pt x="4338" y="0"/>
                  </a:cubicBezTo>
                  <a:cubicBezTo>
                    <a:pt x="6774" y="0"/>
                    <a:pt x="8677" y="1903"/>
                    <a:pt x="8677" y="4338"/>
                  </a:cubicBezTo>
                </a:path>
              </a:pathLst>
            </a:custGeom>
            <a:grpFill/>
            <a:ln w="7608" cap="flat">
              <a:noFill/>
              <a:prstDash val="solid"/>
              <a:miter/>
            </a:ln>
          </p:spPr>
          <p:txBody>
            <a:bodyPr rtlCol="0" anchor="ctr"/>
            <a:lstStyle/>
            <a:p>
              <a:endParaRPr lang="hi-IN"/>
            </a:p>
          </p:txBody>
        </p:sp>
        <p:sp>
          <p:nvSpPr>
            <p:cNvPr id="1305" name="Freeform: Shape 304"/>
            <p:cNvSpPr/>
            <p:nvPr/>
          </p:nvSpPr>
          <p:spPr>
            <a:xfrm>
              <a:off x="10238734" y="5185287"/>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208" y="9743"/>
                    <a:pt x="0" y="7535"/>
                    <a:pt x="0" y="4871"/>
                  </a:cubicBezTo>
                  <a:cubicBezTo>
                    <a:pt x="0" y="2208"/>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306" name="Freeform: Shape 305"/>
            <p:cNvSpPr/>
            <p:nvPr/>
          </p:nvSpPr>
          <p:spPr>
            <a:xfrm>
              <a:off x="10287904" y="5015397"/>
              <a:ext cx="13091" cy="13092"/>
            </a:xfrm>
            <a:custGeom>
              <a:avLst/>
              <a:gdLst>
                <a:gd name="connsiteX0" fmla="*/ 13092 w 13091"/>
                <a:gd name="connsiteY0" fmla="*/ 6546 h 13092"/>
                <a:gd name="connsiteX1" fmla="*/ 6546 w 13091"/>
                <a:gd name="connsiteY1" fmla="*/ 13092 h 13092"/>
                <a:gd name="connsiteX2" fmla="*/ 0 w 13091"/>
                <a:gd name="connsiteY2" fmla="*/ 6546 h 13092"/>
                <a:gd name="connsiteX3" fmla="*/ 6546 w 13091"/>
                <a:gd name="connsiteY3" fmla="*/ 0 h 13092"/>
                <a:gd name="connsiteX4" fmla="*/ 13092 w 13091"/>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2">
                  <a:moveTo>
                    <a:pt x="13092" y="6546"/>
                  </a:moveTo>
                  <a:cubicBezTo>
                    <a:pt x="13092" y="10123"/>
                    <a:pt x="10199" y="13092"/>
                    <a:pt x="6546" y="13092"/>
                  </a:cubicBezTo>
                  <a:cubicBezTo>
                    <a:pt x="2969" y="13092"/>
                    <a:pt x="0" y="10200"/>
                    <a:pt x="0" y="6546"/>
                  </a:cubicBezTo>
                  <a:cubicBezTo>
                    <a:pt x="0" y="2969"/>
                    <a:pt x="2892" y="0"/>
                    <a:pt x="6546" y="0"/>
                  </a:cubicBezTo>
                  <a:cubicBezTo>
                    <a:pt x="10124" y="0"/>
                    <a:pt x="13092" y="2892"/>
                    <a:pt x="13092" y="6546"/>
                  </a:cubicBezTo>
                </a:path>
              </a:pathLst>
            </a:custGeom>
            <a:grpFill/>
            <a:ln w="7608" cap="flat">
              <a:noFill/>
              <a:prstDash val="solid"/>
              <a:miter/>
            </a:ln>
          </p:spPr>
          <p:txBody>
            <a:bodyPr rtlCol="0" anchor="ctr"/>
            <a:lstStyle/>
            <a:p>
              <a:endParaRPr lang="hi-IN"/>
            </a:p>
          </p:txBody>
        </p:sp>
        <p:sp>
          <p:nvSpPr>
            <p:cNvPr id="1307" name="Freeform: Shape 306"/>
            <p:cNvSpPr/>
            <p:nvPr/>
          </p:nvSpPr>
          <p:spPr>
            <a:xfrm>
              <a:off x="10325962" y="4842996"/>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6" y="15223"/>
                    <a:pt x="0" y="11798"/>
                    <a:pt x="0" y="7612"/>
                  </a:cubicBezTo>
                  <a:cubicBezTo>
                    <a:pt x="0" y="3425"/>
                    <a:pt x="3426"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308" name="Freeform: Shape 307"/>
            <p:cNvSpPr/>
            <p:nvPr/>
          </p:nvSpPr>
          <p:spPr>
            <a:xfrm>
              <a:off x="10352070" y="4668311"/>
              <a:ext cx="17353" cy="17354"/>
            </a:xfrm>
            <a:custGeom>
              <a:avLst/>
              <a:gdLst>
                <a:gd name="connsiteX0" fmla="*/ 17354 w 17353"/>
                <a:gd name="connsiteY0" fmla="*/ 8677 h 17354"/>
                <a:gd name="connsiteX1" fmla="*/ 8677 w 17353"/>
                <a:gd name="connsiteY1" fmla="*/ 17354 h 17354"/>
                <a:gd name="connsiteX2" fmla="*/ 0 w 17353"/>
                <a:gd name="connsiteY2" fmla="*/ 8677 h 17354"/>
                <a:gd name="connsiteX3" fmla="*/ 8677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3"/>
                    <a:pt x="13473" y="17354"/>
                    <a:pt x="8677" y="17354"/>
                  </a:cubicBezTo>
                  <a:cubicBezTo>
                    <a:pt x="3882" y="17354"/>
                    <a:pt x="0" y="13473"/>
                    <a:pt x="0" y="8677"/>
                  </a:cubicBezTo>
                  <a:cubicBezTo>
                    <a:pt x="0" y="3882"/>
                    <a:pt x="3882" y="0"/>
                    <a:pt x="8677" y="0"/>
                  </a:cubicBezTo>
                  <a:cubicBezTo>
                    <a:pt x="13473" y="0"/>
                    <a:pt x="17354" y="3882"/>
                    <a:pt x="17354" y="8677"/>
                  </a:cubicBezTo>
                </a:path>
              </a:pathLst>
            </a:custGeom>
            <a:grpFill/>
            <a:ln w="7608" cap="flat">
              <a:noFill/>
              <a:prstDash val="solid"/>
              <a:miter/>
            </a:ln>
          </p:spPr>
          <p:txBody>
            <a:bodyPr rtlCol="0" anchor="ctr"/>
            <a:lstStyle/>
            <a:p>
              <a:endParaRPr lang="hi-IN"/>
            </a:p>
          </p:txBody>
        </p:sp>
        <p:sp>
          <p:nvSpPr>
            <p:cNvPr id="1309" name="Freeform: Shape 308"/>
            <p:cNvSpPr/>
            <p:nvPr/>
          </p:nvSpPr>
          <p:spPr>
            <a:xfrm>
              <a:off x="10365542" y="4491571"/>
              <a:ext cx="20626" cy="20627"/>
            </a:xfrm>
            <a:custGeom>
              <a:avLst/>
              <a:gdLst>
                <a:gd name="connsiteX0" fmla="*/ 20627 w 20626"/>
                <a:gd name="connsiteY0" fmla="*/ 10276 h 20627"/>
                <a:gd name="connsiteX1" fmla="*/ 10352 w 20626"/>
                <a:gd name="connsiteY1" fmla="*/ 20627 h 20627"/>
                <a:gd name="connsiteX2" fmla="*/ 0 w 20626"/>
                <a:gd name="connsiteY2" fmla="*/ 10276 h 20627"/>
                <a:gd name="connsiteX3" fmla="*/ 10352 w 20626"/>
                <a:gd name="connsiteY3" fmla="*/ 0 h 20627"/>
                <a:gd name="connsiteX4" fmla="*/ 20627 w 20626"/>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6" h="20627">
                  <a:moveTo>
                    <a:pt x="20627" y="10276"/>
                  </a:moveTo>
                  <a:cubicBezTo>
                    <a:pt x="20627" y="15985"/>
                    <a:pt x="15984" y="20627"/>
                    <a:pt x="10352" y="20627"/>
                  </a:cubicBezTo>
                  <a:cubicBezTo>
                    <a:pt x="4643" y="20627"/>
                    <a:pt x="0" y="15985"/>
                    <a:pt x="0" y="10276"/>
                  </a:cubicBezTo>
                  <a:cubicBezTo>
                    <a:pt x="0" y="4567"/>
                    <a:pt x="4643" y="0"/>
                    <a:pt x="10352" y="0"/>
                  </a:cubicBezTo>
                  <a:cubicBezTo>
                    <a:pt x="16060" y="0"/>
                    <a:pt x="20627" y="4643"/>
                    <a:pt x="20627" y="10276"/>
                  </a:cubicBezTo>
                </a:path>
              </a:pathLst>
            </a:custGeom>
            <a:grpFill/>
            <a:ln w="7608" cap="flat">
              <a:noFill/>
              <a:prstDash val="solid"/>
              <a:miter/>
            </a:ln>
          </p:spPr>
          <p:txBody>
            <a:bodyPr rtlCol="0" anchor="ctr"/>
            <a:lstStyle/>
            <a:p>
              <a:endParaRPr lang="hi-IN"/>
            </a:p>
          </p:txBody>
        </p:sp>
        <p:sp>
          <p:nvSpPr>
            <p:cNvPr id="1310" name="Freeform: Shape 309"/>
            <p:cNvSpPr/>
            <p:nvPr/>
          </p:nvSpPr>
          <p:spPr>
            <a:xfrm>
              <a:off x="10367521" y="4314755"/>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311" name="Freeform: Shape 310"/>
            <p:cNvSpPr/>
            <p:nvPr/>
          </p:nvSpPr>
          <p:spPr>
            <a:xfrm>
              <a:off x="10356789" y="4137634"/>
              <a:ext cx="26030" cy="26031"/>
            </a:xfrm>
            <a:custGeom>
              <a:avLst/>
              <a:gdLst>
                <a:gd name="connsiteX0" fmla="*/ 26031 w 26030"/>
                <a:gd name="connsiteY0" fmla="*/ 13016 h 26031"/>
                <a:gd name="connsiteX1" fmla="*/ 13015 w 26030"/>
                <a:gd name="connsiteY1" fmla="*/ 26032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247"/>
                    <a:pt x="20171" y="26032"/>
                    <a:pt x="13015" y="26032"/>
                  </a:cubicBezTo>
                  <a:cubicBezTo>
                    <a:pt x="5785" y="26032"/>
                    <a:pt x="0" y="20171"/>
                    <a:pt x="0" y="13016"/>
                  </a:cubicBezTo>
                  <a:cubicBezTo>
                    <a:pt x="0" y="5861"/>
                    <a:pt x="5861" y="0"/>
                    <a:pt x="13015" y="0"/>
                  </a:cubicBezTo>
                  <a:cubicBezTo>
                    <a:pt x="20246" y="0"/>
                    <a:pt x="26031" y="5861"/>
                    <a:pt x="26031" y="13016"/>
                  </a:cubicBezTo>
                </a:path>
              </a:pathLst>
            </a:custGeom>
            <a:grpFill/>
            <a:ln w="7608" cap="flat">
              <a:noFill/>
              <a:prstDash val="solid"/>
              <a:miter/>
            </a:ln>
          </p:spPr>
          <p:txBody>
            <a:bodyPr rtlCol="0" anchor="ctr"/>
            <a:lstStyle/>
            <a:p>
              <a:endParaRPr lang="hi-IN"/>
            </a:p>
          </p:txBody>
        </p:sp>
        <p:sp>
          <p:nvSpPr>
            <p:cNvPr id="1312" name="Freeform: Shape 311"/>
            <p:cNvSpPr/>
            <p:nvPr/>
          </p:nvSpPr>
          <p:spPr>
            <a:xfrm>
              <a:off x="10334563" y="3962036"/>
              <a:ext cx="28163" cy="28238"/>
            </a:xfrm>
            <a:custGeom>
              <a:avLst/>
              <a:gdLst>
                <a:gd name="connsiteX0" fmla="*/ 28163 w 28163"/>
                <a:gd name="connsiteY0" fmla="*/ 14157 h 28238"/>
                <a:gd name="connsiteX1" fmla="*/ 14081 w 28163"/>
                <a:gd name="connsiteY1" fmla="*/ 28239 h 28238"/>
                <a:gd name="connsiteX2" fmla="*/ 0 w 28163"/>
                <a:gd name="connsiteY2" fmla="*/ 14157 h 28238"/>
                <a:gd name="connsiteX3" fmla="*/ 14081 w 28163"/>
                <a:gd name="connsiteY3" fmla="*/ 0 h 28238"/>
                <a:gd name="connsiteX4" fmla="*/ 28163 w 28163"/>
                <a:gd name="connsiteY4" fmla="*/ 14157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3" h="28238">
                  <a:moveTo>
                    <a:pt x="28163" y="14157"/>
                  </a:moveTo>
                  <a:cubicBezTo>
                    <a:pt x="28163" y="21921"/>
                    <a:pt x="21845" y="28239"/>
                    <a:pt x="14081" y="28239"/>
                  </a:cubicBezTo>
                  <a:cubicBezTo>
                    <a:pt x="6317" y="28239"/>
                    <a:pt x="0" y="21921"/>
                    <a:pt x="0" y="14157"/>
                  </a:cubicBezTo>
                  <a:cubicBezTo>
                    <a:pt x="0" y="6393"/>
                    <a:pt x="6317" y="0"/>
                    <a:pt x="14081" y="0"/>
                  </a:cubicBezTo>
                  <a:cubicBezTo>
                    <a:pt x="21845" y="0"/>
                    <a:pt x="28163" y="6393"/>
                    <a:pt x="28163" y="14157"/>
                  </a:cubicBezTo>
                </a:path>
              </a:pathLst>
            </a:custGeom>
            <a:grpFill/>
            <a:ln w="7608" cap="flat">
              <a:noFill/>
              <a:prstDash val="solid"/>
              <a:miter/>
            </a:ln>
          </p:spPr>
          <p:txBody>
            <a:bodyPr rtlCol="0" anchor="ctr"/>
            <a:lstStyle/>
            <a:p>
              <a:endParaRPr lang="hi-IN"/>
            </a:p>
          </p:txBody>
        </p:sp>
        <p:sp>
          <p:nvSpPr>
            <p:cNvPr id="1313" name="Freeform: Shape 312"/>
            <p:cNvSpPr/>
            <p:nvPr/>
          </p:nvSpPr>
          <p:spPr>
            <a:xfrm>
              <a:off x="10299702" y="3787884"/>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8" y="31512"/>
                    <a:pt x="0" y="24433"/>
                    <a:pt x="0" y="15756"/>
                  </a:cubicBezTo>
                  <a:cubicBezTo>
                    <a:pt x="0" y="7079"/>
                    <a:pt x="7078" y="0"/>
                    <a:pt x="15755" y="0"/>
                  </a:cubicBezTo>
                  <a:cubicBezTo>
                    <a:pt x="24433" y="0"/>
                    <a:pt x="31512" y="7003"/>
                    <a:pt x="31512" y="15756"/>
                  </a:cubicBezTo>
                </a:path>
              </a:pathLst>
            </a:custGeom>
            <a:grpFill/>
            <a:ln w="7608" cap="flat">
              <a:noFill/>
              <a:prstDash val="solid"/>
              <a:miter/>
            </a:ln>
          </p:spPr>
          <p:txBody>
            <a:bodyPr rtlCol="0" anchor="ctr"/>
            <a:lstStyle/>
            <a:p>
              <a:endParaRPr lang="hi-IN"/>
            </a:p>
          </p:txBody>
        </p:sp>
        <p:sp>
          <p:nvSpPr>
            <p:cNvPr id="1314" name="Freeform: Shape 313"/>
            <p:cNvSpPr/>
            <p:nvPr/>
          </p:nvSpPr>
          <p:spPr>
            <a:xfrm>
              <a:off x="10253652" y="3616929"/>
              <a:ext cx="33643" cy="33642"/>
            </a:xfrm>
            <a:custGeom>
              <a:avLst/>
              <a:gdLst>
                <a:gd name="connsiteX0" fmla="*/ 33643 w 33643"/>
                <a:gd name="connsiteY0" fmla="*/ 16821 h 33642"/>
                <a:gd name="connsiteX1" fmla="*/ 16821 w 33643"/>
                <a:gd name="connsiteY1" fmla="*/ 33643 h 33642"/>
                <a:gd name="connsiteX2" fmla="*/ 0 w 33643"/>
                <a:gd name="connsiteY2" fmla="*/ 16821 h 33642"/>
                <a:gd name="connsiteX3" fmla="*/ 16821 w 33643"/>
                <a:gd name="connsiteY3" fmla="*/ 0 h 33642"/>
                <a:gd name="connsiteX4" fmla="*/ 33643 w 33643"/>
                <a:gd name="connsiteY4" fmla="*/ 16821 h 33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2">
                  <a:moveTo>
                    <a:pt x="33643" y="16821"/>
                  </a:moveTo>
                  <a:cubicBezTo>
                    <a:pt x="33643" y="26108"/>
                    <a:pt x="26108" y="33643"/>
                    <a:pt x="16821" y="33643"/>
                  </a:cubicBezTo>
                  <a:cubicBezTo>
                    <a:pt x="7535" y="33643"/>
                    <a:pt x="0" y="26108"/>
                    <a:pt x="0" y="16821"/>
                  </a:cubicBezTo>
                  <a:cubicBezTo>
                    <a:pt x="0" y="7535"/>
                    <a:pt x="7535" y="0"/>
                    <a:pt x="16821" y="0"/>
                  </a:cubicBezTo>
                  <a:cubicBezTo>
                    <a:pt x="26108" y="0"/>
                    <a:pt x="33643" y="7535"/>
                    <a:pt x="33643" y="16821"/>
                  </a:cubicBezTo>
                </a:path>
              </a:pathLst>
            </a:custGeom>
            <a:grpFill/>
            <a:ln w="7608" cap="flat">
              <a:noFill/>
              <a:prstDash val="solid"/>
              <a:miter/>
            </a:ln>
          </p:spPr>
          <p:txBody>
            <a:bodyPr rtlCol="0" anchor="ctr"/>
            <a:lstStyle/>
            <a:p>
              <a:endParaRPr lang="hi-IN"/>
            </a:p>
          </p:txBody>
        </p:sp>
        <p:sp>
          <p:nvSpPr>
            <p:cNvPr id="1315" name="Freeform: Shape 314"/>
            <p:cNvSpPr/>
            <p:nvPr/>
          </p:nvSpPr>
          <p:spPr>
            <a:xfrm>
              <a:off x="10196033" y="3449474"/>
              <a:ext cx="35773" cy="35774"/>
            </a:xfrm>
            <a:custGeom>
              <a:avLst/>
              <a:gdLst>
                <a:gd name="connsiteX0" fmla="*/ 35774 w 35773"/>
                <a:gd name="connsiteY0" fmla="*/ 17888 h 35774"/>
                <a:gd name="connsiteX1" fmla="*/ 17887 w 35773"/>
                <a:gd name="connsiteY1" fmla="*/ 35775 h 35774"/>
                <a:gd name="connsiteX2" fmla="*/ 0 w 35773"/>
                <a:gd name="connsiteY2" fmla="*/ 17888 h 35774"/>
                <a:gd name="connsiteX3" fmla="*/ 17887 w 35773"/>
                <a:gd name="connsiteY3" fmla="*/ 1 h 35774"/>
                <a:gd name="connsiteX4" fmla="*/ 35774 w 35773"/>
                <a:gd name="connsiteY4" fmla="*/ 17888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8"/>
                  </a:moveTo>
                  <a:cubicBezTo>
                    <a:pt x="35774" y="27783"/>
                    <a:pt x="27782" y="35775"/>
                    <a:pt x="17887" y="35775"/>
                  </a:cubicBezTo>
                  <a:cubicBezTo>
                    <a:pt x="7992" y="35775"/>
                    <a:pt x="0" y="27783"/>
                    <a:pt x="0" y="17888"/>
                  </a:cubicBezTo>
                  <a:cubicBezTo>
                    <a:pt x="0" y="7993"/>
                    <a:pt x="7992" y="1"/>
                    <a:pt x="17887" y="1"/>
                  </a:cubicBezTo>
                  <a:cubicBezTo>
                    <a:pt x="27706" y="-76"/>
                    <a:pt x="35774" y="7993"/>
                    <a:pt x="35774" y="17888"/>
                  </a:cubicBezTo>
                </a:path>
              </a:pathLst>
            </a:custGeom>
            <a:grpFill/>
            <a:ln w="7608" cap="flat">
              <a:noFill/>
              <a:prstDash val="solid"/>
              <a:miter/>
            </a:ln>
          </p:spPr>
          <p:txBody>
            <a:bodyPr rtlCol="0" anchor="ctr"/>
            <a:lstStyle/>
            <a:p>
              <a:endParaRPr lang="hi-IN"/>
            </a:p>
          </p:txBody>
        </p:sp>
        <p:sp>
          <p:nvSpPr>
            <p:cNvPr id="1316" name="Freeform: Shape 315"/>
            <p:cNvSpPr/>
            <p:nvPr/>
          </p:nvSpPr>
          <p:spPr>
            <a:xfrm>
              <a:off x="10126844" y="3286283"/>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317" name="Freeform: Shape 316"/>
            <p:cNvSpPr/>
            <p:nvPr/>
          </p:nvSpPr>
          <p:spPr>
            <a:xfrm>
              <a:off x="10047380" y="3128724"/>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318" name="Freeform: Shape 317"/>
            <p:cNvSpPr/>
            <p:nvPr/>
          </p:nvSpPr>
          <p:spPr>
            <a:xfrm>
              <a:off x="9957259" y="2977026"/>
              <a:ext cx="40188" cy="40188"/>
            </a:xfrm>
            <a:custGeom>
              <a:avLst/>
              <a:gdLst>
                <a:gd name="connsiteX0" fmla="*/ 40188 w 40188"/>
                <a:gd name="connsiteY0" fmla="*/ 20095 h 40188"/>
                <a:gd name="connsiteX1" fmla="*/ 20095 w 40188"/>
                <a:gd name="connsiteY1" fmla="*/ 40189 h 40188"/>
                <a:gd name="connsiteX2" fmla="*/ 0 w 40188"/>
                <a:gd name="connsiteY2" fmla="*/ 20095 h 40188"/>
                <a:gd name="connsiteX3" fmla="*/ 20095 w 40188"/>
                <a:gd name="connsiteY3" fmla="*/ 0 h 40188"/>
                <a:gd name="connsiteX4" fmla="*/ 40188 w 40188"/>
                <a:gd name="connsiteY4" fmla="*/ 20095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8" h="40188">
                  <a:moveTo>
                    <a:pt x="40188" y="20095"/>
                  </a:moveTo>
                  <a:cubicBezTo>
                    <a:pt x="40188" y="31207"/>
                    <a:pt x="31207" y="40189"/>
                    <a:pt x="20095" y="40189"/>
                  </a:cubicBezTo>
                  <a:cubicBezTo>
                    <a:pt x="8981" y="40189"/>
                    <a:pt x="0" y="31207"/>
                    <a:pt x="0" y="20095"/>
                  </a:cubicBezTo>
                  <a:cubicBezTo>
                    <a:pt x="0" y="8982"/>
                    <a:pt x="8981" y="0"/>
                    <a:pt x="20095" y="0"/>
                  </a:cubicBezTo>
                  <a:cubicBezTo>
                    <a:pt x="31131" y="0"/>
                    <a:pt x="40188" y="8982"/>
                    <a:pt x="40188" y="20095"/>
                  </a:cubicBezTo>
                </a:path>
              </a:pathLst>
            </a:custGeom>
            <a:grpFill/>
            <a:ln w="7608" cap="flat">
              <a:noFill/>
              <a:prstDash val="solid"/>
              <a:miter/>
            </a:ln>
          </p:spPr>
          <p:txBody>
            <a:bodyPr rtlCol="0" anchor="ctr"/>
            <a:lstStyle/>
            <a:p>
              <a:endParaRPr lang="hi-IN"/>
            </a:p>
          </p:txBody>
        </p:sp>
        <p:sp>
          <p:nvSpPr>
            <p:cNvPr id="1319" name="Freeform: Shape 318"/>
            <p:cNvSpPr/>
            <p:nvPr/>
          </p:nvSpPr>
          <p:spPr>
            <a:xfrm>
              <a:off x="9856862" y="2831874"/>
              <a:ext cx="41254" cy="41254"/>
            </a:xfrm>
            <a:custGeom>
              <a:avLst/>
              <a:gdLst>
                <a:gd name="connsiteX0" fmla="*/ 41255 w 41254"/>
                <a:gd name="connsiteY0" fmla="*/ 20627 h 41254"/>
                <a:gd name="connsiteX1" fmla="*/ 20628 w 41254"/>
                <a:gd name="connsiteY1" fmla="*/ 41255 h 41254"/>
                <a:gd name="connsiteX2" fmla="*/ 0 w 41254"/>
                <a:gd name="connsiteY2" fmla="*/ 20627 h 41254"/>
                <a:gd name="connsiteX3" fmla="*/ 20628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5"/>
                    <a:pt x="32045" y="41255"/>
                    <a:pt x="20628" y="41255"/>
                  </a:cubicBezTo>
                  <a:cubicBezTo>
                    <a:pt x="9211" y="41255"/>
                    <a:pt x="0" y="32045"/>
                    <a:pt x="0" y="20627"/>
                  </a:cubicBezTo>
                  <a:cubicBezTo>
                    <a:pt x="0" y="9210"/>
                    <a:pt x="9211" y="0"/>
                    <a:pt x="20628" y="0"/>
                  </a:cubicBezTo>
                  <a:cubicBezTo>
                    <a:pt x="32045" y="0"/>
                    <a:pt x="41255" y="9210"/>
                    <a:pt x="41255" y="20627"/>
                  </a:cubicBezTo>
                </a:path>
              </a:pathLst>
            </a:custGeom>
            <a:grpFill/>
            <a:ln w="7608" cap="flat">
              <a:noFill/>
              <a:prstDash val="solid"/>
              <a:miter/>
            </a:ln>
          </p:spPr>
          <p:txBody>
            <a:bodyPr rtlCol="0" anchor="ctr"/>
            <a:lstStyle/>
            <a:p>
              <a:endParaRPr lang="hi-IN"/>
            </a:p>
          </p:txBody>
        </p:sp>
        <p:sp>
          <p:nvSpPr>
            <p:cNvPr id="1320" name="Freeform: Shape 319"/>
            <p:cNvSpPr/>
            <p:nvPr/>
          </p:nvSpPr>
          <p:spPr>
            <a:xfrm>
              <a:off x="9746800" y="2693952"/>
              <a:ext cx="42319" cy="42320"/>
            </a:xfrm>
            <a:custGeom>
              <a:avLst/>
              <a:gdLst>
                <a:gd name="connsiteX0" fmla="*/ 42320 w 42319"/>
                <a:gd name="connsiteY0" fmla="*/ 21161 h 42320"/>
                <a:gd name="connsiteX1" fmla="*/ 21160 w 42319"/>
                <a:gd name="connsiteY1" fmla="*/ 42321 h 42320"/>
                <a:gd name="connsiteX2" fmla="*/ 0 w 42319"/>
                <a:gd name="connsiteY2" fmla="*/ 21161 h 42320"/>
                <a:gd name="connsiteX3" fmla="*/ 21160 w 42319"/>
                <a:gd name="connsiteY3" fmla="*/ 0 h 42320"/>
                <a:gd name="connsiteX4" fmla="*/ 42320 w 42319"/>
                <a:gd name="connsiteY4" fmla="*/ 21161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1"/>
                  </a:moveTo>
                  <a:cubicBezTo>
                    <a:pt x="42320" y="32882"/>
                    <a:pt x="32805" y="42321"/>
                    <a:pt x="21160" y="42321"/>
                  </a:cubicBezTo>
                  <a:cubicBezTo>
                    <a:pt x="9438" y="42321"/>
                    <a:pt x="0" y="32806"/>
                    <a:pt x="0" y="21161"/>
                  </a:cubicBezTo>
                  <a:cubicBezTo>
                    <a:pt x="0" y="9439"/>
                    <a:pt x="9514" y="0"/>
                    <a:pt x="21160" y="0"/>
                  </a:cubicBezTo>
                  <a:cubicBezTo>
                    <a:pt x="32805" y="-76"/>
                    <a:pt x="42320" y="9439"/>
                    <a:pt x="42320" y="21161"/>
                  </a:cubicBezTo>
                </a:path>
              </a:pathLst>
            </a:custGeom>
            <a:grpFill/>
            <a:ln w="7608" cap="flat">
              <a:noFill/>
              <a:prstDash val="solid"/>
              <a:miter/>
            </a:ln>
          </p:spPr>
          <p:txBody>
            <a:bodyPr rtlCol="0" anchor="ctr"/>
            <a:lstStyle/>
            <a:p>
              <a:endParaRPr lang="hi-IN"/>
            </a:p>
          </p:txBody>
        </p:sp>
        <p:sp>
          <p:nvSpPr>
            <p:cNvPr id="1321" name="Freeform: Shape 320"/>
            <p:cNvSpPr/>
            <p:nvPr/>
          </p:nvSpPr>
          <p:spPr>
            <a:xfrm>
              <a:off x="9627984" y="2564404"/>
              <a:ext cx="42319" cy="42320"/>
            </a:xfrm>
            <a:custGeom>
              <a:avLst/>
              <a:gdLst>
                <a:gd name="connsiteX0" fmla="*/ 42320 w 42319"/>
                <a:gd name="connsiteY0" fmla="*/ 21160 h 42320"/>
                <a:gd name="connsiteX1" fmla="*/ 21160 w 42319"/>
                <a:gd name="connsiteY1" fmla="*/ 42320 h 42320"/>
                <a:gd name="connsiteX2" fmla="*/ 0 w 42319"/>
                <a:gd name="connsiteY2" fmla="*/ 21160 h 42320"/>
                <a:gd name="connsiteX3" fmla="*/ 21160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0"/>
                    <a:pt x="21160" y="42320"/>
                  </a:cubicBezTo>
                  <a:cubicBezTo>
                    <a:pt x="9438" y="42320"/>
                    <a:pt x="0" y="32806"/>
                    <a:pt x="0" y="21160"/>
                  </a:cubicBezTo>
                  <a:cubicBezTo>
                    <a:pt x="0" y="9438"/>
                    <a:pt x="9514" y="0"/>
                    <a:pt x="21160" y="0"/>
                  </a:cubicBezTo>
                  <a:cubicBezTo>
                    <a:pt x="32805" y="0"/>
                    <a:pt x="42320" y="9438"/>
                    <a:pt x="42320" y="21160"/>
                  </a:cubicBezTo>
                </a:path>
              </a:pathLst>
            </a:custGeom>
            <a:grpFill/>
            <a:ln w="7608" cap="flat">
              <a:noFill/>
              <a:prstDash val="solid"/>
              <a:miter/>
            </a:ln>
          </p:spPr>
          <p:txBody>
            <a:bodyPr rtlCol="0" anchor="ctr"/>
            <a:lstStyle/>
            <a:p>
              <a:endParaRPr lang="hi-IN"/>
            </a:p>
          </p:txBody>
        </p:sp>
        <p:sp>
          <p:nvSpPr>
            <p:cNvPr id="1322" name="Freeform: Shape 321"/>
            <p:cNvSpPr/>
            <p:nvPr/>
          </p:nvSpPr>
          <p:spPr>
            <a:xfrm>
              <a:off x="9500567" y="2443381"/>
              <a:ext cx="42319" cy="42320"/>
            </a:xfrm>
            <a:custGeom>
              <a:avLst/>
              <a:gdLst>
                <a:gd name="connsiteX0" fmla="*/ 42320 w 42319"/>
                <a:gd name="connsiteY0" fmla="*/ 21160 h 42320"/>
                <a:gd name="connsiteX1" fmla="*/ 21159 w 42319"/>
                <a:gd name="connsiteY1" fmla="*/ 42320 h 42320"/>
                <a:gd name="connsiteX2" fmla="*/ 0 w 42319"/>
                <a:gd name="connsiteY2" fmla="*/ 21160 h 42320"/>
                <a:gd name="connsiteX3" fmla="*/ 21159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0"/>
                    <a:pt x="21159" y="42320"/>
                  </a:cubicBezTo>
                  <a:cubicBezTo>
                    <a:pt x="9438" y="42320"/>
                    <a:pt x="0" y="32882"/>
                    <a:pt x="0" y="21160"/>
                  </a:cubicBezTo>
                  <a:cubicBezTo>
                    <a:pt x="0" y="9438"/>
                    <a:pt x="9514" y="0"/>
                    <a:pt x="21159" y="0"/>
                  </a:cubicBezTo>
                  <a:cubicBezTo>
                    <a:pt x="32805" y="0"/>
                    <a:pt x="42320" y="9438"/>
                    <a:pt x="42320" y="21160"/>
                  </a:cubicBezTo>
                </a:path>
              </a:pathLst>
            </a:custGeom>
            <a:grpFill/>
            <a:ln w="7608" cap="flat">
              <a:noFill/>
              <a:prstDash val="solid"/>
              <a:miter/>
            </a:ln>
          </p:spPr>
          <p:txBody>
            <a:bodyPr rtlCol="0" anchor="ctr"/>
            <a:lstStyle/>
            <a:p>
              <a:endParaRPr lang="hi-IN"/>
            </a:p>
          </p:txBody>
        </p:sp>
        <p:sp>
          <p:nvSpPr>
            <p:cNvPr id="1323" name="Freeform: Shape 322"/>
            <p:cNvSpPr/>
            <p:nvPr/>
          </p:nvSpPr>
          <p:spPr>
            <a:xfrm>
              <a:off x="9365614" y="2332024"/>
              <a:ext cx="41253" cy="41254"/>
            </a:xfrm>
            <a:custGeom>
              <a:avLst/>
              <a:gdLst>
                <a:gd name="connsiteX0" fmla="*/ 41254 w 41253"/>
                <a:gd name="connsiteY0" fmla="*/ 20627 h 41254"/>
                <a:gd name="connsiteX1" fmla="*/ 20627 w 41253"/>
                <a:gd name="connsiteY1" fmla="*/ 41254 h 41254"/>
                <a:gd name="connsiteX2" fmla="*/ 0 w 41253"/>
                <a:gd name="connsiteY2" fmla="*/ 20627 h 41254"/>
                <a:gd name="connsiteX3" fmla="*/ 20627 w 41253"/>
                <a:gd name="connsiteY3" fmla="*/ 0 h 41254"/>
                <a:gd name="connsiteX4" fmla="*/ 41254 w 41253"/>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3" h="41254">
                  <a:moveTo>
                    <a:pt x="41254" y="20627"/>
                  </a:moveTo>
                  <a:cubicBezTo>
                    <a:pt x="41254" y="32045"/>
                    <a:pt x="32044" y="41254"/>
                    <a:pt x="20627" y="41254"/>
                  </a:cubicBezTo>
                  <a:cubicBezTo>
                    <a:pt x="9210" y="41254"/>
                    <a:pt x="0" y="32045"/>
                    <a:pt x="0" y="20627"/>
                  </a:cubicBezTo>
                  <a:cubicBezTo>
                    <a:pt x="0" y="9210"/>
                    <a:pt x="9210" y="0"/>
                    <a:pt x="20627" y="0"/>
                  </a:cubicBezTo>
                  <a:cubicBezTo>
                    <a:pt x="31968" y="0"/>
                    <a:pt x="41254" y="9210"/>
                    <a:pt x="41254" y="20627"/>
                  </a:cubicBezTo>
                </a:path>
              </a:pathLst>
            </a:custGeom>
            <a:grpFill/>
            <a:ln w="7608" cap="flat">
              <a:noFill/>
              <a:prstDash val="solid"/>
              <a:miter/>
            </a:ln>
          </p:spPr>
          <p:txBody>
            <a:bodyPr rtlCol="0" anchor="ctr"/>
            <a:lstStyle/>
            <a:p>
              <a:endParaRPr lang="hi-IN"/>
            </a:p>
          </p:txBody>
        </p:sp>
        <p:sp>
          <p:nvSpPr>
            <p:cNvPr id="1324" name="Freeform: Shape 323"/>
            <p:cNvSpPr/>
            <p:nvPr/>
          </p:nvSpPr>
          <p:spPr>
            <a:xfrm>
              <a:off x="9223202" y="2230182"/>
              <a:ext cx="40189" cy="40188"/>
            </a:xfrm>
            <a:custGeom>
              <a:avLst/>
              <a:gdLst>
                <a:gd name="connsiteX0" fmla="*/ 40189 w 40189"/>
                <a:gd name="connsiteY0" fmla="*/ 20095 h 40188"/>
                <a:gd name="connsiteX1" fmla="*/ 20095 w 40189"/>
                <a:gd name="connsiteY1" fmla="*/ 40189 h 40188"/>
                <a:gd name="connsiteX2" fmla="*/ 0 w 40189"/>
                <a:gd name="connsiteY2" fmla="*/ 20095 h 40188"/>
                <a:gd name="connsiteX3" fmla="*/ 20095 w 40189"/>
                <a:gd name="connsiteY3" fmla="*/ 0 h 40188"/>
                <a:gd name="connsiteX4" fmla="*/ 40189 w 40189"/>
                <a:gd name="connsiteY4" fmla="*/ 20095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5"/>
                  </a:moveTo>
                  <a:cubicBezTo>
                    <a:pt x="40189" y="31207"/>
                    <a:pt x="31207" y="40189"/>
                    <a:pt x="20095" y="40189"/>
                  </a:cubicBezTo>
                  <a:cubicBezTo>
                    <a:pt x="8982" y="40189"/>
                    <a:pt x="0" y="31207"/>
                    <a:pt x="0" y="20095"/>
                  </a:cubicBezTo>
                  <a:cubicBezTo>
                    <a:pt x="0" y="8982"/>
                    <a:pt x="8982" y="0"/>
                    <a:pt x="20095" y="0"/>
                  </a:cubicBezTo>
                  <a:cubicBezTo>
                    <a:pt x="31207" y="76"/>
                    <a:pt x="40189" y="9058"/>
                    <a:pt x="40189" y="20095"/>
                  </a:cubicBezTo>
                </a:path>
              </a:pathLst>
            </a:custGeom>
            <a:grpFill/>
            <a:ln w="7608" cap="flat">
              <a:noFill/>
              <a:prstDash val="solid"/>
              <a:miter/>
            </a:ln>
          </p:spPr>
          <p:txBody>
            <a:bodyPr rtlCol="0" anchor="ctr"/>
            <a:lstStyle/>
            <a:p>
              <a:endParaRPr lang="hi-IN"/>
            </a:p>
          </p:txBody>
        </p:sp>
        <p:sp>
          <p:nvSpPr>
            <p:cNvPr id="1325" name="Freeform: Shape 324"/>
            <p:cNvSpPr/>
            <p:nvPr/>
          </p:nvSpPr>
          <p:spPr>
            <a:xfrm>
              <a:off x="9074092" y="2138538"/>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446" y="0"/>
                    <a:pt x="39123" y="8753"/>
                    <a:pt x="39123" y="19562"/>
                  </a:cubicBezTo>
                </a:path>
              </a:pathLst>
            </a:custGeom>
            <a:grpFill/>
            <a:ln w="7608" cap="flat">
              <a:noFill/>
              <a:prstDash val="solid"/>
              <a:miter/>
            </a:ln>
          </p:spPr>
          <p:txBody>
            <a:bodyPr rtlCol="0" anchor="ctr"/>
            <a:lstStyle/>
            <a:p>
              <a:endParaRPr lang="hi-IN"/>
            </a:p>
          </p:txBody>
        </p:sp>
        <p:sp>
          <p:nvSpPr>
            <p:cNvPr id="1326" name="Freeform: Shape 325"/>
            <p:cNvSpPr/>
            <p:nvPr/>
          </p:nvSpPr>
          <p:spPr>
            <a:xfrm>
              <a:off x="8919045" y="2057399"/>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327" name="Freeform: Shape 326"/>
            <p:cNvSpPr/>
            <p:nvPr/>
          </p:nvSpPr>
          <p:spPr>
            <a:xfrm>
              <a:off x="8759355" y="1987829"/>
              <a:ext cx="35773" cy="35774"/>
            </a:xfrm>
            <a:custGeom>
              <a:avLst/>
              <a:gdLst>
                <a:gd name="connsiteX0" fmla="*/ 35774 w 35773"/>
                <a:gd name="connsiteY0" fmla="*/ 17888 h 35774"/>
                <a:gd name="connsiteX1" fmla="*/ 17887 w 35773"/>
                <a:gd name="connsiteY1" fmla="*/ 35775 h 35774"/>
                <a:gd name="connsiteX2" fmla="*/ 0 w 35773"/>
                <a:gd name="connsiteY2" fmla="*/ 17888 h 35774"/>
                <a:gd name="connsiteX3" fmla="*/ 17887 w 35773"/>
                <a:gd name="connsiteY3" fmla="*/ 1 h 35774"/>
                <a:gd name="connsiteX4" fmla="*/ 35774 w 35773"/>
                <a:gd name="connsiteY4" fmla="*/ 17888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8"/>
                  </a:moveTo>
                  <a:cubicBezTo>
                    <a:pt x="35774" y="27783"/>
                    <a:pt x="27782" y="35775"/>
                    <a:pt x="17887" y="35775"/>
                  </a:cubicBezTo>
                  <a:cubicBezTo>
                    <a:pt x="7992" y="35775"/>
                    <a:pt x="0" y="27783"/>
                    <a:pt x="0" y="17888"/>
                  </a:cubicBezTo>
                  <a:cubicBezTo>
                    <a:pt x="0" y="7993"/>
                    <a:pt x="7992" y="1"/>
                    <a:pt x="17887" y="1"/>
                  </a:cubicBezTo>
                  <a:cubicBezTo>
                    <a:pt x="27782" y="-76"/>
                    <a:pt x="35774" y="7993"/>
                    <a:pt x="35774" y="17888"/>
                  </a:cubicBezTo>
                </a:path>
              </a:pathLst>
            </a:custGeom>
            <a:grpFill/>
            <a:ln w="7608" cap="flat">
              <a:noFill/>
              <a:prstDash val="solid"/>
              <a:miter/>
            </a:ln>
          </p:spPr>
          <p:txBody>
            <a:bodyPr rtlCol="0" anchor="ctr"/>
            <a:lstStyle/>
            <a:p>
              <a:endParaRPr lang="hi-IN"/>
            </a:p>
          </p:txBody>
        </p:sp>
        <p:sp>
          <p:nvSpPr>
            <p:cNvPr id="1328" name="Freeform: Shape 327"/>
            <p:cNvSpPr/>
            <p:nvPr/>
          </p:nvSpPr>
          <p:spPr>
            <a:xfrm>
              <a:off x="8595021" y="1929373"/>
              <a:ext cx="33643" cy="33643"/>
            </a:xfrm>
            <a:custGeom>
              <a:avLst/>
              <a:gdLst>
                <a:gd name="connsiteX0" fmla="*/ 33643 w 33643"/>
                <a:gd name="connsiteY0" fmla="*/ 16822 h 33643"/>
                <a:gd name="connsiteX1" fmla="*/ 16822 w 33643"/>
                <a:gd name="connsiteY1" fmla="*/ 33643 h 33643"/>
                <a:gd name="connsiteX2" fmla="*/ 0 w 33643"/>
                <a:gd name="connsiteY2" fmla="*/ 16822 h 33643"/>
                <a:gd name="connsiteX3" fmla="*/ 16822 w 33643"/>
                <a:gd name="connsiteY3" fmla="*/ 0 h 33643"/>
                <a:gd name="connsiteX4" fmla="*/ 33643 w 33643"/>
                <a:gd name="connsiteY4" fmla="*/ 16822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3">
                  <a:moveTo>
                    <a:pt x="33643" y="16822"/>
                  </a:moveTo>
                  <a:cubicBezTo>
                    <a:pt x="33643" y="26108"/>
                    <a:pt x="26108" y="33643"/>
                    <a:pt x="16822" y="33643"/>
                  </a:cubicBezTo>
                  <a:cubicBezTo>
                    <a:pt x="7536" y="33643"/>
                    <a:pt x="0" y="26108"/>
                    <a:pt x="0" y="16822"/>
                  </a:cubicBezTo>
                  <a:cubicBezTo>
                    <a:pt x="0" y="7535"/>
                    <a:pt x="7536" y="0"/>
                    <a:pt x="16822" y="0"/>
                  </a:cubicBezTo>
                  <a:cubicBezTo>
                    <a:pt x="26108" y="0"/>
                    <a:pt x="33643" y="7535"/>
                    <a:pt x="33643" y="16822"/>
                  </a:cubicBezTo>
                </a:path>
              </a:pathLst>
            </a:custGeom>
            <a:grpFill/>
            <a:ln w="7608" cap="flat">
              <a:noFill/>
              <a:prstDash val="solid"/>
              <a:miter/>
            </a:ln>
          </p:spPr>
          <p:txBody>
            <a:bodyPr rtlCol="0" anchor="ctr"/>
            <a:lstStyle/>
            <a:p>
              <a:endParaRPr lang="hi-IN"/>
            </a:p>
          </p:txBody>
        </p:sp>
        <p:sp>
          <p:nvSpPr>
            <p:cNvPr id="1329" name="Freeform: Shape 328"/>
            <p:cNvSpPr/>
            <p:nvPr/>
          </p:nvSpPr>
          <p:spPr>
            <a:xfrm>
              <a:off x="8427034" y="1882562"/>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9" y="31512"/>
                    <a:pt x="0" y="24433"/>
                    <a:pt x="0" y="15756"/>
                  </a:cubicBezTo>
                  <a:cubicBezTo>
                    <a:pt x="0" y="7079"/>
                    <a:pt x="7079" y="0"/>
                    <a:pt x="15755" y="0"/>
                  </a:cubicBezTo>
                  <a:cubicBezTo>
                    <a:pt x="24433" y="0"/>
                    <a:pt x="31512" y="7003"/>
                    <a:pt x="31512" y="15756"/>
                  </a:cubicBezTo>
                </a:path>
              </a:pathLst>
            </a:custGeom>
            <a:grpFill/>
            <a:ln w="7608" cap="flat">
              <a:noFill/>
              <a:prstDash val="solid"/>
              <a:miter/>
            </a:ln>
          </p:spPr>
          <p:txBody>
            <a:bodyPr rtlCol="0" anchor="ctr"/>
            <a:lstStyle/>
            <a:p>
              <a:endParaRPr lang="hi-IN"/>
            </a:p>
          </p:txBody>
        </p:sp>
        <p:sp>
          <p:nvSpPr>
            <p:cNvPr id="1330" name="Freeform: Shape 329"/>
            <p:cNvSpPr/>
            <p:nvPr/>
          </p:nvSpPr>
          <p:spPr>
            <a:xfrm>
              <a:off x="8256079" y="1847473"/>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0" y="29381"/>
                  </a:cubicBezTo>
                  <a:cubicBezTo>
                    <a:pt x="6622" y="29381"/>
                    <a:pt x="0" y="22835"/>
                    <a:pt x="0" y="14690"/>
                  </a:cubicBezTo>
                  <a:cubicBezTo>
                    <a:pt x="0" y="6622"/>
                    <a:pt x="6546" y="0"/>
                    <a:pt x="14690" y="0"/>
                  </a:cubicBezTo>
                  <a:cubicBezTo>
                    <a:pt x="22835" y="0"/>
                    <a:pt x="29380" y="6546"/>
                    <a:pt x="29380" y="14690"/>
                  </a:cubicBezTo>
                </a:path>
              </a:pathLst>
            </a:custGeom>
            <a:grpFill/>
            <a:ln w="7608" cap="flat">
              <a:noFill/>
              <a:prstDash val="solid"/>
              <a:miter/>
            </a:ln>
          </p:spPr>
          <p:txBody>
            <a:bodyPr rtlCol="0" anchor="ctr"/>
            <a:lstStyle/>
            <a:p>
              <a:endParaRPr lang="hi-IN"/>
            </a:p>
          </p:txBody>
        </p:sp>
        <p:sp>
          <p:nvSpPr>
            <p:cNvPr id="1331" name="Freeform: Shape 330"/>
            <p:cNvSpPr/>
            <p:nvPr/>
          </p:nvSpPr>
          <p:spPr>
            <a:xfrm>
              <a:off x="8083221" y="1824410"/>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4"/>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332" name="Freeform: Shape 331"/>
            <p:cNvSpPr/>
            <p:nvPr/>
          </p:nvSpPr>
          <p:spPr>
            <a:xfrm>
              <a:off x="7909450" y="1813906"/>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328"/>
                    <a:pt x="23900" y="11950"/>
                  </a:cubicBezTo>
                </a:path>
              </a:pathLst>
            </a:custGeom>
            <a:grpFill/>
            <a:ln w="7608" cap="flat">
              <a:noFill/>
              <a:prstDash val="solid"/>
              <a:miter/>
            </a:ln>
          </p:spPr>
          <p:txBody>
            <a:bodyPr rtlCol="0" anchor="ctr"/>
            <a:lstStyle/>
            <a:p>
              <a:endParaRPr lang="hi-IN"/>
            </a:p>
          </p:txBody>
        </p:sp>
        <p:sp>
          <p:nvSpPr>
            <p:cNvPr id="1333" name="Freeform: Shape 332"/>
            <p:cNvSpPr/>
            <p:nvPr/>
          </p:nvSpPr>
          <p:spPr>
            <a:xfrm>
              <a:off x="7735374" y="1815505"/>
              <a:ext cx="20627" cy="20627"/>
            </a:xfrm>
            <a:custGeom>
              <a:avLst/>
              <a:gdLst>
                <a:gd name="connsiteX0" fmla="*/ 20627 w 20627"/>
                <a:gd name="connsiteY0" fmla="*/ 10352 h 20627"/>
                <a:gd name="connsiteX1" fmla="*/ 10275 w 20627"/>
                <a:gd name="connsiteY1" fmla="*/ 20627 h 20627"/>
                <a:gd name="connsiteX2" fmla="*/ 0 w 20627"/>
                <a:gd name="connsiteY2" fmla="*/ 10352 h 20627"/>
                <a:gd name="connsiteX3" fmla="*/ 10275 w 20627"/>
                <a:gd name="connsiteY3" fmla="*/ 0 h 20627"/>
                <a:gd name="connsiteX4" fmla="*/ 20627 w 20627"/>
                <a:gd name="connsiteY4" fmla="*/ 10352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627">
                  <a:moveTo>
                    <a:pt x="20627" y="10352"/>
                  </a:moveTo>
                  <a:cubicBezTo>
                    <a:pt x="20627" y="16060"/>
                    <a:pt x="15984" y="20627"/>
                    <a:pt x="10275" y="20627"/>
                  </a:cubicBezTo>
                  <a:cubicBezTo>
                    <a:pt x="4567" y="20627"/>
                    <a:pt x="0" y="15984"/>
                    <a:pt x="0" y="10352"/>
                  </a:cubicBezTo>
                  <a:cubicBezTo>
                    <a:pt x="0" y="4643"/>
                    <a:pt x="4643" y="0"/>
                    <a:pt x="10275" y="0"/>
                  </a:cubicBezTo>
                  <a:cubicBezTo>
                    <a:pt x="15984" y="0"/>
                    <a:pt x="20627" y="4643"/>
                    <a:pt x="20627" y="10352"/>
                  </a:cubicBezTo>
                </a:path>
              </a:pathLst>
            </a:custGeom>
            <a:grpFill/>
            <a:ln w="7608" cap="flat">
              <a:noFill/>
              <a:prstDash val="solid"/>
              <a:miter/>
            </a:ln>
          </p:spPr>
          <p:txBody>
            <a:bodyPr rtlCol="0" anchor="ctr"/>
            <a:lstStyle/>
            <a:p>
              <a:endParaRPr lang="hi-IN"/>
            </a:p>
          </p:txBody>
        </p:sp>
        <p:sp>
          <p:nvSpPr>
            <p:cNvPr id="1334" name="Freeform: Shape 333"/>
            <p:cNvSpPr/>
            <p:nvPr/>
          </p:nvSpPr>
          <p:spPr>
            <a:xfrm>
              <a:off x="7561145" y="1828749"/>
              <a:ext cx="18419" cy="18419"/>
            </a:xfrm>
            <a:custGeom>
              <a:avLst/>
              <a:gdLst>
                <a:gd name="connsiteX0" fmla="*/ 18420 w 18419"/>
                <a:gd name="connsiteY0" fmla="*/ 9210 h 18419"/>
                <a:gd name="connsiteX1" fmla="*/ 9210 w 18419"/>
                <a:gd name="connsiteY1" fmla="*/ 18420 h 18419"/>
                <a:gd name="connsiteX2" fmla="*/ 0 w 18419"/>
                <a:gd name="connsiteY2" fmla="*/ 9210 h 18419"/>
                <a:gd name="connsiteX3" fmla="*/ 9210 w 18419"/>
                <a:gd name="connsiteY3" fmla="*/ 0 h 18419"/>
                <a:gd name="connsiteX4" fmla="*/ 18420 w 18419"/>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19">
                  <a:moveTo>
                    <a:pt x="18420" y="9210"/>
                  </a:moveTo>
                  <a:cubicBezTo>
                    <a:pt x="18420" y="14310"/>
                    <a:pt x="14310" y="18420"/>
                    <a:pt x="9210" y="18420"/>
                  </a:cubicBezTo>
                  <a:cubicBezTo>
                    <a:pt x="4111" y="18420"/>
                    <a:pt x="0" y="14310"/>
                    <a:pt x="0" y="9210"/>
                  </a:cubicBezTo>
                  <a:cubicBezTo>
                    <a:pt x="0" y="4110"/>
                    <a:pt x="4111"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335" name="Freeform: Shape 334"/>
            <p:cNvSpPr/>
            <p:nvPr/>
          </p:nvSpPr>
          <p:spPr>
            <a:xfrm>
              <a:off x="7388668" y="1854552"/>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336" name="Freeform: Shape 335"/>
            <p:cNvSpPr/>
            <p:nvPr/>
          </p:nvSpPr>
          <p:spPr>
            <a:xfrm>
              <a:off x="7217712" y="1891772"/>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200"/>
                    <a:pt x="0" y="6546"/>
                  </a:cubicBezTo>
                  <a:cubicBezTo>
                    <a:pt x="0" y="2968"/>
                    <a:pt x="2892" y="0"/>
                    <a:pt x="6546" y="0"/>
                  </a:cubicBezTo>
                  <a:cubicBezTo>
                    <a:pt x="10200" y="0"/>
                    <a:pt x="13092" y="2892"/>
                    <a:pt x="13092" y="6546"/>
                  </a:cubicBezTo>
                </a:path>
              </a:pathLst>
            </a:custGeom>
            <a:grpFill/>
            <a:ln w="7608" cap="flat">
              <a:noFill/>
              <a:prstDash val="solid"/>
              <a:miter/>
            </a:ln>
          </p:spPr>
          <p:txBody>
            <a:bodyPr rtlCol="0" anchor="ctr"/>
            <a:lstStyle/>
            <a:p>
              <a:endParaRPr lang="hi-IN"/>
            </a:p>
          </p:txBody>
        </p:sp>
        <p:sp>
          <p:nvSpPr>
            <p:cNvPr id="1337" name="Freeform: Shape 336"/>
            <p:cNvSpPr/>
            <p:nvPr/>
          </p:nvSpPr>
          <p:spPr>
            <a:xfrm>
              <a:off x="7049802" y="1940791"/>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6" y="10808"/>
                    <a:pt x="0" y="8373"/>
                    <a:pt x="0" y="5404"/>
                  </a:cubicBezTo>
                  <a:cubicBezTo>
                    <a:pt x="0" y="2436"/>
                    <a:pt x="2436"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338" name="Freeform: Shape 337"/>
            <p:cNvSpPr/>
            <p:nvPr/>
          </p:nvSpPr>
          <p:spPr>
            <a:xfrm>
              <a:off x="6885468" y="2001379"/>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03" y="8677"/>
                    <a:pt x="0" y="6698"/>
                    <a:pt x="0" y="4339"/>
                  </a:cubicBezTo>
                  <a:cubicBezTo>
                    <a:pt x="0" y="1979"/>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339" name="Freeform: Shape 338"/>
            <p:cNvSpPr/>
            <p:nvPr/>
          </p:nvSpPr>
          <p:spPr>
            <a:xfrm>
              <a:off x="6725626" y="2073155"/>
              <a:ext cx="6546" cy="6546"/>
            </a:xfrm>
            <a:custGeom>
              <a:avLst/>
              <a:gdLst>
                <a:gd name="connsiteX0" fmla="*/ 6546 w 6546"/>
                <a:gd name="connsiteY0" fmla="*/ 3273 h 6546"/>
                <a:gd name="connsiteX1" fmla="*/ 3273 w 6546"/>
                <a:gd name="connsiteY1" fmla="*/ 6546 h 6546"/>
                <a:gd name="connsiteX2" fmla="*/ 0 w 6546"/>
                <a:gd name="connsiteY2" fmla="*/ 3273 h 6546"/>
                <a:gd name="connsiteX3" fmla="*/ 3273 w 6546"/>
                <a:gd name="connsiteY3" fmla="*/ 0 h 6546"/>
                <a:gd name="connsiteX4" fmla="*/ 6546 w 6546"/>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6">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340" name="Freeform: Shape 339"/>
            <p:cNvSpPr/>
            <p:nvPr/>
          </p:nvSpPr>
          <p:spPr>
            <a:xfrm>
              <a:off x="6571112" y="2155893"/>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425" y="0"/>
                    <a:pt x="4415" y="990"/>
                    <a:pt x="4415" y="2207"/>
                  </a:cubicBezTo>
                </a:path>
              </a:pathLst>
            </a:custGeom>
            <a:grpFill/>
            <a:ln w="7608" cap="flat">
              <a:noFill/>
              <a:prstDash val="solid"/>
              <a:miter/>
            </a:ln>
          </p:spPr>
          <p:txBody>
            <a:bodyPr rtlCol="0" anchor="ctr"/>
            <a:lstStyle/>
            <a:p>
              <a:endParaRPr lang="hi-IN"/>
            </a:p>
          </p:txBody>
        </p:sp>
        <p:sp>
          <p:nvSpPr>
            <p:cNvPr id="1341" name="Freeform: Shape 340"/>
            <p:cNvSpPr/>
            <p:nvPr/>
          </p:nvSpPr>
          <p:spPr>
            <a:xfrm>
              <a:off x="6422154" y="2248678"/>
              <a:ext cx="3197" cy="3196"/>
            </a:xfrm>
            <a:custGeom>
              <a:avLst/>
              <a:gdLst>
                <a:gd name="connsiteX0" fmla="*/ 3197 w 3197"/>
                <a:gd name="connsiteY0" fmla="*/ 1599 h 3196"/>
                <a:gd name="connsiteX1" fmla="*/ 1599 w 3197"/>
                <a:gd name="connsiteY1" fmla="*/ 3197 h 3196"/>
                <a:gd name="connsiteX2" fmla="*/ 0 w 3197"/>
                <a:gd name="connsiteY2" fmla="*/ 1599 h 3196"/>
                <a:gd name="connsiteX3" fmla="*/ 1599 w 3197"/>
                <a:gd name="connsiteY3" fmla="*/ 0 h 3196"/>
                <a:gd name="connsiteX4" fmla="*/ 3197 w 3197"/>
                <a:gd name="connsiteY4" fmla="*/ 1599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196">
                  <a:moveTo>
                    <a:pt x="3197" y="1599"/>
                  </a:moveTo>
                  <a:cubicBezTo>
                    <a:pt x="3197" y="2512"/>
                    <a:pt x="2436" y="3197"/>
                    <a:pt x="1599" y="3197"/>
                  </a:cubicBezTo>
                  <a:cubicBezTo>
                    <a:pt x="761" y="3197"/>
                    <a:pt x="0" y="2436"/>
                    <a:pt x="0" y="1599"/>
                  </a:cubicBezTo>
                  <a:cubicBezTo>
                    <a:pt x="0" y="685"/>
                    <a:pt x="761" y="0"/>
                    <a:pt x="1599" y="0"/>
                  </a:cubicBezTo>
                  <a:cubicBezTo>
                    <a:pt x="2436" y="0"/>
                    <a:pt x="3197" y="761"/>
                    <a:pt x="3197" y="1599"/>
                  </a:cubicBezTo>
                </a:path>
              </a:pathLst>
            </a:custGeom>
            <a:grpFill/>
            <a:ln w="7608" cap="flat">
              <a:noFill/>
              <a:prstDash val="solid"/>
              <a:miter/>
            </a:ln>
          </p:spPr>
          <p:txBody>
            <a:bodyPr rtlCol="0" anchor="ctr"/>
            <a:lstStyle/>
            <a:p>
              <a:endParaRPr lang="hi-IN"/>
            </a:p>
          </p:txBody>
        </p:sp>
        <p:sp>
          <p:nvSpPr>
            <p:cNvPr id="1342" name="Freeform: Shape 341"/>
            <p:cNvSpPr/>
            <p:nvPr/>
          </p:nvSpPr>
          <p:spPr>
            <a:xfrm>
              <a:off x="6279818" y="2351586"/>
              <a:ext cx="2130" cy="2131"/>
            </a:xfrm>
            <a:custGeom>
              <a:avLst/>
              <a:gdLst>
                <a:gd name="connsiteX0" fmla="*/ 2131 w 2130"/>
                <a:gd name="connsiteY0" fmla="*/ 1065 h 2131"/>
                <a:gd name="connsiteX1" fmla="*/ 1065 w 2130"/>
                <a:gd name="connsiteY1" fmla="*/ 2131 h 2131"/>
                <a:gd name="connsiteX2" fmla="*/ 0 w 2130"/>
                <a:gd name="connsiteY2" fmla="*/ 1065 h 2131"/>
                <a:gd name="connsiteX3" fmla="*/ 1065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5" y="2131"/>
                  </a:cubicBezTo>
                  <a:cubicBezTo>
                    <a:pt x="457" y="2131"/>
                    <a:pt x="0" y="1675"/>
                    <a:pt x="0" y="1065"/>
                  </a:cubicBezTo>
                  <a:cubicBezTo>
                    <a:pt x="0" y="457"/>
                    <a:pt x="457" y="0"/>
                    <a:pt x="1065"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343" name="Freeform: Shape 342"/>
            <p:cNvSpPr/>
            <p:nvPr/>
          </p:nvSpPr>
          <p:spPr>
            <a:xfrm>
              <a:off x="6144865" y="2464008"/>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5"/>
                    <a:pt x="533" y="1065"/>
                  </a:cubicBezTo>
                  <a:cubicBezTo>
                    <a:pt x="229" y="1065"/>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344" name="Freeform: Shape 343"/>
            <p:cNvSpPr/>
            <p:nvPr/>
          </p:nvSpPr>
          <p:spPr>
            <a:xfrm>
              <a:off x="9862571" y="6212769"/>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8"/>
                    <a:pt x="837" y="1066"/>
                    <a:pt x="533" y="1066"/>
                  </a:cubicBezTo>
                  <a:cubicBezTo>
                    <a:pt x="229" y="1066"/>
                    <a:pt x="0" y="838"/>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345" name="Freeform: Shape 344"/>
            <p:cNvSpPr/>
            <p:nvPr/>
          </p:nvSpPr>
          <p:spPr>
            <a:xfrm>
              <a:off x="9975983" y="6078425"/>
              <a:ext cx="2131" cy="2130"/>
            </a:xfrm>
            <a:custGeom>
              <a:avLst/>
              <a:gdLst>
                <a:gd name="connsiteX0" fmla="*/ 2131 w 2131"/>
                <a:gd name="connsiteY0" fmla="*/ 1065 h 2130"/>
                <a:gd name="connsiteX1" fmla="*/ 1066 w 2131"/>
                <a:gd name="connsiteY1" fmla="*/ 2131 h 2130"/>
                <a:gd name="connsiteX2" fmla="*/ 0 w 2131"/>
                <a:gd name="connsiteY2" fmla="*/ 1065 h 2130"/>
                <a:gd name="connsiteX3" fmla="*/ 1066 w 2131"/>
                <a:gd name="connsiteY3" fmla="*/ 0 h 2130"/>
                <a:gd name="connsiteX4" fmla="*/ 2131 w 2131"/>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5"/>
                  </a:moveTo>
                  <a:cubicBezTo>
                    <a:pt x="2131" y="1674"/>
                    <a:pt x="1674" y="2131"/>
                    <a:pt x="1066" y="2131"/>
                  </a:cubicBezTo>
                  <a:cubicBezTo>
                    <a:pt x="457" y="2131"/>
                    <a:pt x="0" y="1674"/>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346" name="Freeform: Shape 345"/>
            <p:cNvSpPr/>
            <p:nvPr/>
          </p:nvSpPr>
          <p:spPr>
            <a:xfrm>
              <a:off x="10080566" y="5937003"/>
              <a:ext cx="3197" cy="3196"/>
            </a:xfrm>
            <a:custGeom>
              <a:avLst/>
              <a:gdLst>
                <a:gd name="connsiteX0" fmla="*/ 3197 w 3197"/>
                <a:gd name="connsiteY0" fmla="*/ 1599 h 3196"/>
                <a:gd name="connsiteX1" fmla="*/ 1598 w 3197"/>
                <a:gd name="connsiteY1" fmla="*/ 3197 h 3196"/>
                <a:gd name="connsiteX2" fmla="*/ 0 w 3197"/>
                <a:gd name="connsiteY2" fmla="*/ 1599 h 3196"/>
                <a:gd name="connsiteX3" fmla="*/ 1598 w 3197"/>
                <a:gd name="connsiteY3" fmla="*/ 0 h 3196"/>
                <a:gd name="connsiteX4" fmla="*/ 3197 w 3197"/>
                <a:gd name="connsiteY4" fmla="*/ 1599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196">
                  <a:moveTo>
                    <a:pt x="3197" y="1599"/>
                  </a:moveTo>
                  <a:cubicBezTo>
                    <a:pt x="3197" y="2512"/>
                    <a:pt x="2436" y="3197"/>
                    <a:pt x="1598" y="3197"/>
                  </a:cubicBezTo>
                  <a:cubicBezTo>
                    <a:pt x="685" y="3197"/>
                    <a:pt x="0" y="2436"/>
                    <a:pt x="0" y="1599"/>
                  </a:cubicBezTo>
                  <a:cubicBezTo>
                    <a:pt x="0" y="685"/>
                    <a:pt x="761" y="0"/>
                    <a:pt x="1598" y="0"/>
                  </a:cubicBezTo>
                  <a:cubicBezTo>
                    <a:pt x="2436" y="0"/>
                    <a:pt x="3197" y="685"/>
                    <a:pt x="3197" y="1599"/>
                  </a:cubicBezTo>
                </a:path>
              </a:pathLst>
            </a:custGeom>
            <a:grpFill/>
            <a:ln w="7608" cap="flat">
              <a:noFill/>
              <a:prstDash val="solid"/>
              <a:miter/>
            </a:ln>
          </p:spPr>
          <p:txBody>
            <a:bodyPr rtlCol="0" anchor="ctr"/>
            <a:lstStyle/>
            <a:p>
              <a:endParaRPr lang="hi-IN"/>
            </a:p>
          </p:txBody>
        </p:sp>
        <p:sp>
          <p:nvSpPr>
            <p:cNvPr id="1347" name="Freeform: Shape 346"/>
            <p:cNvSpPr/>
            <p:nvPr/>
          </p:nvSpPr>
          <p:spPr>
            <a:xfrm>
              <a:off x="10175710" y="5789111"/>
              <a:ext cx="4414" cy="4414"/>
            </a:xfrm>
            <a:custGeom>
              <a:avLst/>
              <a:gdLst>
                <a:gd name="connsiteX0" fmla="*/ 4414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5"/>
                    <a:pt x="2208" y="4415"/>
                  </a:cubicBezTo>
                  <a:cubicBezTo>
                    <a:pt x="990" y="4415"/>
                    <a:pt x="0" y="3425"/>
                    <a:pt x="0" y="2207"/>
                  </a:cubicBezTo>
                  <a:cubicBezTo>
                    <a:pt x="0" y="990"/>
                    <a:pt x="990" y="0"/>
                    <a:pt x="2208" y="0"/>
                  </a:cubicBezTo>
                  <a:cubicBezTo>
                    <a:pt x="3501" y="76"/>
                    <a:pt x="4414" y="990"/>
                    <a:pt x="4414" y="2207"/>
                  </a:cubicBezTo>
                </a:path>
              </a:pathLst>
            </a:custGeom>
            <a:grpFill/>
            <a:ln w="7608" cap="flat">
              <a:noFill/>
              <a:prstDash val="solid"/>
              <a:miter/>
            </a:ln>
          </p:spPr>
          <p:txBody>
            <a:bodyPr rtlCol="0" anchor="ctr"/>
            <a:lstStyle/>
            <a:p>
              <a:endParaRPr lang="hi-IN"/>
            </a:p>
          </p:txBody>
        </p:sp>
        <p:sp>
          <p:nvSpPr>
            <p:cNvPr id="1348" name="Freeform: Shape 347"/>
            <p:cNvSpPr/>
            <p:nvPr/>
          </p:nvSpPr>
          <p:spPr>
            <a:xfrm>
              <a:off x="10260959" y="5634901"/>
              <a:ext cx="6546" cy="6545"/>
            </a:xfrm>
            <a:custGeom>
              <a:avLst/>
              <a:gdLst>
                <a:gd name="connsiteX0" fmla="*/ 6547 w 6546"/>
                <a:gd name="connsiteY0" fmla="*/ 3273 h 6545"/>
                <a:gd name="connsiteX1" fmla="*/ 3273 w 6546"/>
                <a:gd name="connsiteY1" fmla="*/ 6546 h 6545"/>
                <a:gd name="connsiteX2" fmla="*/ 0 w 6546"/>
                <a:gd name="connsiteY2" fmla="*/ 3273 h 6545"/>
                <a:gd name="connsiteX3" fmla="*/ 3273 w 6546"/>
                <a:gd name="connsiteY3" fmla="*/ 0 h 6545"/>
                <a:gd name="connsiteX4" fmla="*/ 6547 w 6546"/>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5">
                  <a:moveTo>
                    <a:pt x="6547" y="3273"/>
                  </a:moveTo>
                  <a:cubicBezTo>
                    <a:pt x="6547" y="5100"/>
                    <a:pt x="5100" y="6546"/>
                    <a:pt x="3273" y="6546"/>
                  </a:cubicBezTo>
                  <a:cubicBezTo>
                    <a:pt x="1447" y="6546"/>
                    <a:pt x="0" y="5100"/>
                    <a:pt x="0" y="3273"/>
                  </a:cubicBezTo>
                  <a:cubicBezTo>
                    <a:pt x="0" y="1446"/>
                    <a:pt x="1447" y="0"/>
                    <a:pt x="3273" y="0"/>
                  </a:cubicBezTo>
                  <a:cubicBezTo>
                    <a:pt x="5100" y="76"/>
                    <a:pt x="6547" y="1522"/>
                    <a:pt x="6547" y="3273"/>
                  </a:cubicBezTo>
                </a:path>
              </a:pathLst>
            </a:custGeom>
            <a:grpFill/>
            <a:ln w="7608" cap="flat">
              <a:noFill/>
              <a:prstDash val="solid"/>
              <a:miter/>
            </a:ln>
          </p:spPr>
          <p:txBody>
            <a:bodyPr rtlCol="0" anchor="ctr"/>
            <a:lstStyle/>
            <a:p>
              <a:endParaRPr lang="hi-IN"/>
            </a:p>
          </p:txBody>
        </p:sp>
        <p:sp>
          <p:nvSpPr>
            <p:cNvPr id="1349" name="Freeform: Shape 348"/>
            <p:cNvSpPr/>
            <p:nvPr/>
          </p:nvSpPr>
          <p:spPr>
            <a:xfrm>
              <a:off x="10336161" y="5475515"/>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03"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350" name="Freeform: Shape 349"/>
            <p:cNvSpPr/>
            <p:nvPr/>
          </p:nvSpPr>
          <p:spPr>
            <a:xfrm>
              <a:off x="10401088" y="5311562"/>
              <a:ext cx="10808" cy="10808"/>
            </a:xfrm>
            <a:custGeom>
              <a:avLst/>
              <a:gdLst>
                <a:gd name="connsiteX0" fmla="*/ 10809 w 10808"/>
                <a:gd name="connsiteY0" fmla="*/ 5404 h 10808"/>
                <a:gd name="connsiteX1" fmla="*/ 5405 w 10808"/>
                <a:gd name="connsiteY1" fmla="*/ 10808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5" y="10808"/>
                  </a:cubicBezTo>
                  <a:cubicBezTo>
                    <a:pt x="2436" y="10808"/>
                    <a:pt x="0" y="8373"/>
                    <a:pt x="0" y="5404"/>
                  </a:cubicBezTo>
                  <a:cubicBezTo>
                    <a:pt x="0" y="2436"/>
                    <a:pt x="2436" y="0"/>
                    <a:pt x="5405" y="0"/>
                  </a:cubicBezTo>
                  <a:cubicBezTo>
                    <a:pt x="8373" y="0"/>
                    <a:pt x="10809" y="2360"/>
                    <a:pt x="10809" y="5404"/>
                  </a:cubicBezTo>
                </a:path>
              </a:pathLst>
            </a:custGeom>
            <a:grpFill/>
            <a:ln w="7608" cap="flat">
              <a:noFill/>
              <a:prstDash val="solid"/>
              <a:miter/>
            </a:ln>
          </p:spPr>
          <p:txBody>
            <a:bodyPr rtlCol="0" anchor="ctr"/>
            <a:lstStyle/>
            <a:p>
              <a:endParaRPr lang="hi-IN"/>
            </a:p>
          </p:txBody>
        </p:sp>
        <p:sp>
          <p:nvSpPr>
            <p:cNvPr id="1351" name="Freeform: Shape 350"/>
            <p:cNvSpPr/>
            <p:nvPr/>
          </p:nvSpPr>
          <p:spPr>
            <a:xfrm>
              <a:off x="10455206" y="5143652"/>
              <a:ext cx="13092" cy="13091"/>
            </a:xfrm>
            <a:custGeom>
              <a:avLst/>
              <a:gdLst>
                <a:gd name="connsiteX0" fmla="*/ 13093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6" y="13092"/>
                  </a:cubicBezTo>
                  <a:cubicBezTo>
                    <a:pt x="2969" y="13092"/>
                    <a:pt x="0" y="10199"/>
                    <a:pt x="0" y="6546"/>
                  </a:cubicBezTo>
                  <a:cubicBezTo>
                    <a:pt x="0" y="2968"/>
                    <a:pt x="2892" y="0"/>
                    <a:pt x="6546" y="0"/>
                  </a:cubicBezTo>
                  <a:cubicBezTo>
                    <a:pt x="10200" y="0"/>
                    <a:pt x="13093" y="2892"/>
                    <a:pt x="13093" y="6546"/>
                  </a:cubicBezTo>
                </a:path>
              </a:pathLst>
            </a:custGeom>
            <a:grpFill/>
            <a:ln w="7608" cap="flat">
              <a:noFill/>
              <a:prstDash val="solid"/>
              <a:miter/>
            </a:ln>
          </p:spPr>
          <p:txBody>
            <a:bodyPr rtlCol="0" anchor="ctr"/>
            <a:lstStyle/>
            <a:p>
              <a:endParaRPr lang="hi-IN"/>
            </a:p>
          </p:txBody>
        </p:sp>
        <p:sp>
          <p:nvSpPr>
            <p:cNvPr id="1352" name="Freeform: Shape 351"/>
            <p:cNvSpPr/>
            <p:nvPr/>
          </p:nvSpPr>
          <p:spPr>
            <a:xfrm>
              <a:off x="10498744" y="4972544"/>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353" name="Freeform: Shape 352"/>
            <p:cNvSpPr/>
            <p:nvPr/>
          </p:nvSpPr>
          <p:spPr>
            <a:xfrm>
              <a:off x="10530789" y="4798467"/>
              <a:ext cx="18420" cy="18421"/>
            </a:xfrm>
            <a:custGeom>
              <a:avLst/>
              <a:gdLst>
                <a:gd name="connsiteX0" fmla="*/ 18420 w 18420"/>
                <a:gd name="connsiteY0" fmla="*/ 9211 h 18421"/>
                <a:gd name="connsiteX1" fmla="*/ 9210 w 18420"/>
                <a:gd name="connsiteY1" fmla="*/ 18421 h 18421"/>
                <a:gd name="connsiteX2" fmla="*/ 0 w 18420"/>
                <a:gd name="connsiteY2" fmla="*/ 9211 h 18421"/>
                <a:gd name="connsiteX3" fmla="*/ 9210 w 18420"/>
                <a:gd name="connsiteY3" fmla="*/ 1 h 18421"/>
                <a:gd name="connsiteX4" fmla="*/ 18420 w 18420"/>
                <a:gd name="connsiteY4" fmla="*/ 921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1">
                  <a:moveTo>
                    <a:pt x="18420" y="9211"/>
                  </a:moveTo>
                  <a:cubicBezTo>
                    <a:pt x="18420" y="14311"/>
                    <a:pt x="14310" y="18421"/>
                    <a:pt x="9210" y="18421"/>
                  </a:cubicBezTo>
                  <a:cubicBezTo>
                    <a:pt x="4111" y="18421"/>
                    <a:pt x="0" y="14311"/>
                    <a:pt x="0" y="9211"/>
                  </a:cubicBezTo>
                  <a:cubicBezTo>
                    <a:pt x="0" y="4112"/>
                    <a:pt x="4111" y="1"/>
                    <a:pt x="9210" y="1"/>
                  </a:cubicBezTo>
                  <a:cubicBezTo>
                    <a:pt x="14310" y="-75"/>
                    <a:pt x="18420" y="4112"/>
                    <a:pt x="18420" y="9211"/>
                  </a:cubicBezTo>
                </a:path>
              </a:pathLst>
            </a:custGeom>
            <a:grpFill/>
            <a:ln w="7608" cap="flat">
              <a:noFill/>
              <a:prstDash val="solid"/>
              <a:miter/>
            </a:ln>
          </p:spPr>
          <p:txBody>
            <a:bodyPr rtlCol="0" anchor="ctr"/>
            <a:lstStyle/>
            <a:p>
              <a:endParaRPr lang="hi-IN"/>
            </a:p>
          </p:txBody>
        </p:sp>
        <p:sp>
          <p:nvSpPr>
            <p:cNvPr id="1354" name="Freeform: Shape 353"/>
            <p:cNvSpPr/>
            <p:nvPr/>
          </p:nvSpPr>
          <p:spPr>
            <a:xfrm>
              <a:off x="10551568" y="4622489"/>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7" y="21769"/>
                    <a:pt x="10885" y="21769"/>
                  </a:cubicBezTo>
                  <a:cubicBezTo>
                    <a:pt x="4871" y="21769"/>
                    <a:pt x="0" y="16898"/>
                    <a:pt x="0" y="10884"/>
                  </a:cubicBezTo>
                  <a:cubicBezTo>
                    <a:pt x="0" y="4871"/>
                    <a:pt x="4871" y="0"/>
                    <a:pt x="10885"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355" name="Freeform: Shape 354"/>
            <p:cNvSpPr/>
            <p:nvPr/>
          </p:nvSpPr>
          <p:spPr>
            <a:xfrm>
              <a:off x="10561767" y="4446054"/>
              <a:ext cx="23900" cy="23900"/>
            </a:xfrm>
            <a:custGeom>
              <a:avLst/>
              <a:gdLst>
                <a:gd name="connsiteX0" fmla="*/ 23900 w 23900"/>
                <a:gd name="connsiteY0" fmla="*/ 11950 h 23900"/>
                <a:gd name="connsiteX1" fmla="*/ 11951 w 23900"/>
                <a:gd name="connsiteY1" fmla="*/ 23900 h 23900"/>
                <a:gd name="connsiteX2" fmla="*/ 0 w 23900"/>
                <a:gd name="connsiteY2" fmla="*/ 11950 h 23900"/>
                <a:gd name="connsiteX3" fmla="*/ 11951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3" y="23900"/>
                    <a:pt x="11951" y="23900"/>
                  </a:cubicBezTo>
                  <a:cubicBezTo>
                    <a:pt x="5329" y="23900"/>
                    <a:pt x="0" y="18572"/>
                    <a:pt x="0" y="11950"/>
                  </a:cubicBezTo>
                  <a:cubicBezTo>
                    <a:pt x="0" y="5328"/>
                    <a:pt x="5329" y="0"/>
                    <a:pt x="11951" y="0"/>
                  </a:cubicBezTo>
                  <a:cubicBezTo>
                    <a:pt x="18573" y="0"/>
                    <a:pt x="23900" y="5328"/>
                    <a:pt x="23900" y="11950"/>
                  </a:cubicBezTo>
                </a:path>
              </a:pathLst>
            </a:custGeom>
            <a:grpFill/>
            <a:ln w="7608" cap="flat">
              <a:noFill/>
              <a:prstDash val="solid"/>
              <a:miter/>
            </a:ln>
          </p:spPr>
          <p:txBody>
            <a:bodyPr rtlCol="0" anchor="ctr"/>
            <a:lstStyle/>
            <a:p>
              <a:endParaRPr lang="hi-IN"/>
            </a:p>
          </p:txBody>
        </p:sp>
        <p:sp>
          <p:nvSpPr>
            <p:cNvPr id="1356" name="Freeform: Shape 355"/>
            <p:cNvSpPr/>
            <p:nvPr/>
          </p:nvSpPr>
          <p:spPr>
            <a:xfrm>
              <a:off x="10560169" y="4268704"/>
              <a:ext cx="27097" cy="27097"/>
            </a:xfrm>
            <a:custGeom>
              <a:avLst/>
              <a:gdLst>
                <a:gd name="connsiteX0" fmla="*/ 27098 w 27097"/>
                <a:gd name="connsiteY0" fmla="*/ 13549 h 27097"/>
                <a:gd name="connsiteX1" fmla="*/ 13549 w 27097"/>
                <a:gd name="connsiteY1" fmla="*/ 27098 h 27097"/>
                <a:gd name="connsiteX2" fmla="*/ 0 w 27097"/>
                <a:gd name="connsiteY2" fmla="*/ 13549 h 27097"/>
                <a:gd name="connsiteX3" fmla="*/ 13549 w 27097"/>
                <a:gd name="connsiteY3" fmla="*/ 1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5"/>
                    <a:pt x="21008" y="27098"/>
                    <a:pt x="13549" y="27098"/>
                  </a:cubicBezTo>
                  <a:cubicBezTo>
                    <a:pt x="6013" y="27098"/>
                    <a:pt x="0" y="21009"/>
                    <a:pt x="0" y="13549"/>
                  </a:cubicBezTo>
                  <a:cubicBezTo>
                    <a:pt x="0" y="6090"/>
                    <a:pt x="6090" y="1"/>
                    <a:pt x="13549" y="1"/>
                  </a:cubicBezTo>
                  <a:cubicBezTo>
                    <a:pt x="21084" y="-75"/>
                    <a:pt x="27098" y="6014"/>
                    <a:pt x="27098" y="13549"/>
                  </a:cubicBezTo>
                </a:path>
              </a:pathLst>
            </a:custGeom>
            <a:grpFill/>
            <a:ln w="7608" cap="flat">
              <a:noFill/>
              <a:prstDash val="solid"/>
              <a:miter/>
            </a:ln>
          </p:spPr>
          <p:txBody>
            <a:bodyPr rtlCol="0" anchor="ctr"/>
            <a:lstStyle/>
            <a:p>
              <a:endParaRPr lang="hi-IN"/>
            </a:p>
          </p:txBody>
        </p:sp>
        <p:sp>
          <p:nvSpPr>
            <p:cNvPr id="1357" name="Freeform: Shape 356"/>
            <p:cNvSpPr/>
            <p:nvPr/>
          </p:nvSpPr>
          <p:spPr>
            <a:xfrm>
              <a:off x="10547230" y="4091584"/>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0" y="30446"/>
                    <a:pt x="0" y="23672"/>
                    <a:pt x="0" y="15223"/>
                  </a:cubicBezTo>
                  <a:cubicBezTo>
                    <a:pt x="0" y="6774"/>
                    <a:pt x="6773" y="0"/>
                    <a:pt x="15223" y="0"/>
                  </a:cubicBezTo>
                  <a:cubicBezTo>
                    <a:pt x="23596" y="76"/>
                    <a:pt x="30446" y="6851"/>
                    <a:pt x="30446" y="15223"/>
                  </a:cubicBezTo>
                </a:path>
              </a:pathLst>
            </a:custGeom>
            <a:grpFill/>
            <a:ln w="7608" cap="flat">
              <a:noFill/>
              <a:prstDash val="solid"/>
              <a:miter/>
            </a:ln>
          </p:spPr>
          <p:txBody>
            <a:bodyPr rtlCol="0" anchor="ctr"/>
            <a:lstStyle/>
            <a:p>
              <a:endParaRPr lang="hi-IN"/>
            </a:p>
          </p:txBody>
        </p:sp>
        <p:sp>
          <p:nvSpPr>
            <p:cNvPr id="1358" name="Freeform: Shape 357"/>
            <p:cNvSpPr/>
            <p:nvPr/>
          </p:nvSpPr>
          <p:spPr>
            <a:xfrm>
              <a:off x="10523710" y="3916291"/>
              <a:ext cx="32577" cy="32577"/>
            </a:xfrm>
            <a:custGeom>
              <a:avLst/>
              <a:gdLst>
                <a:gd name="connsiteX0" fmla="*/ 32578 w 32577"/>
                <a:gd name="connsiteY0" fmla="*/ 16288 h 32577"/>
                <a:gd name="connsiteX1" fmla="*/ 16289 w 32577"/>
                <a:gd name="connsiteY1" fmla="*/ 32577 h 32577"/>
                <a:gd name="connsiteX2" fmla="*/ 0 w 32577"/>
                <a:gd name="connsiteY2" fmla="*/ 16288 h 32577"/>
                <a:gd name="connsiteX3" fmla="*/ 16289 w 32577"/>
                <a:gd name="connsiteY3" fmla="*/ 0 h 32577"/>
                <a:gd name="connsiteX4" fmla="*/ 32578 w 32577"/>
                <a:gd name="connsiteY4" fmla="*/ 16288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8"/>
                  </a:moveTo>
                  <a:cubicBezTo>
                    <a:pt x="32578" y="25270"/>
                    <a:pt x="25271" y="32577"/>
                    <a:pt x="16289" y="32577"/>
                  </a:cubicBezTo>
                  <a:cubicBezTo>
                    <a:pt x="7308" y="32577"/>
                    <a:pt x="0" y="25270"/>
                    <a:pt x="0" y="16288"/>
                  </a:cubicBezTo>
                  <a:cubicBezTo>
                    <a:pt x="0" y="7307"/>
                    <a:pt x="7308" y="0"/>
                    <a:pt x="16289" y="0"/>
                  </a:cubicBezTo>
                  <a:cubicBezTo>
                    <a:pt x="25271" y="0"/>
                    <a:pt x="32578" y="7231"/>
                    <a:pt x="32578" y="16288"/>
                  </a:cubicBezTo>
                </a:path>
              </a:pathLst>
            </a:custGeom>
            <a:grpFill/>
            <a:ln w="7608" cap="flat">
              <a:noFill/>
              <a:prstDash val="solid"/>
              <a:miter/>
            </a:ln>
          </p:spPr>
          <p:txBody>
            <a:bodyPr rtlCol="0" anchor="ctr"/>
            <a:lstStyle/>
            <a:p>
              <a:endParaRPr lang="hi-IN"/>
            </a:p>
          </p:txBody>
        </p:sp>
        <p:sp>
          <p:nvSpPr>
            <p:cNvPr id="1359" name="Freeform: Shape 358"/>
            <p:cNvSpPr/>
            <p:nvPr/>
          </p:nvSpPr>
          <p:spPr>
            <a:xfrm>
              <a:off x="10488544" y="3742138"/>
              <a:ext cx="35774" cy="35774"/>
            </a:xfrm>
            <a:custGeom>
              <a:avLst/>
              <a:gdLst>
                <a:gd name="connsiteX0" fmla="*/ 35775 w 35774"/>
                <a:gd name="connsiteY0" fmla="*/ 17887 h 35774"/>
                <a:gd name="connsiteX1" fmla="*/ 17887 w 35774"/>
                <a:gd name="connsiteY1" fmla="*/ 35774 h 35774"/>
                <a:gd name="connsiteX2" fmla="*/ 0 w 35774"/>
                <a:gd name="connsiteY2" fmla="*/ 17887 h 35774"/>
                <a:gd name="connsiteX3" fmla="*/ 17887 w 35774"/>
                <a:gd name="connsiteY3" fmla="*/ 0 h 35774"/>
                <a:gd name="connsiteX4" fmla="*/ 35775 w 35774"/>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4" h="35774">
                  <a:moveTo>
                    <a:pt x="35775" y="17887"/>
                  </a:moveTo>
                  <a:cubicBezTo>
                    <a:pt x="35775" y="27782"/>
                    <a:pt x="27782" y="35774"/>
                    <a:pt x="17887" y="35774"/>
                  </a:cubicBezTo>
                  <a:cubicBezTo>
                    <a:pt x="7992" y="35774"/>
                    <a:pt x="0" y="27782"/>
                    <a:pt x="0" y="17887"/>
                  </a:cubicBezTo>
                  <a:cubicBezTo>
                    <a:pt x="0" y="7992"/>
                    <a:pt x="7992" y="0"/>
                    <a:pt x="17887" y="0"/>
                  </a:cubicBezTo>
                  <a:cubicBezTo>
                    <a:pt x="27782" y="0"/>
                    <a:pt x="35775" y="7992"/>
                    <a:pt x="35775" y="17887"/>
                  </a:cubicBezTo>
                </a:path>
              </a:pathLst>
            </a:custGeom>
            <a:grpFill/>
            <a:ln w="7608" cap="flat">
              <a:noFill/>
              <a:prstDash val="solid"/>
              <a:miter/>
            </a:ln>
          </p:spPr>
          <p:txBody>
            <a:bodyPr rtlCol="0" anchor="ctr"/>
            <a:lstStyle/>
            <a:p>
              <a:endParaRPr lang="hi-IN"/>
            </a:p>
          </p:txBody>
        </p:sp>
        <p:sp>
          <p:nvSpPr>
            <p:cNvPr id="1360" name="Freeform: Shape 359"/>
            <p:cNvSpPr/>
            <p:nvPr/>
          </p:nvSpPr>
          <p:spPr>
            <a:xfrm>
              <a:off x="10442723" y="3571031"/>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609" y="0"/>
                    <a:pt x="38058" y="8525"/>
                    <a:pt x="38058" y="19029"/>
                  </a:cubicBezTo>
                </a:path>
              </a:pathLst>
            </a:custGeom>
            <a:grpFill/>
            <a:ln w="7608" cap="flat">
              <a:noFill/>
              <a:prstDash val="solid"/>
              <a:miter/>
            </a:ln>
          </p:spPr>
          <p:txBody>
            <a:bodyPr rtlCol="0" anchor="ctr"/>
            <a:lstStyle/>
            <a:p>
              <a:endParaRPr lang="hi-IN"/>
            </a:p>
          </p:txBody>
        </p:sp>
        <p:sp>
          <p:nvSpPr>
            <p:cNvPr id="1361" name="Freeform: Shape 360"/>
            <p:cNvSpPr/>
            <p:nvPr/>
          </p:nvSpPr>
          <p:spPr>
            <a:xfrm>
              <a:off x="10386322" y="3403120"/>
              <a:ext cx="40188" cy="40188"/>
            </a:xfrm>
            <a:custGeom>
              <a:avLst/>
              <a:gdLst>
                <a:gd name="connsiteX0" fmla="*/ 40188 w 40188"/>
                <a:gd name="connsiteY0" fmla="*/ 20094 h 40188"/>
                <a:gd name="connsiteX1" fmla="*/ 20095 w 40188"/>
                <a:gd name="connsiteY1" fmla="*/ 40189 h 40188"/>
                <a:gd name="connsiteX2" fmla="*/ 0 w 40188"/>
                <a:gd name="connsiteY2" fmla="*/ 20094 h 40188"/>
                <a:gd name="connsiteX3" fmla="*/ 20095 w 40188"/>
                <a:gd name="connsiteY3" fmla="*/ 0 h 40188"/>
                <a:gd name="connsiteX4" fmla="*/ 40188 w 40188"/>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8" h="40188">
                  <a:moveTo>
                    <a:pt x="40188" y="20094"/>
                  </a:moveTo>
                  <a:cubicBezTo>
                    <a:pt x="40188" y="31207"/>
                    <a:pt x="31207" y="40189"/>
                    <a:pt x="20095" y="40189"/>
                  </a:cubicBezTo>
                  <a:cubicBezTo>
                    <a:pt x="8981" y="40189"/>
                    <a:pt x="0" y="31207"/>
                    <a:pt x="0" y="20094"/>
                  </a:cubicBezTo>
                  <a:cubicBezTo>
                    <a:pt x="0" y="8982"/>
                    <a:pt x="8981" y="0"/>
                    <a:pt x="20095" y="0"/>
                  </a:cubicBezTo>
                  <a:cubicBezTo>
                    <a:pt x="31207" y="0"/>
                    <a:pt x="40188" y="9058"/>
                    <a:pt x="40188" y="20094"/>
                  </a:cubicBezTo>
                </a:path>
              </a:pathLst>
            </a:custGeom>
            <a:grpFill/>
            <a:ln w="7608" cap="flat">
              <a:noFill/>
              <a:prstDash val="solid"/>
              <a:miter/>
            </a:ln>
          </p:spPr>
          <p:txBody>
            <a:bodyPr rtlCol="0" anchor="ctr"/>
            <a:lstStyle/>
            <a:p>
              <a:endParaRPr lang="hi-IN"/>
            </a:p>
          </p:txBody>
        </p:sp>
        <p:sp>
          <p:nvSpPr>
            <p:cNvPr id="1362" name="Freeform: Shape 361"/>
            <p:cNvSpPr/>
            <p:nvPr/>
          </p:nvSpPr>
          <p:spPr>
            <a:xfrm>
              <a:off x="10319340" y="3239168"/>
              <a:ext cx="42320" cy="42320"/>
            </a:xfrm>
            <a:custGeom>
              <a:avLst/>
              <a:gdLst>
                <a:gd name="connsiteX0" fmla="*/ 42321 w 42320"/>
                <a:gd name="connsiteY0" fmla="*/ 21160 h 42320"/>
                <a:gd name="connsiteX1" fmla="*/ 21160 w 42320"/>
                <a:gd name="connsiteY1" fmla="*/ 42320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0"/>
                    <a:pt x="21160" y="42320"/>
                  </a:cubicBezTo>
                  <a:cubicBezTo>
                    <a:pt x="9514" y="42320"/>
                    <a:pt x="0" y="32806"/>
                    <a:pt x="0" y="21160"/>
                  </a:cubicBezTo>
                  <a:cubicBezTo>
                    <a:pt x="0" y="9514"/>
                    <a:pt x="9514" y="0"/>
                    <a:pt x="21160" y="0"/>
                  </a:cubicBezTo>
                  <a:cubicBezTo>
                    <a:pt x="32806" y="0"/>
                    <a:pt x="42321" y="9438"/>
                    <a:pt x="42321" y="21160"/>
                  </a:cubicBezTo>
                </a:path>
              </a:pathLst>
            </a:custGeom>
            <a:grpFill/>
            <a:ln w="7608" cap="flat">
              <a:noFill/>
              <a:prstDash val="solid"/>
              <a:miter/>
            </a:ln>
          </p:spPr>
          <p:txBody>
            <a:bodyPr rtlCol="0" anchor="ctr"/>
            <a:lstStyle/>
            <a:p>
              <a:endParaRPr lang="hi-IN"/>
            </a:p>
          </p:txBody>
        </p:sp>
        <p:sp>
          <p:nvSpPr>
            <p:cNvPr id="1363" name="Freeform: Shape 362"/>
            <p:cNvSpPr/>
            <p:nvPr/>
          </p:nvSpPr>
          <p:spPr>
            <a:xfrm>
              <a:off x="10241930" y="3079781"/>
              <a:ext cx="44528" cy="44528"/>
            </a:xfrm>
            <a:custGeom>
              <a:avLst/>
              <a:gdLst>
                <a:gd name="connsiteX0" fmla="*/ 44528 w 44528"/>
                <a:gd name="connsiteY0" fmla="*/ 22226 h 44528"/>
                <a:gd name="connsiteX1" fmla="*/ 22226 w 44528"/>
                <a:gd name="connsiteY1" fmla="*/ 44528 h 44528"/>
                <a:gd name="connsiteX2" fmla="*/ 0 w 44528"/>
                <a:gd name="connsiteY2" fmla="*/ 22226 h 44528"/>
                <a:gd name="connsiteX3" fmla="*/ 22226 w 44528"/>
                <a:gd name="connsiteY3" fmla="*/ 0 h 44528"/>
                <a:gd name="connsiteX4" fmla="*/ 44528 w 44528"/>
                <a:gd name="connsiteY4" fmla="*/ 22226 h 4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28" h="44528">
                  <a:moveTo>
                    <a:pt x="44528" y="22226"/>
                  </a:moveTo>
                  <a:cubicBezTo>
                    <a:pt x="44528" y="34557"/>
                    <a:pt x="34557" y="44528"/>
                    <a:pt x="22226" y="44528"/>
                  </a:cubicBezTo>
                  <a:cubicBezTo>
                    <a:pt x="9972" y="44528"/>
                    <a:pt x="0" y="34557"/>
                    <a:pt x="0" y="22226"/>
                  </a:cubicBezTo>
                  <a:cubicBezTo>
                    <a:pt x="0" y="9896"/>
                    <a:pt x="9972" y="0"/>
                    <a:pt x="22226" y="0"/>
                  </a:cubicBezTo>
                  <a:cubicBezTo>
                    <a:pt x="34633" y="-76"/>
                    <a:pt x="44528" y="9896"/>
                    <a:pt x="44528" y="22226"/>
                  </a:cubicBezTo>
                </a:path>
              </a:pathLst>
            </a:custGeom>
            <a:grpFill/>
            <a:ln w="7608" cap="flat">
              <a:noFill/>
              <a:prstDash val="solid"/>
              <a:miter/>
            </a:ln>
          </p:spPr>
          <p:txBody>
            <a:bodyPr rtlCol="0" anchor="ctr"/>
            <a:lstStyle/>
            <a:p>
              <a:endParaRPr lang="hi-IN"/>
            </a:p>
          </p:txBody>
        </p:sp>
        <p:sp>
          <p:nvSpPr>
            <p:cNvPr id="1364" name="Freeform: Shape 363"/>
            <p:cNvSpPr/>
            <p:nvPr/>
          </p:nvSpPr>
          <p:spPr>
            <a:xfrm>
              <a:off x="10155159" y="292602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69" y="45669"/>
                    <a:pt x="22835" y="45669"/>
                  </a:cubicBezTo>
                  <a:cubicBezTo>
                    <a:pt x="10199" y="45669"/>
                    <a:pt x="0" y="35470"/>
                    <a:pt x="0" y="22835"/>
                  </a:cubicBezTo>
                  <a:cubicBezTo>
                    <a:pt x="0" y="10199"/>
                    <a:pt x="10199" y="0"/>
                    <a:pt x="22835" y="0"/>
                  </a:cubicBezTo>
                  <a:cubicBezTo>
                    <a:pt x="35469" y="0"/>
                    <a:pt x="45669" y="10275"/>
                    <a:pt x="45669" y="22835"/>
                  </a:cubicBezTo>
                </a:path>
              </a:pathLst>
            </a:custGeom>
            <a:grpFill/>
            <a:ln w="7608" cap="flat">
              <a:noFill/>
              <a:prstDash val="solid"/>
              <a:miter/>
            </a:ln>
          </p:spPr>
          <p:txBody>
            <a:bodyPr rtlCol="0" anchor="ctr"/>
            <a:lstStyle/>
            <a:p>
              <a:endParaRPr lang="hi-IN"/>
            </a:p>
          </p:txBody>
        </p:sp>
        <p:sp>
          <p:nvSpPr>
            <p:cNvPr id="1365" name="Freeform: Shape 364"/>
            <p:cNvSpPr/>
            <p:nvPr/>
          </p:nvSpPr>
          <p:spPr>
            <a:xfrm>
              <a:off x="10058721" y="2778213"/>
              <a:ext cx="46734" cy="46734"/>
            </a:xfrm>
            <a:custGeom>
              <a:avLst/>
              <a:gdLst>
                <a:gd name="connsiteX0" fmla="*/ 46735 w 46734"/>
                <a:gd name="connsiteY0" fmla="*/ 23367 h 46734"/>
                <a:gd name="connsiteX1" fmla="*/ 23367 w 46734"/>
                <a:gd name="connsiteY1" fmla="*/ 46735 h 46734"/>
                <a:gd name="connsiteX2" fmla="*/ 0 w 46734"/>
                <a:gd name="connsiteY2" fmla="*/ 23367 h 46734"/>
                <a:gd name="connsiteX3" fmla="*/ 23367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307"/>
                    <a:pt x="36307" y="46735"/>
                    <a:pt x="23367" y="46735"/>
                  </a:cubicBezTo>
                  <a:cubicBezTo>
                    <a:pt x="10504" y="46735"/>
                    <a:pt x="0" y="36307"/>
                    <a:pt x="0" y="23367"/>
                  </a:cubicBezTo>
                  <a:cubicBezTo>
                    <a:pt x="0" y="10504"/>
                    <a:pt x="10428" y="0"/>
                    <a:pt x="23367" y="0"/>
                  </a:cubicBezTo>
                  <a:cubicBezTo>
                    <a:pt x="36307" y="0"/>
                    <a:pt x="46735" y="10504"/>
                    <a:pt x="46735" y="23367"/>
                  </a:cubicBezTo>
                </a:path>
              </a:pathLst>
            </a:custGeom>
            <a:grpFill/>
            <a:ln w="7608" cap="flat">
              <a:noFill/>
              <a:prstDash val="solid"/>
              <a:miter/>
            </a:ln>
          </p:spPr>
          <p:txBody>
            <a:bodyPr rtlCol="0" anchor="ctr"/>
            <a:lstStyle/>
            <a:p>
              <a:endParaRPr lang="hi-IN"/>
            </a:p>
          </p:txBody>
        </p:sp>
        <p:sp>
          <p:nvSpPr>
            <p:cNvPr id="1366" name="Freeform: Shape 365"/>
            <p:cNvSpPr/>
            <p:nvPr/>
          </p:nvSpPr>
          <p:spPr>
            <a:xfrm>
              <a:off x="9953072" y="2636866"/>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144" y="0"/>
                    <a:pt x="47801" y="10656"/>
                    <a:pt x="47801" y="23900"/>
                  </a:cubicBezTo>
                </a:path>
              </a:pathLst>
            </a:custGeom>
            <a:grpFill/>
            <a:ln w="7608" cap="flat">
              <a:noFill/>
              <a:prstDash val="solid"/>
              <a:miter/>
            </a:ln>
          </p:spPr>
          <p:txBody>
            <a:bodyPr rtlCol="0" anchor="ctr"/>
            <a:lstStyle/>
            <a:p>
              <a:endParaRPr lang="hi-IN"/>
            </a:p>
          </p:txBody>
        </p:sp>
        <p:sp>
          <p:nvSpPr>
            <p:cNvPr id="1367" name="Freeform: Shape 366"/>
            <p:cNvSpPr/>
            <p:nvPr/>
          </p:nvSpPr>
          <p:spPr>
            <a:xfrm>
              <a:off x="9838671" y="2502446"/>
              <a:ext cx="48866" cy="48866"/>
            </a:xfrm>
            <a:custGeom>
              <a:avLst/>
              <a:gdLst>
                <a:gd name="connsiteX0" fmla="*/ 48866 w 48866"/>
                <a:gd name="connsiteY0" fmla="*/ 24433 h 48866"/>
                <a:gd name="connsiteX1" fmla="*/ 24434 w 48866"/>
                <a:gd name="connsiteY1" fmla="*/ 48866 h 48866"/>
                <a:gd name="connsiteX2" fmla="*/ 0 w 48866"/>
                <a:gd name="connsiteY2" fmla="*/ 24433 h 48866"/>
                <a:gd name="connsiteX3" fmla="*/ 24434 w 48866"/>
                <a:gd name="connsiteY3" fmla="*/ 0 h 48866"/>
                <a:gd name="connsiteX4" fmla="*/ 48866 w 48866"/>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6">
                  <a:moveTo>
                    <a:pt x="48866" y="24433"/>
                  </a:moveTo>
                  <a:cubicBezTo>
                    <a:pt x="48866" y="37906"/>
                    <a:pt x="37905" y="48866"/>
                    <a:pt x="24434" y="48866"/>
                  </a:cubicBezTo>
                  <a:cubicBezTo>
                    <a:pt x="10961" y="48866"/>
                    <a:pt x="0" y="37906"/>
                    <a:pt x="0" y="24433"/>
                  </a:cubicBezTo>
                  <a:cubicBezTo>
                    <a:pt x="0" y="10961"/>
                    <a:pt x="10961" y="0"/>
                    <a:pt x="24434" y="0"/>
                  </a:cubicBezTo>
                  <a:cubicBezTo>
                    <a:pt x="37905" y="0"/>
                    <a:pt x="48866" y="10961"/>
                    <a:pt x="48866" y="24433"/>
                  </a:cubicBezTo>
                </a:path>
              </a:pathLst>
            </a:custGeom>
            <a:grpFill/>
            <a:ln w="7608" cap="flat">
              <a:noFill/>
              <a:prstDash val="solid"/>
              <a:miter/>
            </a:ln>
          </p:spPr>
          <p:txBody>
            <a:bodyPr rtlCol="0" anchor="ctr"/>
            <a:lstStyle/>
            <a:p>
              <a:endParaRPr lang="hi-IN"/>
            </a:p>
          </p:txBody>
        </p:sp>
        <p:sp>
          <p:nvSpPr>
            <p:cNvPr id="1368" name="Freeform: Shape 367"/>
            <p:cNvSpPr/>
            <p:nvPr/>
          </p:nvSpPr>
          <p:spPr>
            <a:xfrm>
              <a:off x="9716354" y="2376247"/>
              <a:ext cx="48866" cy="48865"/>
            </a:xfrm>
            <a:custGeom>
              <a:avLst/>
              <a:gdLst>
                <a:gd name="connsiteX0" fmla="*/ 48866 w 48866"/>
                <a:gd name="connsiteY0" fmla="*/ 24433 h 48865"/>
                <a:gd name="connsiteX1" fmla="*/ 24433 w 48866"/>
                <a:gd name="connsiteY1" fmla="*/ 48866 h 48865"/>
                <a:gd name="connsiteX2" fmla="*/ 0 w 48866"/>
                <a:gd name="connsiteY2" fmla="*/ 24433 h 48865"/>
                <a:gd name="connsiteX3" fmla="*/ 24433 w 48866"/>
                <a:gd name="connsiteY3" fmla="*/ 0 h 48865"/>
                <a:gd name="connsiteX4" fmla="*/ 48866 w 48866"/>
                <a:gd name="connsiteY4" fmla="*/ 24433 h 4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5">
                  <a:moveTo>
                    <a:pt x="48866" y="24433"/>
                  </a:moveTo>
                  <a:cubicBezTo>
                    <a:pt x="48866" y="37906"/>
                    <a:pt x="37905" y="48866"/>
                    <a:pt x="24433" y="48866"/>
                  </a:cubicBezTo>
                  <a:cubicBezTo>
                    <a:pt x="10960" y="48866"/>
                    <a:pt x="0" y="37906"/>
                    <a:pt x="0" y="24433"/>
                  </a:cubicBezTo>
                  <a:cubicBezTo>
                    <a:pt x="0" y="10961"/>
                    <a:pt x="10960" y="0"/>
                    <a:pt x="24433" y="0"/>
                  </a:cubicBezTo>
                  <a:cubicBezTo>
                    <a:pt x="37982" y="0"/>
                    <a:pt x="48866" y="10884"/>
                    <a:pt x="48866" y="24433"/>
                  </a:cubicBezTo>
                </a:path>
              </a:pathLst>
            </a:custGeom>
            <a:grpFill/>
            <a:ln w="7608" cap="flat">
              <a:noFill/>
              <a:prstDash val="solid"/>
              <a:miter/>
            </a:ln>
          </p:spPr>
          <p:txBody>
            <a:bodyPr rtlCol="0" anchor="ctr"/>
            <a:lstStyle/>
            <a:p>
              <a:endParaRPr lang="hi-IN"/>
            </a:p>
          </p:txBody>
        </p:sp>
        <p:sp>
          <p:nvSpPr>
            <p:cNvPr id="1369" name="Freeform: Shape 368"/>
            <p:cNvSpPr/>
            <p:nvPr/>
          </p:nvSpPr>
          <p:spPr>
            <a:xfrm>
              <a:off x="9586805" y="2258649"/>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0"/>
                    <a:pt x="47801" y="10656"/>
                    <a:pt x="47801" y="23900"/>
                  </a:cubicBezTo>
                </a:path>
              </a:pathLst>
            </a:custGeom>
            <a:grpFill/>
            <a:ln w="7608" cap="flat">
              <a:noFill/>
              <a:prstDash val="solid"/>
              <a:miter/>
            </a:ln>
          </p:spPr>
          <p:txBody>
            <a:bodyPr rtlCol="0" anchor="ctr"/>
            <a:lstStyle/>
            <a:p>
              <a:endParaRPr lang="hi-IN"/>
            </a:p>
          </p:txBody>
        </p:sp>
        <p:sp>
          <p:nvSpPr>
            <p:cNvPr id="1370" name="Freeform: Shape 369"/>
            <p:cNvSpPr/>
            <p:nvPr/>
          </p:nvSpPr>
          <p:spPr>
            <a:xfrm>
              <a:off x="9449416" y="2149042"/>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0"/>
                    <a:pt x="47801" y="10656"/>
                    <a:pt x="47801" y="23900"/>
                  </a:cubicBezTo>
                </a:path>
              </a:pathLst>
            </a:custGeom>
            <a:grpFill/>
            <a:ln w="7608" cap="flat">
              <a:noFill/>
              <a:prstDash val="solid"/>
              <a:miter/>
            </a:ln>
          </p:spPr>
          <p:txBody>
            <a:bodyPr rtlCol="0" anchor="ctr"/>
            <a:lstStyle/>
            <a:p>
              <a:endParaRPr lang="hi-IN"/>
            </a:p>
          </p:txBody>
        </p:sp>
        <p:sp>
          <p:nvSpPr>
            <p:cNvPr id="1371" name="Freeform: Shape 370"/>
            <p:cNvSpPr/>
            <p:nvPr/>
          </p:nvSpPr>
          <p:spPr>
            <a:xfrm>
              <a:off x="9305787" y="2049027"/>
              <a:ext cx="46734" cy="46734"/>
            </a:xfrm>
            <a:custGeom>
              <a:avLst/>
              <a:gdLst>
                <a:gd name="connsiteX0" fmla="*/ 46735 w 46734"/>
                <a:gd name="connsiteY0" fmla="*/ 23367 h 46734"/>
                <a:gd name="connsiteX1" fmla="*/ 23368 w 46734"/>
                <a:gd name="connsiteY1" fmla="*/ 46735 h 46734"/>
                <a:gd name="connsiteX2" fmla="*/ 0 w 46734"/>
                <a:gd name="connsiteY2" fmla="*/ 23367 h 46734"/>
                <a:gd name="connsiteX3" fmla="*/ 23368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231"/>
                    <a:pt x="36307" y="46735"/>
                    <a:pt x="23368" y="46735"/>
                  </a:cubicBezTo>
                  <a:cubicBezTo>
                    <a:pt x="10504" y="46735"/>
                    <a:pt x="0" y="36307"/>
                    <a:pt x="0" y="23367"/>
                  </a:cubicBezTo>
                  <a:cubicBezTo>
                    <a:pt x="0" y="10504"/>
                    <a:pt x="10428" y="0"/>
                    <a:pt x="23368" y="0"/>
                  </a:cubicBezTo>
                  <a:cubicBezTo>
                    <a:pt x="36231" y="0"/>
                    <a:pt x="46735" y="10428"/>
                    <a:pt x="46735" y="23367"/>
                  </a:cubicBezTo>
                </a:path>
              </a:pathLst>
            </a:custGeom>
            <a:grpFill/>
            <a:ln w="7608" cap="flat">
              <a:noFill/>
              <a:prstDash val="solid"/>
              <a:miter/>
            </a:ln>
          </p:spPr>
          <p:txBody>
            <a:bodyPr rtlCol="0" anchor="ctr"/>
            <a:lstStyle/>
            <a:p>
              <a:endParaRPr lang="hi-IN"/>
            </a:p>
          </p:txBody>
        </p:sp>
        <p:sp>
          <p:nvSpPr>
            <p:cNvPr id="1372" name="Freeform: Shape 371"/>
            <p:cNvSpPr/>
            <p:nvPr/>
          </p:nvSpPr>
          <p:spPr>
            <a:xfrm>
              <a:off x="9155992" y="195844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199" y="45669"/>
                    <a:pt x="0" y="35470"/>
                    <a:pt x="0" y="22835"/>
                  </a:cubicBezTo>
                  <a:cubicBezTo>
                    <a:pt x="0" y="10200"/>
                    <a:pt x="10199" y="0"/>
                    <a:pt x="22835" y="0"/>
                  </a:cubicBezTo>
                  <a:cubicBezTo>
                    <a:pt x="35470" y="0"/>
                    <a:pt x="45669" y="10200"/>
                    <a:pt x="45669" y="22835"/>
                  </a:cubicBezTo>
                </a:path>
              </a:pathLst>
            </a:custGeom>
            <a:grpFill/>
            <a:ln w="7608" cap="flat">
              <a:noFill/>
              <a:prstDash val="solid"/>
              <a:miter/>
            </a:ln>
          </p:spPr>
          <p:txBody>
            <a:bodyPr rtlCol="0" anchor="ctr"/>
            <a:lstStyle/>
            <a:p>
              <a:endParaRPr lang="hi-IN"/>
            </a:p>
          </p:txBody>
        </p:sp>
        <p:sp>
          <p:nvSpPr>
            <p:cNvPr id="1373" name="Freeform: Shape 372"/>
            <p:cNvSpPr/>
            <p:nvPr/>
          </p:nvSpPr>
          <p:spPr>
            <a:xfrm>
              <a:off x="9001401" y="1878300"/>
              <a:ext cx="43386" cy="43385"/>
            </a:xfrm>
            <a:custGeom>
              <a:avLst/>
              <a:gdLst>
                <a:gd name="connsiteX0" fmla="*/ 43386 w 43386"/>
                <a:gd name="connsiteY0" fmla="*/ 21693 h 43385"/>
                <a:gd name="connsiteX1" fmla="*/ 21694 w 43386"/>
                <a:gd name="connsiteY1" fmla="*/ 43386 h 43385"/>
                <a:gd name="connsiteX2" fmla="*/ 0 w 43386"/>
                <a:gd name="connsiteY2" fmla="*/ 21693 h 43385"/>
                <a:gd name="connsiteX3" fmla="*/ 21694 w 43386"/>
                <a:gd name="connsiteY3" fmla="*/ 0 h 43385"/>
                <a:gd name="connsiteX4" fmla="*/ 43386 w 43386"/>
                <a:gd name="connsiteY4" fmla="*/ 21693 h 43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6" h="43385">
                  <a:moveTo>
                    <a:pt x="43386" y="21693"/>
                  </a:moveTo>
                  <a:cubicBezTo>
                    <a:pt x="43386" y="33719"/>
                    <a:pt x="33643" y="43386"/>
                    <a:pt x="21694" y="43386"/>
                  </a:cubicBezTo>
                  <a:cubicBezTo>
                    <a:pt x="9667" y="43386"/>
                    <a:pt x="0" y="33643"/>
                    <a:pt x="0" y="21693"/>
                  </a:cubicBezTo>
                  <a:cubicBezTo>
                    <a:pt x="0" y="9667"/>
                    <a:pt x="9743" y="0"/>
                    <a:pt x="21694" y="0"/>
                  </a:cubicBezTo>
                  <a:cubicBezTo>
                    <a:pt x="33643" y="0"/>
                    <a:pt x="43386" y="9667"/>
                    <a:pt x="43386" y="21693"/>
                  </a:cubicBezTo>
                </a:path>
              </a:pathLst>
            </a:custGeom>
            <a:grpFill/>
            <a:ln w="7608" cap="flat">
              <a:noFill/>
              <a:prstDash val="solid"/>
              <a:miter/>
            </a:ln>
          </p:spPr>
          <p:txBody>
            <a:bodyPr rtlCol="0" anchor="ctr"/>
            <a:lstStyle/>
            <a:p>
              <a:endParaRPr lang="hi-IN"/>
            </a:p>
          </p:txBody>
        </p:sp>
        <p:sp>
          <p:nvSpPr>
            <p:cNvPr id="1374" name="Freeform: Shape 373"/>
            <p:cNvSpPr/>
            <p:nvPr/>
          </p:nvSpPr>
          <p:spPr>
            <a:xfrm>
              <a:off x="8841711" y="1808198"/>
              <a:ext cx="41254" cy="41254"/>
            </a:xfrm>
            <a:custGeom>
              <a:avLst/>
              <a:gdLst>
                <a:gd name="connsiteX0" fmla="*/ 41255 w 41254"/>
                <a:gd name="connsiteY0" fmla="*/ 20627 h 41254"/>
                <a:gd name="connsiteX1" fmla="*/ 20627 w 41254"/>
                <a:gd name="connsiteY1" fmla="*/ 41255 h 41254"/>
                <a:gd name="connsiteX2" fmla="*/ 0 w 41254"/>
                <a:gd name="connsiteY2" fmla="*/ 20627 h 41254"/>
                <a:gd name="connsiteX3" fmla="*/ 20627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5"/>
                    <a:pt x="32044" y="41255"/>
                    <a:pt x="20627" y="41255"/>
                  </a:cubicBezTo>
                  <a:cubicBezTo>
                    <a:pt x="9210" y="41255"/>
                    <a:pt x="0" y="32045"/>
                    <a:pt x="0" y="20627"/>
                  </a:cubicBezTo>
                  <a:cubicBezTo>
                    <a:pt x="0" y="9210"/>
                    <a:pt x="9210" y="0"/>
                    <a:pt x="20627" y="0"/>
                  </a:cubicBezTo>
                  <a:cubicBezTo>
                    <a:pt x="32044" y="0"/>
                    <a:pt x="41255" y="9286"/>
                    <a:pt x="41255" y="20627"/>
                  </a:cubicBezTo>
                </a:path>
              </a:pathLst>
            </a:custGeom>
            <a:grpFill/>
            <a:ln w="7608" cap="flat">
              <a:noFill/>
              <a:prstDash val="solid"/>
              <a:miter/>
            </a:ln>
          </p:spPr>
          <p:txBody>
            <a:bodyPr rtlCol="0" anchor="ctr"/>
            <a:lstStyle/>
            <a:p>
              <a:endParaRPr lang="hi-IN"/>
            </a:p>
          </p:txBody>
        </p:sp>
        <p:sp>
          <p:nvSpPr>
            <p:cNvPr id="1375" name="Freeform: Shape 374"/>
            <p:cNvSpPr/>
            <p:nvPr/>
          </p:nvSpPr>
          <p:spPr>
            <a:xfrm>
              <a:off x="8677834" y="1748599"/>
              <a:ext cx="39123" cy="39123"/>
            </a:xfrm>
            <a:custGeom>
              <a:avLst/>
              <a:gdLst>
                <a:gd name="connsiteX0" fmla="*/ 39123 w 39123"/>
                <a:gd name="connsiteY0" fmla="*/ 19562 h 39123"/>
                <a:gd name="connsiteX1" fmla="*/ 19562 w 39123"/>
                <a:gd name="connsiteY1" fmla="*/ 39123 h 39123"/>
                <a:gd name="connsiteX2" fmla="*/ 0 w 39123"/>
                <a:gd name="connsiteY2" fmla="*/ 19562 h 39123"/>
                <a:gd name="connsiteX3" fmla="*/ 19562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2" y="39123"/>
                  </a:cubicBezTo>
                  <a:cubicBezTo>
                    <a:pt x="8753" y="39123"/>
                    <a:pt x="0" y="30370"/>
                    <a:pt x="0" y="19562"/>
                  </a:cubicBezTo>
                  <a:cubicBezTo>
                    <a:pt x="0" y="8753"/>
                    <a:pt x="8753" y="0"/>
                    <a:pt x="19562"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376" name="Freeform: Shape 375"/>
            <p:cNvSpPr/>
            <p:nvPr/>
          </p:nvSpPr>
          <p:spPr>
            <a:xfrm>
              <a:off x="8510380" y="1699733"/>
              <a:ext cx="36992" cy="36916"/>
            </a:xfrm>
            <a:custGeom>
              <a:avLst/>
              <a:gdLst>
                <a:gd name="connsiteX0" fmla="*/ 36993 w 36992"/>
                <a:gd name="connsiteY0" fmla="*/ 18420 h 36916"/>
                <a:gd name="connsiteX1" fmla="*/ 18496 w 36992"/>
                <a:gd name="connsiteY1" fmla="*/ 36916 h 36916"/>
                <a:gd name="connsiteX2" fmla="*/ 0 w 36992"/>
                <a:gd name="connsiteY2" fmla="*/ 18420 h 36916"/>
                <a:gd name="connsiteX3" fmla="*/ 18496 w 36992"/>
                <a:gd name="connsiteY3" fmla="*/ 0 h 36916"/>
                <a:gd name="connsiteX4" fmla="*/ 36993 w 36992"/>
                <a:gd name="connsiteY4" fmla="*/ 18420 h 3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2" h="36916">
                  <a:moveTo>
                    <a:pt x="36993" y="18420"/>
                  </a:moveTo>
                  <a:cubicBezTo>
                    <a:pt x="36993" y="28619"/>
                    <a:pt x="28696" y="36916"/>
                    <a:pt x="18496" y="36916"/>
                  </a:cubicBezTo>
                  <a:cubicBezTo>
                    <a:pt x="8297" y="36916"/>
                    <a:pt x="0" y="28619"/>
                    <a:pt x="0" y="18420"/>
                  </a:cubicBezTo>
                  <a:cubicBezTo>
                    <a:pt x="0" y="8220"/>
                    <a:pt x="8297" y="0"/>
                    <a:pt x="18496" y="0"/>
                  </a:cubicBezTo>
                  <a:cubicBezTo>
                    <a:pt x="28772" y="0"/>
                    <a:pt x="36993" y="8220"/>
                    <a:pt x="36993" y="18420"/>
                  </a:cubicBezTo>
                </a:path>
              </a:pathLst>
            </a:custGeom>
            <a:grpFill/>
            <a:ln w="7608" cap="flat">
              <a:noFill/>
              <a:prstDash val="solid"/>
              <a:miter/>
            </a:ln>
          </p:spPr>
          <p:txBody>
            <a:bodyPr rtlCol="0" anchor="ctr"/>
            <a:lstStyle/>
            <a:p>
              <a:endParaRPr lang="hi-IN"/>
            </a:p>
          </p:txBody>
        </p:sp>
        <p:sp>
          <p:nvSpPr>
            <p:cNvPr id="1377" name="Freeform: Shape 376"/>
            <p:cNvSpPr/>
            <p:nvPr/>
          </p:nvSpPr>
          <p:spPr>
            <a:xfrm>
              <a:off x="8340263" y="1661675"/>
              <a:ext cx="34709" cy="34708"/>
            </a:xfrm>
            <a:custGeom>
              <a:avLst/>
              <a:gdLst>
                <a:gd name="connsiteX0" fmla="*/ 34709 w 34709"/>
                <a:gd name="connsiteY0" fmla="*/ 17354 h 34708"/>
                <a:gd name="connsiteX1" fmla="*/ 17355 w 34709"/>
                <a:gd name="connsiteY1" fmla="*/ 34709 h 34708"/>
                <a:gd name="connsiteX2" fmla="*/ 0 w 34709"/>
                <a:gd name="connsiteY2" fmla="*/ 17354 h 34708"/>
                <a:gd name="connsiteX3" fmla="*/ 17355 w 34709"/>
                <a:gd name="connsiteY3" fmla="*/ 0 h 34708"/>
                <a:gd name="connsiteX4" fmla="*/ 34709 w 34709"/>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8">
                  <a:moveTo>
                    <a:pt x="34709" y="17354"/>
                  </a:moveTo>
                  <a:cubicBezTo>
                    <a:pt x="34709" y="26945"/>
                    <a:pt x="26945" y="34709"/>
                    <a:pt x="17355" y="34709"/>
                  </a:cubicBezTo>
                  <a:cubicBezTo>
                    <a:pt x="7764" y="34709"/>
                    <a:pt x="0" y="26945"/>
                    <a:pt x="0" y="17354"/>
                  </a:cubicBezTo>
                  <a:cubicBezTo>
                    <a:pt x="0" y="7764"/>
                    <a:pt x="7764" y="0"/>
                    <a:pt x="17355" y="0"/>
                  </a:cubicBezTo>
                  <a:cubicBezTo>
                    <a:pt x="26945" y="0"/>
                    <a:pt x="34709" y="7764"/>
                    <a:pt x="34709" y="17354"/>
                  </a:cubicBezTo>
                </a:path>
              </a:pathLst>
            </a:custGeom>
            <a:grpFill/>
            <a:ln w="7608" cap="flat">
              <a:noFill/>
              <a:prstDash val="solid"/>
              <a:miter/>
            </a:ln>
          </p:spPr>
          <p:txBody>
            <a:bodyPr rtlCol="0" anchor="ctr"/>
            <a:lstStyle/>
            <a:p>
              <a:endParaRPr lang="hi-IN"/>
            </a:p>
          </p:txBody>
        </p:sp>
        <p:sp>
          <p:nvSpPr>
            <p:cNvPr id="1378" name="Freeform: Shape 377"/>
            <p:cNvSpPr/>
            <p:nvPr/>
          </p:nvSpPr>
          <p:spPr>
            <a:xfrm>
              <a:off x="8168318" y="1635263"/>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8" y="31512"/>
                    <a:pt x="0" y="24433"/>
                    <a:pt x="0" y="15756"/>
                  </a:cubicBezTo>
                  <a:cubicBezTo>
                    <a:pt x="0" y="7079"/>
                    <a:pt x="7078" y="0"/>
                    <a:pt x="15755" y="0"/>
                  </a:cubicBezTo>
                  <a:cubicBezTo>
                    <a:pt x="24509" y="0"/>
                    <a:pt x="31512" y="7003"/>
                    <a:pt x="31512" y="15756"/>
                  </a:cubicBezTo>
                </a:path>
              </a:pathLst>
            </a:custGeom>
            <a:grpFill/>
            <a:ln w="7608" cap="flat">
              <a:noFill/>
              <a:prstDash val="solid"/>
              <a:miter/>
            </a:ln>
          </p:spPr>
          <p:txBody>
            <a:bodyPr rtlCol="0" anchor="ctr"/>
            <a:lstStyle/>
            <a:p>
              <a:endParaRPr lang="hi-IN"/>
            </a:p>
          </p:txBody>
        </p:sp>
        <p:sp>
          <p:nvSpPr>
            <p:cNvPr id="1379" name="Freeform: Shape 378"/>
            <p:cNvSpPr/>
            <p:nvPr/>
          </p:nvSpPr>
          <p:spPr>
            <a:xfrm>
              <a:off x="7995079" y="1620040"/>
              <a:ext cx="28238" cy="28239"/>
            </a:xfrm>
            <a:custGeom>
              <a:avLst/>
              <a:gdLst>
                <a:gd name="connsiteX0" fmla="*/ 28239 w 28238"/>
                <a:gd name="connsiteY0" fmla="*/ 14082 h 28239"/>
                <a:gd name="connsiteX1" fmla="*/ 14081 w 28238"/>
                <a:gd name="connsiteY1" fmla="*/ 28240 h 28239"/>
                <a:gd name="connsiteX2" fmla="*/ 0 w 28238"/>
                <a:gd name="connsiteY2" fmla="*/ 14082 h 28239"/>
                <a:gd name="connsiteX3" fmla="*/ 14081 w 28238"/>
                <a:gd name="connsiteY3" fmla="*/ 1 h 28239"/>
                <a:gd name="connsiteX4" fmla="*/ 28239 w 28238"/>
                <a:gd name="connsiteY4" fmla="*/ 14082 h 28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239">
                  <a:moveTo>
                    <a:pt x="28239" y="14082"/>
                  </a:moveTo>
                  <a:cubicBezTo>
                    <a:pt x="28239" y="21846"/>
                    <a:pt x="21921" y="28240"/>
                    <a:pt x="14081" y="28240"/>
                  </a:cubicBezTo>
                  <a:cubicBezTo>
                    <a:pt x="6317" y="28240"/>
                    <a:pt x="0" y="21922"/>
                    <a:pt x="0" y="14082"/>
                  </a:cubicBezTo>
                  <a:cubicBezTo>
                    <a:pt x="0" y="6318"/>
                    <a:pt x="6317" y="1"/>
                    <a:pt x="14081" y="1"/>
                  </a:cubicBezTo>
                  <a:cubicBezTo>
                    <a:pt x="21921" y="-75"/>
                    <a:pt x="28239" y="6318"/>
                    <a:pt x="28239" y="14082"/>
                  </a:cubicBezTo>
                </a:path>
              </a:pathLst>
            </a:custGeom>
            <a:grpFill/>
            <a:ln w="7608" cap="flat">
              <a:noFill/>
              <a:prstDash val="solid"/>
              <a:miter/>
            </a:ln>
          </p:spPr>
          <p:txBody>
            <a:bodyPr rtlCol="0" anchor="ctr"/>
            <a:lstStyle/>
            <a:p>
              <a:endParaRPr lang="hi-IN"/>
            </a:p>
          </p:txBody>
        </p:sp>
        <p:sp>
          <p:nvSpPr>
            <p:cNvPr id="1380" name="Freeform: Shape 379"/>
            <p:cNvSpPr/>
            <p:nvPr/>
          </p:nvSpPr>
          <p:spPr>
            <a:xfrm>
              <a:off x="7820546" y="1615473"/>
              <a:ext cx="26031" cy="26031"/>
            </a:xfrm>
            <a:custGeom>
              <a:avLst/>
              <a:gdLst>
                <a:gd name="connsiteX0" fmla="*/ 26032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247"/>
                    <a:pt x="20171" y="26031"/>
                    <a:pt x="13016" y="26031"/>
                  </a:cubicBezTo>
                  <a:cubicBezTo>
                    <a:pt x="5861" y="26031"/>
                    <a:pt x="0" y="20171"/>
                    <a:pt x="0" y="13016"/>
                  </a:cubicBezTo>
                  <a:cubicBezTo>
                    <a:pt x="0" y="5861"/>
                    <a:pt x="5861" y="0"/>
                    <a:pt x="13016" y="0"/>
                  </a:cubicBezTo>
                  <a:cubicBezTo>
                    <a:pt x="20171" y="0"/>
                    <a:pt x="26032" y="5861"/>
                    <a:pt x="26032" y="13016"/>
                  </a:cubicBezTo>
                </a:path>
              </a:pathLst>
            </a:custGeom>
            <a:grpFill/>
            <a:ln w="7608" cap="flat">
              <a:noFill/>
              <a:prstDash val="solid"/>
              <a:miter/>
            </a:ln>
          </p:spPr>
          <p:txBody>
            <a:bodyPr rtlCol="0" anchor="ctr"/>
            <a:lstStyle/>
            <a:p>
              <a:endParaRPr lang="hi-IN"/>
            </a:p>
          </p:txBody>
        </p:sp>
        <p:sp>
          <p:nvSpPr>
            <p:cNvPr id="1381" name="Freeform: Shape 380"/>
            <p:cNvSpPr/>
            <p:nvPr/>
          </p:nvSpPr>
          <p:spPr>
            <a:xfrm>
              <a:off x="7646471" y="1622704"/>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382" name="Freeform: Shape 381"/>
            <p:cNvSpPr/>
            <p:nvPr/>
          </p:nvSpPr>
          <p:spPr>
            <a:xfrm>
              <a:off x="7473232" y="1641276"/>
              <a:ext cx="19485" cy="19486"/>
            </a:xfrm>
            <a:custGeom>
              <a:avLst/>
              <a:gdLst>
                <a:gd name="connsiteX0" fmla="*/ 19486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6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6" y="9744"/>
                  </a:moveTo>
                  <a:cubicBezTo>
                    <a:pt x="19486" y="15148"/>
                    <a:pt x="15071" y="19487"/>
                    <a:pt x="9743" y="19487"/>
                  </a:cubicBezTo>
                  <a:cubicBezTo>
                    <a:pt x="4339" y="19487"/>
                    <a:pt x="0" y="15072"/>
                    <a:pt x="0" y="9744"/>
                  </a:cubicBezTo>
                  <a:cubicBezTo>
                    <a:pt x="0" y="4339"/>
                    <a:pt x="4415" y="1"/>
                    <a:pt x="9743" y="1"/>
                  </a:cubicBezTo>
                  <a:cubicBezTo>
                    <a:pt x="15071" y="-75"/>
                    <a:pt x="19486" y="4339"/>
                    <a:pt x="19486" y="9744"/>
                  </a:cubicBezTo>
                </a:path>
              </a:pathLst>
            </a:custGeom>
            <a:grpFill/>
            <a:ln w="7608" cap="flat">
              <a:noFill/>
              <a:prstDash val="solid"/>
              <a:miter/>
            </a:ln>
          </p:spPr>
          <p:txBody>
            <a:bodyPr rtlCol="0" anchor="ctr"/>
            <a:lstStyle/>
            <a:p>
              <a:endParaRPr lang="hi-IN"/>
            </a:p>
          </p:txBody>
        </p:sp>
        <p:sp>
          <p:nvSpPr>
            <p:cNvPr id="1383" name="Freeform: Shape 382"/>
            <p:cNvSpPr/>
            <p:nvPr/>
          </p:nvSpPr>
          <p:spPr>
            <a:xfrm>
              <a:off x="7300755" y="1670353"/>
              <a:ext cx="17354" cy="17354"/>
            </a:xfrm>
            <a:custGeom>
              <a:avLst/>
              <a:gdLst>
                <a:gd name="connsiteX0" fmla="*/ 17354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4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4" y="8677"/>
                  </a:moveTo>
                  <a:cubicBezTo>
                    <a:pt x="17354" y="13472"/>
                    <a:pt x="13472" y="17354"/>
                    <a:pt x="8677" y="17354"/>
                  </a:cubicBezTo>
                  <a:cubicBezTo>
                    <a:pt x="3881" y="17354"/>
                    <a:pt x="0" y="13472"/>
                    <a:pt x="0" y="8677"/>
                  </a:cubicBezTo>
                  <a:cubicBezTo>
                    <a:pt x="0" y="3882"/>
                    <a:pt x="3881" y="0"/>
                    <a:pt x="8677"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384" name="Freeform: Shape 383"/>
            <p:cNvSpPr/>
            <p:nvPr/>
          </p:nvSpPr>
          <p:spPr>
            <a:xfrm>
              <a:off x="7131017" y="1711074"/>
              <a:ext cx="14157" cy="14157"/>
            </a:xfrm>
            <a:custGeom>
              <a:avLst/>
              <a:gdLst>
                <a:gd name="connsiteX0" fmla="*/ 14158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8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8" y="7079"/>
                  </a:moveTo>
                  <a:cubicBezTo>
                    <a:pt x="14158" y="10961"/>
                    <a:pt x="10961" y="14157"/>
                    <a:pt x="7079" y="14157"/>
                  </a:cubicBezTo>
                  <a:cubicBezTo>
                    <a:pt x="3197" y="14157"/>
                    <a:pt x="0" y="10961"/>
                    <a:pt x="0" y="7079"/>
                  </a:cubicBezTo>
                  <a:cubicBezTo>
                    <a:pt x="0" y="3197"/>
                    <a:pt x="3197" y="0"/>
                    <a:pt x="7079" y="0"/>
                  </a:cubicBezTo>
                  <a:cubicBezTo>
                    <a:pt x="10961" y="0"/>
                    <a:pt x="14158" y="3197"/>
                    <a:pt x="14158" y="7079"/>
                  </a:cubicBezTo>
                </a:path>
              </a:pathLst>
            </a:custGeom>
            <a:grpFill/>
            <a:ln w="7608" cap="flat">
              <a:noFill/>
              <a:prstDash val="solid"/>
              <a:miter/>
            </a:ln>
          </p:spPr>
          <p:txBody>
            <a:bodyPr rtlCol="0" anchor="ctr"/>
            <a:lstStyle/>
            <a:p>
              <a:endParaRPr lang="hi-IN"/>
            </a:p>
          </p:txBody>
        </p:sp>
        <p:sp>
          <p:nvSpPr>
            <p:cNvPr id="1385" name="Freeform: Shape 384"/>
            <p:cNvSpPr/>
            <p:nvPr/>
          </p:nvSpPr>
          <p:spPr>
            <a:xfrm>
              <a:off x="6963639" y="1762148"/>
              <a:ext cx="11950" cy="11950"/>
            </a:xfrm>
            <a:custGeom>
              <a:avLst/>
              <a:gdLst>
                <a:gd name="connsiteX0" fmla="*/ 11950 w 11950"/>
                <a:gd name="connsiteY0" fmla="*/ 6013 h 11950"/>
                <a:gd name="connsiteX1" fmla="*/ 6013 w 11950"/>
                <a:gd name="connsiteY1" fmla="*/ 11950 h 11950"/>
                <a:gd name="connsiteX2" fmla="*/ 0 w 11950"/>
                <a:gd name="connsiteY2" fmla="*/ 6013 h 11950"/>
                <a:gd name="connsiteX3" fmla="*/ 6013 w 11950"/>
                <a:gd name="connsiteY3" fmla="*/ 0 h 11950"/>
                <a:gd name="connsiteX4" fmla="*/ 11950 w 11950"/>
                <a:gd name="connsiteY4" fmla="*/ 6013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0">
                  <a:moveTo>
                    <a:pt x="11950" y="6013"/>
                  </a:moveTo>
                  <a:cubicBezTo>
                    <a:pt x="11950" y="9286"/>
                    <a:pt x="9286" y="11950"/>
                    <a:pt x="6013" y="11950"/>
                  </a:cubicBezTo>
                  <a:cubicBezTo>
                    <a:pt x="2740" y="11950"/>
                    <a:pt x="0" y="9286"/>
                    <a:pt x="0" y="6013"/>
                  </a:cubicBezTo>
                  <a:cubicBezTo>
                    <a:pt x="0" y="2740"/>
                    <a:pt x="2664" y="0"/>
                    <a:pt x="6013" y="0"/>
                  </a:cubicBezTo>
                  <a:cubicBezTo>
                    <a:pt x="9286" y="0"/>
                    <a:pt x="11950" y="2740"/>
                    <a:pt x="11950" y="6013"/>
                  </a:cubicBezTo>
                </a:path>
              </a:pathLst>
            </a:custGeom>
            <a:grpFill/>
            <a:ln w="7608" cap="flat">
              <a:noFill/>
              <a:prstDash val="solid"/>
              <a:miter/>
            </a:ln>
          </p:spPr>
          <p:txBody>
            <a:bodyPr rtlCol="0" anchor="ctr"/>
            <a:lstStyle/>
            <a:p>
              <a:endParaRPr lang="hi-IN"/>
            </a:p>
          </p:txBody>
        </p:sp>
        <p:sp>
          <p:nvSpPr>
            <p:cNvPr id="1386" name="Freeform: Shape 385"/>
            <p:cNvSpPr/>
            <p:nvPr/>
          </p:nvSpPr>
          <p:spPr>
            <a:xfrm>
              <a:off x="6799839" y="1823954"/>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6" y="9743"/>
                    <a:pt x="4871" y="9743"/>
                  </a:cubicBezTo>
                  <a:cubicBezTo>
                    <a:pt x="2131" y="9743"/>
                    <a:pt x="0" y="7535"/>
                    <a:pt x="0" y="4871"/>
                  </a:cubicBezTo>
                  <a:cubicBezTo>
                    <a:pt x="0" y="2131"/>
                    <a:pt x="2208" y="0"/>
                    <a:pt x="4871" y="0"/>
                  </a:cubicBezTo>
                  <a:cubicBezTo>
                    <a:pt x="7536" y="0"/>
                    <a:pt x="9743" y="2207"/>
                    <a:pt x="9743" y="4871"/>
                  </a:cubicBezTo>
                </a:path>
              </a:pathLst>
            </a:custGeom>
            <a:grpFill/>
            <a:ln w="7608" cap="flat">
              <a:noFill/>
              <a:prstDash val="solid"/>
              <a:miter/>
            </a:ln>
          </p:spPr>
          <p:txBody>
            <a:bodyPr rtlCol="0" anchor="ctr"/>
            <a:lstStyle/>
            <a:p>
              <a:endParaRPr lang="hi-IN"/>
            </a:p>
          </p:txBody>
        </p:sp>
        <p:sp>
          <p:nvSpPr>
            <p:cNvPr id="1387" name="Freeform: Shape 386"/>
            <p:cNvSpPr/>
            <p:nvPr/>
          </p:nvSpPr>
          <p:spPr>
            <a:xfrm>
              <a:off x="6640149" y="1896187"/>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388" name="Freeform: Shape 387"/>
            <p:cNvSpPr/>
            <p:nvPr/>
          </p:nvSpPr>
          <p:spPr>
            <a:xfrm>
              <a:off x="6485406" y="1978544"/>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389" name="Freeform: Shape 388"/>
            <p:cNvSpPr/>
            <p:nvPr/>
          </p:nvSpPr>
          <p:spPr>
            <a:xfrm>
              <a:off x="6336296" y="2070796"/>
              <a:ext cx="3196" cy="3196"/>
            </a:xfrm>
            <a:custGeom>
              <a:avLst/>
              <a:gdLst>
                <a:gd name="connsiteX0" fmla="*/ 3197 w 3196"/>
                <a:gd name="connsiteY0" fmla="*/ 1598 h 3196"/>
                <a:gd name="connsiteX1" fmla="*/ 1599 w 3196"/>
                <a:gd name="connsiteY1" fmla="*/ 3197 h 3196"/>
                <a:gd name="connsiteX2" fmla="*/ 0 w 3196"/>
                <a:gd name="connsiteY2" fmla="*/ 1598 h 3196"/>
                <a:gd name="connsiteX3" fmla="*/ 1599 w 3196"/>
                <a:gd name="connsiteY3" fmla="*/ 0 h 3196"/>
                <a:gd name="connsiteX4" fmla="*/ 3197 w 3196"/>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196">
                  <a:moveTo>
                    <a:pt x="3197" y="1598"/>
                  </a:moveTo>
                  <a:cubicBezTo>
                    <a:pt x="3197" y="2512"/>
                    <a:pt x="2436" y="3197"/>
                    <a:pt x="1599" y="3197"/>
                  </a:cubicBezTo>
                  <a:cubicBezTo>
                    <a:pt x="685" y="3197"/>
                    <a:pt x="0" y="2436"/>
                    <a:pt x="0" y="1598"/>
                  </a:cubicBezTo>
                  <a:cubicBezTo>
                    <a:pt x="0" y="685"/>
                    <a:pt x="761" y="0"/>
                    <a:pt x="1599" y="0"/>
                  </a:cubicBezTo>
                  <a:cubicBezTo>
                    <a:pt x="2512" y="0"/>
                    <a:pt x="3197" y="685"/>
                    <a:pt x="3197" y="1598"/>
                  </a:cubicBezTo>
                </a:path>
              </a:pathLst>
            </a:custGeom>
            <a:grpFill/>
            <a:ln w="7608" cap="flat">
              <a:noFill/>
              <a:prstDash val="solid"/>
              <a:miter/>
            </a:ln>
          </p:spPr>
          <p:txBody>
            <a:bodyPr rtlCol="0" anchor="ctr"/>
            <a:lstStyle/>
            <a:p>
              <a:endParaRPr lang="hi-IN"/>
            </a:p>
          </p:txBody>
        </p:sp>
        <p:sp>
          <p:nvSpPr>
            <p:cNvPr id="1390" name="Freeform: Shape 389"/>
            <p:cNvSpPr/>
            <p:nvPr/>
          </p:nvSpPr>
          <p:spPr>
            <a:xfrm>
              <a:off x="6192666" y="2171877"/>
              <a:ext cx="2130" cy="2131"/>
            </a:xfrm>
            <a:custGeom>
              <a:avLst/>
              <a:gdLst>
                <a:gd name="connsiteX0" fmla="*/ 2131 w 2130"/>
                <a:gd name="connsiteY0" fmla="*/ 1066 h 2131"/>
                <a:gd name="connsiteX1" fmla="*/ 1066 w 2130"/>
                <a:gd name="connsiteY1" fmla="*/ 2131 h 2131"/>
                <a:gd name="connsiteX2" fmla="*/ 0 w 2130"/>
                <a:gd name="connsiteY2" fmla="*/ 1066 h 2131"/>
                <a:gd name="connsiteX3" fmla="*/ 1066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391" name="Freeform: Shape 390"/>
            <p:cNvSpPr/>
            <p:nvPr/>
          </p:nvSpPr>
          <p:spPr>
            <a:xfrm>
              <a:off x="6055810" y="2282016"/>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392" name="Freeform: Shape 391"/>
            <p:cNvSpPr/>
            <p:nvPr/>
          </p:nvSpPr>
          <p:spPr>
            <a:xfrm>
              <a:off x="5925729" y="2400147"/>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8" y="1066"/>
                    <a:pt x="0" y="837"/>
                    <a:pt x="0" y="533"/>
                  </a:cubicBezTo>
                  <a:cubicBezTo>
                    <a:pt x="0" y="228"/>
                    <a:pt x="228" y="0"/>
                    <a:pt x="533" y="0"/>
                  </a:cubicBezTo>
                  <a:cubicBezTo>
                    <a:pt x="761" y="0"/>
                    <a:pt x="1066" y="228"/>
                    <a:pt x="1066" y="533"/>
                  </a:cubicBezTo>
                </a:path>
              </a:pathLst>
            </a:custGeom>
            <a:grpFill/>
            <a:ln w="7608" cap="flat">
              <a:noFill/>
              <a:prstDash val="solid"/>
              <a:miter/>
            </a:ln>
          </p:spPr>
          <p:txBody>
            <a:bodyPr rtlCol="0" anchor="ctr"/>
            <a:lstStyle/>
            <a:p>
              <a:endParaRPr lang="hi-IN"/>
            </a:p>
          </p:txBody>
        </p:sp>
        <p:sp>
          <p:nvSpPr>
            <p:cNvPr id="1393" name="Freeform: Shape 392"/>
            <p:cNvSpPr/>
            <p:nvPr/>
          </p:nvSpPr>
          <p:spPr>
            <a:xfrm>
              <a:off x="10015944" y="6335086"/>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394" name="Freeform: Shape 393"/>
            <p:cNvSpPr/>
            <p:nvPr/>
          </p:nvSpPr>
          <p:spPr>
            <a:xfrm>
              <a:off x="10129051" y="6200514"/>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533"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395" name="Freeform: Shape 394"/>
            <p:cNvSpPr/>
            <p:nvPr/>
          </p:nvSpPr>
          <p:spPr>
            <a:xfrm>
              <a:off x="10233862" y="6059320"/>
              <a:ext cx="3273" cy="3272"/>
            </a:xfrm>
            <a:custGeom>
              <a:avLst/>
              <a:gdLst>
                <a:gd name="connsiteX0" fmla="*/ 3273 w 3273"/>
                <a:gd name="connsiteY0" fmla="*/ 1599 h 3272"/>
                <a:gd name="connsiteX1" fmla="*/ 1598 w 3273"/>
                <a:gd name="connsiteY1" fmla="*/ 3273 h 3272"/>
                <a:gd name="connsiteX2" fmla="*/ 0 w 3273"/>
                <a:gd name="connsiteY2" fmla="*/ 1599 h 3272"/>
                <a:gd name="connsiteX3" fmla="*/ 1598 w 3273"/>
                <a:gd name="connsiteY3" fmla="*/ 0 h 3272"/>
                <a:gd name="connsiteX4" fmla="*/ 3273 w 3273"/>
                <a:gd name="connsiteY4" fmla="*/ 1599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 h="3272">
                  <a:moveTo>
                    <a:pt x="3273" y="1599"/>
                  </a:moveTo>
                  <a:cubicBezTo>
                    <a:pt x="3273" y="2512"/>
                    <a:pt x="2511" y="3273"/>
                    <a:pt x="1598" y="3273"/>
                  </a:cubicBezTo>
                  <a:cubicBezTo>
                    <a:pt x="685" y="3273"/>
                    <a:pt x="0" y="2512"/>
                    <a:pt x="0" y="1599"/>
                  </a:cubicBezTo>
                  <a:cubicBezTo>
                    <a:pt x="0" y="685"/>
                    <a:pt x="685" y="0"/>
                    <a:pt x="1598" y="0"/>
                  </a:cubicBezTo>
                  <a:cubicBezTo>
                    <a:pt x="2588" y="0"/>
                    <a:pt x="3273" y="685"/>
                    <a:pt x="3273" y="1599"/>
                  </a:cubicBezTo>
                </a:path>
              </a:pathLst>
            </a:custGeom>
            <a:grpFill/>
            <a:ln w="7608" cap="flat">
              <a:noFill/>
              <a:prstDash val="solid"/>
              <a:miter/>
            </a:ln>
          </p:spPr>
          <p:txBody>
            <a:bodyPr rtlCol="0" anchor="ctr"/>
            <a:lstStyle/>
            <a:p>
              <a:endParaRPr lang="hi-IN"/>
            </a:p>
          </p:txBody>
        </p:sp>
        <p:sp>
          <p:nvSpPr>
            <p:cNvPr id="1396" name="Freeform: Shape 395"/>
            <p:cNvSpPr/>
            <p:nvPr/>
          </p:nvSpPr>
          <p:spPr>
            <a:xfrm>
              <a:off x="10329539" y="5911504"/>
              <a:ext cx="5481" cy="5480"/>
            </a:xfrm>
            <a:custGeom>
              <a:avLst/>
              <a:gdLst>
                <a:gd name="connsiteX0" fmla="*/ 5481 w 5481"/>
                <a:gd name="connsiteY0" fmla="*/ 2740 h 5480"/>
                <a:gd name="connsiteX1" fmla="*/ 2741 w 5481"/>
                <a:gd name="connsiteY1" fmla="*/ 5480 h 5480"/>
                <a:gd name="connsiteX2" fmla="*/ 0 w 5481"/>
                <a:gd name="connsiteY2" fmla="*/ 2740 h 5480"/>
                <a:gd name="connsiteX3" fmla="*/ 2741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1" y="5480"/>
                  </a:cubicBezTo>
                  <a:cubicBezTo>
                    <a:pt x="1218" y="5480"/>
                    <a:pt x="0" y="4262"/>
                    <a:pt x="0" y="2740"/>
                  </a:cubicBezTo>
                  <a:cubicBezTo>
                    <a:pt x="0" y="1218"/>
                    <a:pt x="1218" y="0"/>
                    <a:pt x="2741" y="0"/>
                  </a:cubicBezTo>
                  <a:cubicBezTo>
                    <a:pt x="4339" y="76"/>
                    <a:pt x="5481" y="1294"/>
                    <a:pt x="5481" y="2740"/>
                  </a:cubicBezTo>
                </a:path>
              </a:pathLst>
            </a:custGeom>
            <a:grpFill/>
            <a:ln w="7608" cap="flat">
              <a:noFill/>
              <a:prstDash val="solid"/>
              <a:miter/>
            </a:ln>
          </p:spPr>
          <p:txBody>
            <a:bodyPr rtlCol="0" anchor="ctr"/>
            <a:lstStyle/>
            <a:p>
              <a:endParaRPr lang="hi-IN"/>
            </a:p>
          </p:txBody>
        </p:sp>
        <p:sp>
          <p:nvSpPr>
            <p:cNvPr id="1397" name="Freeform: Shape 396"/>
            <p:cNvSpPr/>
            <p:nvPr/>
          </p:nvSpPr>
          <p:spPr>
            <a:xfrm>
              <a:off x="10416920" y="5758817"/>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099" y="6546"/>
                    <a:pt x="3272" y="6546"/>
                  </a:cubicBezTo>
                  <a:cubicBezTo>
                    <a:pt x="1446" y="6546"/>
                    <a:pt x="0" y="5100"/>
                    <a:pt x="0" y="3273"/>
                  </a:cubicBezTo>
                  <a:cubicBezTo>
                    <a:pt x="0" y="1446"/>
                    <a:pt x="1446" y="0"/>
                    <a:pt x="3272" y="0"/>
                  </a:cubicBezTo>
                  <a:cubicBezTo>
                    <a:pt x="5099" y="0"/>
                    <a:pt x="6546" y="1446"/>
                    <a:pt x="6546" y="3273"/>
                  </a:cubicBezTo>
                </a:path>
              </a:pathLst>
            </a:custGeom>
            <a:grpFill/>
            <a:ln w="7608" cap="flat">
              <a:noFill/>
              <a:prstDash val="solid"/>
              <a:miter/>
            </a:ln>
          </p:spPr>
          <p:txBody>
            <a:bodyPr rtlCol="0" anchor="ctr"/>
            <a:lstStyle/>
            <a:p>
              <a:endParaRPr lang="hi-IN"/>
            </a:p>
          </p:txBody>
        </p:sp>
        <p:sp>
          <p:nvSpPr>
            <p:cNvPr id="1398" name="Freeform: Shape 397"/>
            <p:cNvSpPr/>
            <p:nvPr/>
          </p:nvSpPr>
          <p:spPr>
            <a:xfrm>
              <a:off x="10494482" y="5600570"/>
              <a:ext cx="8677" cy="8679"/>
            </a:xfrm>
            <a:custGeom>
              <a:avLst/>
              <a:gdLst>
                <a:gd name="connsiteX0" fmla="*/ 8677 w 8677"/>
                <a:gd name="connsiteY0" fmla="*/ 4341 h 8679"/>
                <a:gd name="connsiteX1" fmla="*/ 4338 w 8677"/>
                <a:gd name="connsiteY1" fmla="*/ 8679 h 8679"/>
                <a:gd name="connsiteX2" fmla="*/ 0 w 8677"/>
                <a:gd name="connsiteY2" fmla="*/ 4341 h 8679"/>
                <a:gd name="connsiteX3" fmla="*/ 4338 w 8677"/>
                <a:gd name="connsiteY3" fmla="*/ 2 h 8679"/>
                <a:gd name="connsiteX4" fmla="*/ 8677 w 8677"/>
                <a:gd name="connsiteY4" fmla="*/ 4341 h 8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9">
                  <a:moveTo>
                    <a:pt x="8677" y="4341"/>
                  </a:moveTo>
                  <a:cubicBezTo>
                    <a:pt x="8677" y="6700"/>
                    <a:pt x="6698" y="8679"/>
                    <a:pt x="4338" y="8679"/>
                  </a:cubicBezTo>
                  <a:cubicBezTo>
                    <a:pt x="1979" y="8679"/>
                    <a:pt x="0" y="6700"/>
                    <a:pt x="0" y="4341"/>
                  </a:cubicBezTo>
                  <a:cubicBezTo>
                    <a:pt x="0" y="1905"/>
                    <a:pt x="1979" y="2"/>
                    <a:pt x="4338" y="2"/>
                  </a:cubicBezTo>
                  <a:cubicBezTo>
                    <a:pt x="6774" y="-74"/>
                    <a:pt x="8677" y="1905"/>
                    <a:pt x="8677" y="4341"/>
                  </a:cubicBezTo>
                </a:path>
              </a:pathLst>
            </a:custGeom>
            <a:grpFill/>
            <a:ln w="7608" cap="flat">
              <a:noFill/>
              <a:prstDash val="solid"/>
              <a:miter/>
            </a:ln>
          </p:spPr>
          <p:txBody>
            <a:bodyPr rtlCol="0" anchor="ctr"/>
            <a:lstStyle/>
            <a:p>
              <a:endParaRPr lang="hi-IN"/>
            </a:p>
          </p:txBody>
        </p:sp>
        <p:sp>
          <p:nvSpPr>
            <p:cNvPr id="1399" name="Freeform: Shape 398"/>
            <p:cNvSpPr/>
            <p:nvPr/>
          </p:nvSpPr>
          <p:spPr>
            <a:xfrm>
              <a:off x="10562529" y="5437838"/>
              <a:ext cx="10807" cy="10808"/>
            </a:xfrm>
            <a:custGeom>
              <a:avLst/>
              <a:gdLst>
                <a:gd name="connsiteX0" fmla="*/ 10808 w 10807"/>
                <a:gd name="connsiteY0" fmla="*/ 5404 h 10808"/>
                <a:gd name="connsiteX1" fmla="*/ 5404 w 10807"/>
                <a:gd name="connsiteY1" fmla="*/ 10809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9"/>
                    <a:pt x="5404" y="10809"/>
                  </a:cubicBezTo>
                  <a:cubicBezTo>
                    <a:pt x="2435" y="10809"/>
                    <a:pt x="0" y="8373"/>
                    <a:pt x="0" y="5404"/>
                  </a:cubicBezTo>
                  <a:cubicBezTo>
                    <a:pt x="0" y="2436"/>
                    <a:pt x="2435"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400" name="Freeform: Shape 399"/>
            <p:cNvSpPr/>
            <p:nvPr/>
          </p:nvSpPr>
          <p:spPr>
            <a:xfrm>
              <a:off x="10620072" y="5270764"/>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97" y="0"/>
                    <a:pt x="7079" y="0"/>
                  </a:cubicBezTo>
                  <a:cubicBezTo>
                    <a:pt x="11036" y="0"/>
                    <a:pt x="14157" y="3121"/>
                    <a:pt x="14157" y="7079"/>
                  </a:cubicBezTo>
                </a:path>
              </a:pathLst>
            </a:custGeom>
            <a:grpFill/>
            <a:ln w="7608" cap="flat">
              <a:noFill/>
              <a:prstDash val="solid"/>
              <a:miter/>
            </a:ln>
          </p:spPr>
          <p:txBody>
            <a:bodyPr rtlCol="0" anchor="ctr"/>
            <a:lstStyle/>
            <a:p>
              <a:endParaRPr lang="hi-IN"/>
            </a:p>
          </p:txBody>
        </p:sp>
        <p:sp>
          <p:nvSpPr>
            <p:cNvPr id="1401" name="Freeform: Shape 400"/>
            <p:cNvSpPr/>
            <p:nvPr/>
          </p:nvSpPr>
          <p:spPr>
            <a:xfrm>
              <a:off x="10668329" y="5100951"/>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4"/>
                    <a:pt x="3653" y="0"/>
                    <a:pt x="8145"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402" name="Freeform: Shape 401"/>
            <p:cNvSpPr/>
            <p:nvPr/>
          </p:nvSpPr>
          <p:spPr>
            <a:xfrm>
              <a:off x="10705854" y="4928017"/>
              <a:ext cx="19485" cy="19485"/>
            </a:xfrm>
            <a:custGeom>
              <a:avLst/>
              <a:gdLst>
                <a:gd name="connsiteX0" fmla="*/ 19485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5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5" y="9743"/>
                  </a:moveTo>
                  <a:cubicBezTo>
                    <a:pt x="19485" y="15147"/>
                    <a:pt x="15071" y="19486"/>
                    <a:pt x="9743" y="19486"/>
                  </a:cubicBezTo>
                  <a:cubicBezTo>
                    <a:pt x="4338" y="19486"/>
                    <a:pt x="0" y="15071"/>
                    <a:pt x="0" y="9743"/>
                  </a:cubicBezTo>
                  <a:cubicBezTo>
                    <a:pt x="0" y="4339"/>
                    <a:pt x="4414" y="0"/>
                    <a:pt x="9743" y="0"/>
                  </a:cubicBezTo>
                  <a:cubicBezTo>
                    <a:pt x="15147" y="0"/>
                    <a:pt x="19485" y="4339"/>
                    <a:pt x="19485" y="9743"/>
                  </a:cubicBezTo>
                </a:path>
              </a:pathLst>
            </a:custGeom>
            <a:grpFill/>
            <a:ln w="7608" cap="flat">
              <a:noFill/>
              <a:prstDash val="solid"/>
              <a:miter/>
            </a:ln>
          </p:spPr>
          <p:txBody>
            <a:bodyPr rtlCol="0" anchor="ctr"/>
            <a:lstStyle/>
            <a:p>
              <a:endParaRPr lang="hi-IN"/>
            </a:p>
          </p:txBody>
        </p:sp>
        <p:sp>
          <p:nvSpPr>
            <p:cNvPr id="1403" name="Freeform: Shape 402"/>
            <p:cNvSpPr/>
            <p:nvPr/>
          </p:nvSpPr>
          <p:spPr>
            <a:xfrm>
              <a:off x="10733484" y="4753484"/>
              <a:ext cx="21768" cy="21768"/>
            </a:xfrm>
            <a:custGeom>
              <a:avLst/>
              <a:gdLst>
                <a:gd name="connsiteX0" fmla="*/ 21769 w 21768"/>
                <a:gd name="connsiteY0" fmla="*/ 10884 h 21768"/>
                <a:gd name="connsiteX1" fmla="*/ 10884 w 21768"/>
                <a:gd name="connsiteY1" fmla="*/ 21769 h 21768"/>
                <a:gd name="connsiteX2" fmla="*/ 0 w 21768"/>
                <a:gd name="connsiteY2" fmla="*/ 10884 h 21768"/>
                <a:gd name="connsiteX3" fmla="*/ 10884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7"/>
                    <a:pt x="16897" y="21769"/>
                    <a:pt x="10884" y="21769"/>
                  </a:cubicBezTo>
                  <a:cubicBezTo>
                    <a:pt x="4871" y="21769"/>
                    <a:pt x="0" y="16897"/>
                    <a:pt x="0" y="10884"/>
                  </a:cubicBezTo>
                  <a:cubicBezTo>
                    <a:pt x="0" y="4871"/>
                    <a:pt x="4871" y="0"/>
                    <a:pt x="10884" y="0"/>
                  </a:cubicBezTo>
                  <a:cubicBezTo>
                    <a:pt x="16897" y="76"/>
                    <a:pt x="21769" y="4947"/>
                    <a:pt x="21769" y="10884"/>
                  </a:cubicBezTo>
                </a:path>
              </a:pathLst>
            </a:custGeom>
            <a:grpFill/>
            <a:ln w="7608" cap="flat">
              <a:noFill/>
              <a:prstDash val="solid"/>
              <a:miter/>
            </a:ln>
          </p:spPr>
          <p:txBody>
            <a:bodyPr rtlCol="0" anchor="ctr"/>
            <a:lstStyle/>
            <a:p>
              <a:endParaRPr lang="hi-IN"/>
            </a:p>
          </p:txBody>
        </p:sp>
        <p:sp>
          <p:nvSpPr>
            <p:cNvPr id="1404" name="Freeform: Shape 403"/>
            <p:cNvSpPr/>
            <p:nvPr/>
          </p:nvSpPr>
          <p:spPr>
            <a:xfrm>
              <a:off x="10750305" y="4577125"/>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09"/>
                    <a:pt x="19334" y="24966"/>
                    <a:pt x="12483" y="24966"/>
                  </a:cubicBezTo>
                  <a:cubicBezTo>
                    <a:pt x="5556" y="24966"/>
                    <a:pt x="0" y="19409"/>
                    <a:pt x="0" y="12483"/>
                  </a:cubicBezTo>
                  <a:cubicBezTo>
                    <a:pt x="0" y="5556"/>
                    <a:pt x="5632" y="0"/>
                    <a:pt x="12483" y="0"/>
                  </a:cubicBezTo>
                  <a:cubicBezTo>
                    <a:pt x="19334" y="0"/>
                    <a:pt x="24966" y="5632"/>
                    <a:pt x="24966" y="12483"/>
                  </a:cubicBezTo>
                </a:path>
              </a:pathLst>
            </a:custGeom>
            <a:grpFill/>
            <a:ln w="7608" cap="flat">
              <a:noFill/>
              <a:prstDash val="solid"/>
              <a:miter/>
            </a:ln>
          </p:spPr>
          <p:txBody>
            <a:bodyPr rtlCol="0" anchor="ctr"/>
            <a:lstStyle/>
            <a:p>
              <a:endParaRPr lang="hi-IN"/>
            </a:p>
          </p:txBody>
        </p:sp>
        <p:sp>
          <p:nvSpPr>
            <p:cNvPr id="1405" name="Freeform: Shape 404"/>
            <p:cNvSpPr/>
            <p:nvPr/>
          </p:nvSpPr>
          <p:spPr>
            <a:xfrm>
              <a:off x="10756547" y="4399928"/>
              <a:ext cx="28238" cy="28162"/>
            </a:xfrm>
            <a:custGeom>
              <a:avLst/>
              <a:gdLst>
                <a:gd name="connsiteX0" fmla="*/ 28239 w 28238"/>
                <a:gd name="connsiteY0" fmla="*/ 14081 h 28162"/>
                <a:gd name="connsiteX1" fmla="*/ 14081 w 28238"/>
                <a:gd name="connsiteY1" fmla="*/ 28163 h 28162"/>
                <a:gd name="connsiteX2" fmla="*/ 0 w 28238"/>
                <a:gd name="connsiteY2" fmla="*/ 14081 h 28162"/>
                <a:gd name="connsiteX3" fmla="*/ 14081 w 28238"/>
                <a:gd name="connsiteY3" fmla="*/ 0 h 28162"/>
                <a:gd name="connsiteX4" fmla="*/ 28239 w 28238"/>
                <a:gd name="connsiteY4" fmla="*/ 14081 h 2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162">
                  <a:moveTo>
                    <a:pt x="28239" y="14081"/>
                  </a:moveTo>
                  <a:cubicBezTo>
                    <a:pt x="28239" y="21845"/>
                    <a:pt x="21921" y="28163"/>
                    <a:pt x="14081" y="28163"/>
                  </a:cubicBezTo>
                  <a:cubicBezTo>
                    <a:pt x="6317" y="28163"/>
                    <a:pt x="0" y="21845"/>
                    <a:pt x="0" y="14081"/>
                  </a:cubicBezTo>
                  <a:cubicBezTo>
                    <a:pt x="0" y="6318"/>
                    <a:pt x="6317" y="0"/>
                    <a:pt x="14081" y="0"/>
                  </a:cubicBezTo>
                  <a:cubicBezTo>
                    <a:pt x="21845" y="0"/>
                    <a:pt x="28239" y="6318"/>
                    <a:pt x="28239" y="14081"/>
                  </a:cubicBezTo>
                </a:path>
              </a:pathLst>
            </a:custGeom>
            <a:grpFill/>
            <a:ln w="7608" cap="flat">
              <a:noFill/>
              <a:prstDash val="solid"/>
              <a:miter/>
            </a:ln>
          </p:spPr>
          <p:txBody>
            <a:bodyPr rtlCol="0" anchor="ctr"/>
            <a:lstStyle/>
            <a:p>
              <a:endParaRPr lang="hi-IN"/>
            </a:p>
          </p:txBody>
        </p:sp>
        <p:sp>
          <p:nvSpPr>
            <p:cNvPr id="1406" name="Freeform: Shape 405"/>
            <p:cNvSpPr/>
            <p:nvPr/>
          </p:nvSpPr>
          <p:spPr>
            <a:xfrm>
              <a:off x="10752208" y="4222579"/>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6" y="31512"/>
                  </a:cubicBezTo>
                  <a:cubicBezTo>
                    <a:pt x="7079" y="31512"/>
                    <a:pt x="0" y="24433"/>
                    <a:pt x="0" y="15756"/>
                  </a:cubicBezTo>
                  <a:cubicBezTo>
                    <a:pt x="0" y="7079"/>
                    <a:pt x="7079" y="0"/>
                    <a:pt x="15756" y="0"/>
                  </a:cubicBezTo>
                  <a:cubicBezTo>
                    <a:pt x="24509" y="0"/>
                    <a:pt x="31512" y="7079"/>
                    <a:pt x="31512" y="15756"/>
                  </a:cubicBezTo>
                </a:path>
              </a:pathLst>
            </a:custGeom>
            <a:grpFill/>
            <a:ln w="7608" cap="flat">
              <a:noFill/>
              <a:prstDash val="solid"/>
              <a:miter/>
            </a:ln>
          </p:spPr>
          <p:txBody>
            <a:bodyPr rtlCol="0" anchor="ctr"/>
            <a:lstStyle/>
            <a:p>
              <a:endParaRPr lang="hi-IN"/>
            </a:p>
          </p:txBody>
        </p:sp>
        <p:sp>
          <p:nvSpPr>
            <p:cNvPr id="1407" name="Freeform: Shape 406"/>
            <p:cNvSpPr/>
            <p:nvPr/>
          </p:nvSpPr>
          <p:spPr>
            <a:xfrm>
              <a:off x="10737518" y="4045687"/>
              <a:ext cx="34708" cy="34708"/>
            </a:xfrm>
            <a:custGeom>
              <a:avLst/>
              <a:gdLst>
                <a:gd name="connsiteX0" fmla="*/ 34708 w 34708"/>
                <a:gd name="connsiteY0" fmla="*/ 17354 h 34708"/>
                <a:gd name="connsiteX1" fmla="*/ 17354 w 34708"/>
                <a:gd name="connsiteY1" fmla="*/ 34709 h 34708"/>
                <a:gd name="connsiteX2" fmla="*/ 0 w 34708"/>
                <a:gd name="connsiteY2" fmla="*/ 17354 h 34708"/>
                <a:gd name="connsiteX3" fmla="*/ 17354 w 34708"/>
                <a:gd name="connsiteY3" fmla="*/ 0 h 34708"/>
                <a:gd name="connsiteX4" fmla="*/ 34708 w 34708"/>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8">
                  <a:moveTo>
                    <a:pt x="34708" y="17354"/>
                  </a:moveTo>
                  <a:cubicBezTo>
                    <a:pt x="34708" y="26945"/>
                    <a:pt x="26944" y="34709"/>
                    <a:pt x="17354" y="34709"/>
                  </a:cubicBezTo>
                  <a:cubicBezTo>
                    <a:pt x="7763" y="34709"/>
                    <a:pt x="0" y="26945"/>
                    <a:pt x="0" y="17354"/>
                  </a:cubicBezTo>
                  <a:cubicBezTo>
                    <a:pt x="0" y="7763"/>
                    <a:pt x="7763" y="0"/>
                    <a:pt x="17354" y="0"/>
                  </a:cubicBezTo>
                  <a:cubicBezTo>
                    <a:pt x="26944" y="0"/>
                    <a:pt x="34708" y="7763"/>
                    <a:pt x="34708" y="17354"/>
                  </a:cubicBezTo>
                </a:path>
              </a:pathLst>
            </a:custGeom>
            <a:grpFill/>
            <a:ln w="7608" cap="flat">
              <a:noFill/>
              <a:prstDash val="solid"/>
              <a:miter/>
            </a:ln>
          </p:spPr>
          <p:txBody>
            <a:bodyPr rtlCol="0" anchor="ctr"/>
            <a:lstStyle/>
            <a:p>
              <a:endParaRPr lang="hi-IN"/>
            </a:p>
          </p:txBody>
        </p:sp>
        <p:sp>
          <p:nvSpPr>
            <p:cNvPr id="1408" name="Freeform: Shape 407"/>
            <p:cNvSpPr/>
            <p:nvPr/>
          </p:nvSpPr>
          <p:spPr>
            <a:xfrm>
              <a:off x="10712248" y="3869860"/>
              <a:ext cx="38057" cy="38057"/>
            </a:xfrm>
            <a:custGeom>
              <a:avLst/>
              <a:gdLst>
                <a:gd name="connsiteX0" fmla="*/ 38058 w 38057"/>
                <a:gd name="connsiteY0" fmla="*/ 19029 h 38057"/>
                <a:gd name="connsiteX1" fmla="*/ 19029 w 38057"/>
                <a:gd name="connsiteY1" fmla="*/ 38057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7"/>
                    <a:pt x="19029" y="38057"/>
                  </a:cubicBezTo>
                  <a:cubicBezTo>
                    <a:pt x="8525" y="38057"/>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409" name="Freeform: Shape 408"/>
            <p:cNvSpPr/>
            <p:nvPr/>
          </p:nvSpPr>
          <p:spPr>
            <a:xfrm>
              <a:off x="10677235" y="3696393"/>
              <a:ext cx="40189" cy="40188"/>
            </a:xfrm>
            <a:custGeom>
              <a:avLst/>
              <a:gdLst>
                <a:gd name="connsiteX0" fmla="*/ 40189 w 40189"/>
                <a:gd name="connsiteY0" fmla="*/ 20094 h 40188"/>
                <a:gd name="connsiteX1" fmla="*/ 20095 w 40189"/>
                <a:gd name="connsiteY1" fmla="*/ 40189 h 40188"/>
                <a:gd name="connsiteX2" fmla="*/ 0 w 40189"/>
                <a:gd name="connsiteY2" fmla="*/ 20094 h 40188"/>
                <a:gd name="connsiteX3" fmla="*/ 20095 w 40189"/>
                <a:gd name="connsiteY3" fmla="*/ 0 h 40188"/>
                <a:gd name="connsiteX4" fmla="*/ 40189 w 40189"/>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4"/>
                  </a:moveTo>
                  <a:cubicBezTo>
                    <a:pt x="40189" y="31207"/>
                    <a:pt x="31207" y="40189"/>
                    <a:pt x="20095" y="40189"/>
                  </a:cubicBezTo>
                  <a:cubicBezTo>
                    <a:pt x="8982" y="40189"/>
                    <a:pt x="0" y="31207"/>
                    <a:pt x="0" y="20094"/>
                  </a:cubicBezTo>
                  <a:cubicBezTo>
                    <a:pt x="0" y="8982"/>
                    <a:pt x="8982" y="0"/>
                    <a:pt x="20095" y="0"/>
                  </a:cubicBezTo>
                  <a:cubicBezTo>
                    <a:pt x="31207" y="0"/>
                    <a:pt x="40189" y="8982"/>
                    <a:pt x="40189" y="20094"/>
                  </a:cubicBezTo>
                </a:path>
              </a:pathLst>
            </a:custGeom>
            <a:grpFill/>
            <a:ln w="7608" cap="flat">
              <a:noFill/>
              <a:prstDash val="solid"/>
              <a:miter/>
            </a:ln>
          </p:spPr>
          <p:txBody>
            <a:bodyPr rtlCol="0" anchor="ctr"/>
            <a:lstStyle/>
            <a:p>
              <a:endParaRPr lang="hi-IN"/>
            </a:p>
          </p:txBody>
        </p:sp>
        <p:sp>
          <p:nvSpPr>
            <p:cNvPr id="1410" name="Freeform: Shape 409"/>
            <p:cNvSpPr/>
            <p:nvPr/>
          </p:nvSpPr>
          <p:spPr>
            <a:xfrm>
              <a:off x="10631413" y="3524676"/>
              <a:ext cx="43386" cy="43386"/>
            </a:xfrm>
            <a:custGeom>
              <a:avLst/>
              <a:gdLst>
                <a:gd name="connsiteX0" fmla="*/ 43386 w 43386"/>
                <a:gd name="connsiteY0" fmla="*/ 21693 h 43386"/>
                <a:gd name="connsiteX1" fmla="*/ 21693 w 43386"/>
                <a:gd name="connsiteY1" fmla="*/ 43386 h 43386"/>
                <a:gd name="connsiteX2" fmla="*/ 0 w 43386"/>
                <a:gd name="connsiteY2" fmla="*/ 21693 h 43386"/>
                <a:gd name="connsiteX3" fmla="*/ 21693 w 43386"/>
                <a:gd name="connsiteY3" fmla="*/ 0 h 43386"/>
                <a:gd name="connsiteX4" fmla="*/ 43386 w 43386"/>
                <a:gd name="connsiteY4" fmla="*/ 21693 h 43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6" h="43386">
                  <a:moveTo>
                    <a:pt x="43386" y="21693"/>
                  </a:moveTo>
                  <a:cubicBezTo>
                    <a:pt x="43386" y="33720"/>
                    <a:pt x="33643" y="43386"/>
                    <a:pt x="21693" y="43386"/>
                  </a:cubicBezTo>
                  <a:cubicBezTo>
                    <a:pt x="9667" y="43386"/>
                    <a:pt x="0" y="33643"/>
                    <a:pt x="0" y="21693"/>
                  </a:cubicBezTo>
                  <a:cubicBezTo>
                    <a:pt x="0" y="9743"/>
                    <a:pt x="9743" y="0"/>
                    <a:pt x="21693" y="0"/>
                  </a:cubicBezTo>
                  <a:cubicBezTo>
                    <a:pt x="33720" y="-76"/>
                    <a:pt x="43386" y="9667"/>
                    <a:pt x="43386" y="21693"/>
                  </a:cubicBezTo>
                </a:path>
              </a:pathLst>
            </a:custGeom>
            <a:grpFill/>
            <a:ln w="7608" cap="flat">
              <a:noFill/>
              <a:prstDash val="solid"/>
              <a:miter/>
            </a:ln>
          </p:spPr>
          <p:txBody>
            <a:bodyPr rtlCol="0" anchor="ctr"/>
            <a:lstStyle/>
            <a:p>
              <a:endParaRPr lang="hi-IN"/>
            </a:p>
          </p:txBody>
        </p:sp>
        <p:sp>
          <p:nvSpPr>
            <p:cNvPr id="1411" name="Freeform: Shape 410"/>
            <p:cNvSpPr/>
            <p:nvPr/>
          </p:nvSpPr>
          <p:spPr>
            <a:xfrm>
              <a:off x="10575925" y="3356385"/>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0"/>
                    <a:pt x="45669" y="10199"/>
                    <a:pt x="45669" y="22835"/>
                  </a:cubicBezTo>
                </a:path>
              </a:pathLst>
            </a:custGeom>
            <a:grpFill/>
            <a:ln w="7608" cap="flat">
              <a:noFill/>
              <a:prstDash val="solid"/>
              <a:miter/>
            </a:ln>
          </p:spPr>
          <p:txBody>
            <a:bodyPr rtlCol="0" anchor="ctr"/>
            <a:lstStyle/>
            <a:p>
              <a:endParaRPr lang="hi-IN"/>
            </a:p>
          </p:txBody>
        </p:sp>
        <p:sp>
          <p:nvSpPr>
            <p:cNvPr id="1412" name="Freeform: Shape 411"/>
            <p:cNvSpPr/>
            <p:nvPr/>
          </p:nvSpPr>
          <p:spPr>
            <a:xfrm>
              <a:off x="10510694" y="3191672"/>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76"/>
                    <a:pt x="47801" y="10732"/>
                    <a:pt x="47801" y="23900"/>
                  </a:cubicBezTo>
                </a:path>
              </a:pathLst>
            </a:custGeom>
            <a:grpFill/>
            <a:ln w="7608" cap="flat">
              <a:noFill/>
              <a:prstDash val="solid"/>
              <a:miter/>
            </a:ln>
          </p:spPr>
          <p:txBody>
            <a:bodyPr rtlCol="0" anchor="ctr"/>
            <a:lstStyle/>
            <a:p>
              <a:endParaRPr lang="hi-IN"/>
            </a:p>
          </p:txBody>
        </p:sp>
        <p:sp>
          <p:nvSpPr>
            <p:cNvPr id="1413" name="Freeform: Shape 412"/>
            <p:cNvSpPr/>
            <p:nvPr/>
          </p:nvSpPr>
          <p:spPr>
            <a:xfrm>
              <a:off x="10435721" y="3031144"/>
              <a:ext cx="49931" cy="49931"/>
            </a:xfrm>
            <a:custGeom>
              <a:avLst/>
              <a:gdLst>
                <a:gd name="connsiteX0" fmla="*/ 49931 w 49931"/>
                <a:gd name="connsiteY0" fmla="*/ 24966 h 49931"/>
                <a:gd name="connsiteX1" fmla="*/ 24966 w 49931"/>
                <a:gd name="connsiteY1" fmla="*/ 49932 h 49931"/>
                <a:gd name="connsiteX2" fmla="*/ 0 w 49931"/>
                <a:gd name="connsiteY2" fmla="*/ 24966 h 49931"/>
                <a:gd name="connsiteX3" fmla="*/ 24966 w 49931"/>
                <a:gd name="connsiteY3" fmla="*/ 0 h 49931"/>
                <a:gd name="connsiteX4" fmla="*/ 49931 w 49931"/>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1" h="49931">
                  <a:moveTo>
                    <a:pt x="49931" y="24966"/>
                  </a:moveTo>
                  <a:cubicBezTo>
                    <a:pt x="49931" y="38743"/>
                    <a:pt x="38742" y="49932"/>
                    <a:pt x="24966" y="49932"/>
                  </a:cubicBezTo>
                  <a:cubicBezTo>
                    <a:pt x="11189" y="49932"/>
                    <a:pt x="0" y="38743"/>
                    <a:pt x="0" y="24966"/>
                  </a:cubicBezTo>
                  <a:cubicBezTo>
                    <a:pt x="0" y="11189"/>
                    <a:pt x="11189" y="0"/>
                    <a:pt x="24966" y="0"/>
                  </a:cubicBezTo>
                  <a:cubicBezTo>
                    <a:pt x="38742" y="0"/>
                    <a:pt x="49931" y="11189"/>
                    <a:pt x="49931" y="24966"/>
                  </a:cubicBezTo>
                </a:path>
              </a:pathLst>
            </a:custGeom>
            <a:grpFill/>
            <a:ln w="7608" cap="flat">
              <a:noFill/>
              <a:prstDash val="solid"/>
              <a:miter/>
            </a:ln>
          </p:spPr>
          <p:txBody>
            <a:bodyPr rtlCol="0" anchor="ctr"/>
            <a:lstStyle/>
            <a:p>
              <a:endParaRPr lang="hi-IN"/>
            </a:p>
          </p:txBody>
        </p:sp>
        <p:sp>
          <p:nvSpPr>
            <p:cNvPr id="1414" name="Freeform: Shape 413"/>
            <p:cNvSpPr/>
            <p:nvPr/>
          </p:nvSpPr>
          <p:spPr>
            <a:xfrm>
              <a:off x="10351309" y="2875336"/>
              <a:ext cx="52138" cy="52062"/>
            </a:xfrm>
            <a:custGeom>
              <a:avLst/>
              <a:gdLst>
                <a:gd name="connsiteX0" fmla="*/ 52139 w 52138"/>
                <a:gd name="connsiteY0" fmla="*/ 26031 h 52062"/>
                <a:gd name="connsiteX1" fmla="*/ 26107 w 52138"/>
                <a:gd name="connsiteY1" fmla="*/ 52063 h 52062"/>
                <a:gd name="connsiteX2" fmla="*/ 0 w 52138"/>
                <a:gd name="connsiteY2" fmla="*/ 26031 h 52062"/>
                <a:gd name="connsiteX3" fmla="*/ 26107 w 52138"/>
                <a:gd name="connsiteY3" fmla="*/ 0 h 52062"/>
                <a:gd name="connsiteX4" fmla="*/ 52139 w 52138"/>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8" h="52062">
                  <a:moveTo>
                    <a:pt x="52139" y="26031"/>
                  </a:moveTo>
                  <a:cubicBezTo>
                    <a:pt x="52139" y="40417"/>
                    <a:pt x="40493" y="52063"/>
                    <a:pt x="26107" y="52063"/>
                  </a:cubicBezTo>
                  <a:cubicBezTo>
                    <a:pt x="11721" y="52063"/>
                    <a:pt x="0" y="40417"/>
                    <a:pt x="0" y="26031"/>
                  </a:cubicBezTo>
                  <a:cubicBezTo>
                    <a:pt x="0" y="11646"/>
                    <a:pt x="11645" y="0"/>
                    <a:pt x="26107" y="0"/>
                  </a:cubicBezTo>
                  <a:cubicBezTo>
                    <a:pt x="40493" y="0"/>
                    <a:pt x="52139" y="11646"/>
                    <a:pt x="52139" y="26031"/>
                  </a:cubicBezTo>
                </a:path>
              </a:pathLst>
            </a:custGeom>
            <a:grpFill/>
            <a:ln w="7608" cap="flat">
              <a:noFill/>
              <a:prstDash val="solid"/>
              <a:miter/>
            </a:ln>
          </p:spPr>
          <p:txBody>
            <a:bodyPr rtlCol="0" anchor="ctr"/>
            <a:lstStyle/>
            <a:p>
              <a:endParaRPr lang="hi-IN"/>
            </a:p>
          </p:txBody>
        </p:sp>
        <p:sp>
          <p:nvSpPr>
            <p:cNvPr id="1415" name="Freeform: Shape 414"/>
            <p:cNvSpPr/>
            <p:nvPr/>
          </p:nvSpPr>
          <p:spPr>
            <a:xfrm>
              <a:off x="10258371" y="2725236"/>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7" y="53281"/>
                    <a:pt x="26640" y="53281"/>
                  </a:cubicBezTo>
                  <a:cubicBezTo>
                    <a:pt x="11951" y="53281"/>
                    <a:pt x="0" y="41407"/>
                    <a:pt x="0" y="26640"/>
                  </a:cubicBezTo>
                  <a:cubicBezTo>
                    <a:pt x="0" y="11950"/>
                    <a:pt x="11874" y="0"/>
                    <a:pt x="26640" y="0"/>
                  </a:cubicBezTo>
                  <a:cubicBezTo>
                    <a:pt x="41331" y="0"/>
                    <a:pt x="53281" y="11950"/>
                    <a:pt x="53281" y="26640"/>
                  </a:cubicBezTo>
                </a:path>
              </a:pathLst>
            </a:custGeom>
            <a:grpFill/>
            <a:ln w="7608" cap="flat">
              <a:noFill/>
              <a:prstDash val="solid"/>
              <a:miter/>
            </a:ln>
          </p:spPr>
          <p:txBody>
            <a:bodyPr rtlCol="0" anchor="ctr"/>
            <a:lstStyle/>
            <a:p>
              <a:endParaRPr lang="hi-IN"/>
            </a:p>
          </p:txBody>
        </p:sp>
        <p:sp>
          <p:nvSpPr>
            <p:cNvPr id="1416" name="Freeform: Shape 415"/>
            <p:cNvSpPr/>
            <p:nvPr/>
          </p:nvSpPr>
          <p:spPr>
            <a:xfrm>
              <a:off x="10156681" y="2580997"/>
              <a:ext cx="54346" cy="54346"/>
            </a:xfrm>
            <a:custGeom>
              <a:avLst/>
              <a:gdLst>
                <a:gd name="connsiteX0" fmla="*/ 54347 w 54346"/>
                <a:gd name="connsiteY0" fmla="*/ 27173 h 54346"/>
                <a:gd name="connsiteX1" fmla="*/ 27174 w 54346"/>
                <a:gd name="connsiteY1" fmla="*/ 54347 h 54346"/>
                <a:gd name="connsiteX2" fmla="*/ 0 w 54346"/>
                <a:gd name="connsiteY2" fmla="*/ 27173 h 54346"/>
                <a:gd name="connsiteX3" fmla="*/ 27174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7"/>
                    <a:pt x="27174" y="54347"/>
                  </a:cubicBezTo>
                  <a:cubicBezTo>
                    <a:pt x="12178" y="54347"/>
                    <a:pt x="0" y="42168"/>
                    <a:pt x="0" y="27173"/>
                  </a:cubicBezTo>
                  <a:cubicBezTo>
                    <a:pt x="0" y="12179"/>
                    <a:pt x="12178" y="0"/>
                    <a:pt x="27174" y="0"/>
                  </a:cubicBezTo>
                  <a:cubicBezTo>
                    <a:pt x="42168" y="0"/>
                    <a:pt x="54347" y="12179"/>
                    <a:pt x="54347" y="27173"/>
                  </a:cubicBezTo>
                </a:path>
              </a:pathLst>
            </a:custGeom>
            <a:grpFill/>
            <a:ln w="7608" cap="flat">
              <a:noFill/>
              <a:prstDash val="solid"/>
              <a:miter/>
            </a:ln>
          </p:spPr>
          <p:txBody>
            <a:bodyPr rtlCol="0" anchor="ctr"/>
            <a:lstStyle/>
            <a:p>
              <a:endParaRPr lang="hi-IN"/>
            </a:p>
          </p:txBody>
        </p:sp>
        <p:sp>
          <p:nvSpPr>
            <p:cNvPr id="1417" name="Freeform: Shape 416"/>
            <p:cNvSpPr/>
            <p:nvPr/>
          </p:nvSpPr>
          <p:spPr>
            <a:xfrm>
              <a:off x="10047075" y="2443609"/>
              <a:ext cx="54346" cy="54346"/>
            </a:xfrm>
            <a:custGeom>
              <a:avLst/>
              <a:gdLst>
                <a:gd name="connsiteX0" fmla="*/ 54347 w 54346"/>
                <a:gd name="connsiteY0" fmla="*/ 27173 h 54346"/>
                <a:gd name="connsiteX1" fmla="*/ 27174 w 54346"/>
                <a:gd name="connsiteY1" fmla="*/ 54346 h 54346"/>
                <a:gd name="connsiteX2" fmla="*/ 0 w 54346"/>
                <a:gd name="connsiteY2" fmla="*/ 27173 h 54346"/>
                <a:gd name="connsiteX3" fmla="*/ 27174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6"/>
                    <a:pt x="27174" y="54346"/>
                  </a:cubicBezTo>
                  <a:cubicBezTo>
                    <a:pt x="12178" y="54346"/>
                    <a:pt x="0" y="42168"/>
                    <a:pt x="0" y="27173"/>
                  </a:cubicBezTo>
                  <a:cubicBezTo>
                    <a:pt x="0" y="12179"/>
                    <a:pt x="12178" y="0"/>
                    <a:pt x="27174" y="0"/>
                  </a:cubicBezTo>
                  <a:cubicBezTo>
                    <a:pt x="42244" y="0"/>
                    <a:pt x="54347" y="12179"/>
                    <a:pt x="54347" y="27173"/>
                  </a:cubicBezTo>
                </a:path>
              </a:pathLst>
            </a:custGeom>
            <a:grpFill/>
            <a:ln w="7608" cap="flat">
              <a:noFill/>
              <a:prstDash val="solid"/>
              <a:miter/>
            </a:ln>
          </p:spPr>
          <p:txBody>
            <a:bodyPr rtlCol="0" anchor="ctr"/>
            <a:lstStyle/>
            <a:p>
              <a:endParaRPr lang="hi-IN"/>
            </a:p>
          </p:txBody>
        </p:sp>
        <p:sp>
          <p:nvSpPr>
            <p:cNvPr id="1418" name="Freeform: Shape 417"/>
            <p:cNvSpPr/>
            <p:nvPr/>
          </p:nvSpPr>
          <p:spPr>
            <a:xfrm>
              <a:off x="9928944" y="2312462"/>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419" name="Freeform: Shape 418"/>
            <p:cNvSpPr/>
            <p:nvPr/>
          </p:nvSpPr>
          <p:spPr>
            <a:xfrm>
              <a:off x="9803734" y="2189079"/>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0"/>
                    <a:pt x="55412" y="12407"/>
                    <a:pt x="55412" y="27706"/>
                  </a:cubicBezTo>
                </a:path>
              </a:pathLst>
            </a:custGeom>
            <a:grpFill/>
            <a:ln w="7608" cap="flat">
              <a:noFill/>
              <a:prstDash val="solid"/>
              <a:miter/>
            </a:ln>
          </p:spPr>
          <p:txBody>
            <a:bodyPr rtlCol="0" anchor="ctr"/>
            <a:lstStyle/>
            <a:p>
              <a:endParaRPr lang="hi-IN"/>
            </a:p>
          </p:txBody>
        </p:sp>
        <p:sp>
          <p:nvSpPr>
            <p:cNvPr id="1420" name="Freeform: Shape 419"/>
            <p:cNvSpPr/>
            <p:nvPr/>
          </p:nvSpPr>
          <p:spPr>
            <a:xfrm>
              <a:off x="9671903" y="2073993"/>
              <a:ext cx="54345" cy="54346"/>
            </a:xfrm>
            <a:custGeom>
              <a:avLst/>
              <a:gdLst>
                <a:gd name="connsiteX0" fmla="*/ 54346 w 54345"/>
                <a:gd name="connsiteY0" fmla="*/ 27173 h 54346"/>
                <a:gd name="connsiteX1" fmla="*/ 27173 w 54345"/>
                <a:gd name="connsiteY1" fmla="*/ 54346 h 54346"/>
                <a:gd name="connsiteX2" fmla="*/ 0 w 54345"/>
                <a:gd name="connsiteY2" fmla="*/ 27173 h 54346"/>
                <a:gd name="connsiteX3" fmla="*/ 27173 w 54345"/>
                <a:gd name="connsiteY3" fmla="*/ 0 h 54346"/>
                <a:gd name="connsiteX4" fmla="*/ 54346 w 54345"/>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5" h="54346">
                  <a:moveTo>
                    <a:pt x="54346" y="27173"/>
                  </a:moveTo>
                  <a:cubicBezTo>
                    <a:pt x="54346" y="42168"/>
                    <a:pt x="42167" y="54346"/>
                    <a:pt x="27173" y="54346"/>
                  </a:cubicBezTo>
                  <a:cubicBezTo>
                    <a:pt x="12178" y="54346"/>
                    <a:pt x="0" y="42168"/>
                    <a:pt x="0" y="27173"/>
                  </a:cubicBezTo>
                  <a:cubicBezTo>
                    <a:pt x="0" y="12178"/>
                    <a:pt x="12178" y="0"/>
                    <a:pt x="27173" y="0"/>
                  </a:cubicBezTo>
                  <a:cubicBezTo>
                    <a:pt x="42167" y="0"/>
                    <a:pt x="54346" y="12178"/>
                    <a:pt x="54346" y="27173"/>
                  </a:cubicBezTo>
                </a:path>
              </a:pathLst>
            </a:custGeom>
            <a:grpFill/>
            <a:ln w="7608" cap="flat">
              <a:noFill/>
              <a:prstDash val="solid"/>
              <a:miter/>
            </a:ln>
          </p:spPr>
          <p:txBody>
            <a:bodyPr rtlCol="0" anchor="ctr"/>
            <a:lstStyle/>
            <a:p>
              <a:endParaRPr lang="hi-IN"/>
            </a:p>
          </p:txBody>
        </p:sp>
        <p:sp>
          <p:nvSpPr>
            <p:cNvPr id="1421" name="Freeform: Shape 420"/>
            <p:cNvSpPr/>
            <p:nvPr/>
          </p:nvSpPr>
          <p:spPr>
            <a:xfrm>
              <a:off x="9532916" y="1966518"/>
              <a:ext cx="54346" cy="54346"/>
            </a:xfrm>
            <a:custGeom>
              <a:avLst/>
              <a:gdLst>
                <a:gd name="connsiteX0" fmla="*/ 54347 w 54346"/>
                <a:gd name="connsiteY0" fmla="*/ 27173 h 54346"/>
                <a:gd name="connsiteX1" fmla="*/ 27173 w 54346"/>
                <a:gd name="connsiteY1" fmla="*/ 54347 h 54346"/>
                <a:gd name="connsiteX2" fmla="*/ 0 w 54346"/>
                <a:gd name="connsiteY2" fmla="*/ 27173 h 54346"/>
                <a:gd name="connsiteX3" fmla="*/ 27173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7" y="54347"/>
                    <a:pt x="27173" y="54347"/>
                  </a:cubicBezTo>
                  <a:cubicBezTo>
                    <a:pt x="12178" y="54347"/>
                    <a:pt x="0" y="42168"/>
                    <a:pt x="0" y="27173"/>
                  </a:cubicBezTo>
                  <a:cubicBezTo>
                    <a:pt x="0" y="12179"/>
                    <a:pt x="12178" y="0"/>
                    <a:pt x="27173" y="0"/>
                  </a:cubicBezTo>
                  <a:cubicBezTo>
                    <a:pt x="42167" y="0"/>
                    <a:pt x="54347" y="12179"/>
                    <a:pt x="54347" y="27173"/>
                  </a:cubicBezTo>
                </a:path>
              </a:pathLst>
            </a:custGeom>
            <a:grpFill/>
            <a:ln w="7608" cap="flat">
              <a:noFill/>
              <a:prstDash val="solid"/>
              <a:miter/>
            </a:ln>
          </p:spPr>
          <p:txBody>
            <a:bodyPr rtlCol="0" anchor="ctr"/>
            <a:lstStyle/>
            <a:p>
              <a:endParaRPr lang="hi-IN"/>
            </a:p>
          </p:txBody>
        </p:sp>
        <p:sp>
          <p:nvSpPr>
            <p:cNvPr id="1422" name="Freeform: Shape 421"/>
            <p:cNvSpPr/>
            <p:nvPr/>
          </p:nvSpPr>
          <p:spPr>
            <a:xfrm>
              <a:off x="9388220" y="1868024"/>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330" y="53281"/>
                    <a:pt x="26640" y="53281"/>
                  </a:cubicBezTo>
                  <a:cubicBezTo>
                    <a:pt x="11950" y="53281"/>
                    <a:pt x="0" y="41331"/>
                    <a:pt x="0" y="26640"/>
                  </a:cubicBezTo>
                  <a:cubicBezTo>
                    <a:pt x="0" y="11950"/>
                    <a:pt x="11950" y="0"/>
                    <a:pt x="26640" y="0"/>
                  </a:cubicBezTo>
                  <a:cubicBezTo>
                    <a:pt x="41330" y="0"/>
                    <a:pt x="53281" y="11950"/>
                    <a:pt x="53281" y="26640"/>
                  </a:cubicBezTo>
                </a:path>
              </a:pathLst>
            </a:custGeom>
            <a:grpFill/>
            <a:ln w="7608" cap="flat">
              <a:noFill/>
              <a:prstDash val="solid"/>
              <a:miter/>
            </a:ln>
          </p:spPr>
          <p:txBody>
            <a:bodyPr rtlCol="0" anchor="ctr"/>
            <a:lstStyle/>
            <a:p>
              <a:endParaRPr lang="hi-IN"/>
            </a:p>
          </p:txBody>
        </p:sp>
        <p:sp>
          <p:nvSpPr>
            <p:cNvPr id="1423" name="Freeform: Shape 422"/>
            <p:cNvSpPr/>
            <p:nvPr/>
          </p:nvSpPr>
          <p:spPr>
            <a:xfrm>
              <a:off x="9238577" y="1779045"/>
              <a:ext cx="50996" cy="50997"/>
            </a:xfrm>
            <a:custGeom>
              <a:avLst/>
              <a:gdLst>
                <a:gd name="connsiteX0" fmla="*/ 50997 w 50996"/>
                <a:gd name="connsiteY0" fmla="*/ 25499 h 50997"/>
                <a:gd name="connsiteX1" fmla="*/ 25498 w 50996"/>
                <a:gd name="connsiteY1" fmla="*/ 50997 h 50997"/>
                <a:gd name="connsiteX2" fmla="*/ 0 w 50996"/>
                <a:gd name="connsiteY2" fmla="*/ 25499 h 50997"/>
                <a:gd name="connsiteX3" fmla="*/ 25498 w 50996"/>
                <a:gd name="connsiteY3" fmla="*/ 0 h 50997"/>
                <a:gd name="connsiteX4" fmla="*/ 50997 w 50996"/>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6" h="50997">
                  <a:moveTo>
                    <a:pt x="50997" y="25499"/>
                  </a:moveTo>
                  <a:cubicBezTo>
                    <a:pt x="50997" y="39580"/>
                    <a:pt x="39580" y="50997"/>
                    <a:pt x="25498" y="50997"/>
                  </a:cubicBezTo>
                  <a:cubicBezTo>
                    <a:pt x="11417" y="50997"/>
                    <a:pt x="0" y="39580"/>
                    <a:pt x="0" y="25499"/>
                  </a:cubicBezTo>
                  <a:cubicBezTo>
                    <a:pt x="0" y="11417"/>
                    <a:pt x="11417" y="0"/>
                    <a:pt x="25498" y="0"/>
                  </a:cubicBezTo>
                  <a:cubicBezTo>
                    <a:pt x="39580" y="0"/>
                    <a:pt x="50997" y="11341"/>
                    <a:pt x="50997" y="25499"/>
                  </a:cubicBezTo>
                </a:path>
              </a:pathLst>
            </a:custGeom>
            <a:grpFill/>
            <a:ln w="7608" cap="flat">
              <a:noFill/>
              <a:prstDash val="solid"/>
              <a:miter/>
            </a:ln>
          </p:spPr>
          <p:txBody>
            <a:bodyPr rtlCol="0" anchor="ctr"/>
            <a:lstStyle/>
            <a:p>
              <a:endParaRPr lang="hi-IN"/>
            </a:p>
          </p:txBody>
        </p:sp>
        <p:sp>
          <p:nvSpPr>
            <p:cNvPr id="1424" name="Freeform: Shape 423"/>
            <p:cNvSpPr/>
            <p:nvPr/>
          </p:nvSpPr>
          <p:spPr>
            <a:xfrm>
              <a:off x="9083073" y="1698591"/>
              <a:ext cx="49932" cy="49931"/>
            </a:xfrm>
            <a:custGeom>
              <a:avLst/>
              <a:gdLst>
                <a:gd name="connsiteX0" fmla="*/ 49932 w 49932"/>
                <a:gd name="connsiteY0" fmla="*/ 24966 h 49931"/>
                <a:gd name="connsiteX1" fmla="*/ 24966 w 49932"/>
                <a:gd name="connsiteY1" fmla="*/ 49932 h 49931"/>
                <a:gd name="connsiteX2" fmla="*/ 0 w 49932"/>
                <a:gd name="connsiteY2" fmla="*/ 24966 h 49931"/>
                <a:gd name="connsiteX3" fmla="*/ 24966 w 49932"/>
                <a:gd name="connsiteY3" fmla="*/ 0 h 49931"/>
                <a:gd name="connsiteX4" fmla="*/ 49932 w 49932"/>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2" h="49931">
                  <a:moveTo>
                    <a:pt x="49932" y="24966"/>
                  </a:moveTo>
                  <a:cubicBezTo>
                    <a:pt x="49932" y="38743"/>
                    <a:pt x="38743" y="49932"/>
                    <a:pt x="24966" y="49932"/>
                  </a:cubicBezTo>
                  <a:cubicBezTo>
                    <a:pt x="11190" y="49932"/>
                    <a:pt x="0" y="38743"/>
                    <a:pt x="0" y="24966"/>
                  </a:cubicBezTo>
                  <a:cubicBezTo>
                    <a:pt x="0" y="11189"/>
                    <a:pt x="11190" y="0"/>
                    <a:pt x="24966" y="0"/>
                  </a:cubicBezTo>
                  <a:cubicBezTo>
                    <a:pt x="38743" y="0"/>
                    <a:pt x="49932" y="11189"/>
                    <a:pt x="49932" y="24966"/>
                  </a:cubicBezTo>
                </a:path>
              </a:pathLst>
            </a:custGeom>
            <a:grpFill/>
            <a:ln w="7608" cap="flat">
              <a:noFill/>
              <a:prstDash val="solid"/>
              <a:miter/>
            </a:ln>
          </p:spPr>
          <p:txBody>
            <a:bodyPr rtlCol="0" anchor="ctr"/>
            <a:lstStyle/>
            <a:p>
              <a:endParaRPr lang="hi-IN"/>
            </a:p>
          </p:txBody>
        </p:sp>
        <p:sp>
          <p:nvSpPr>
            <p:cNvPr id="1425" name="Freeform: Shape 424"/>
            <p:cNvSpPr/>
            <p:nvPr/>
          </p:nvSpPr>
          <p:spPr>
            <a:xfrm>
              <a:off x="8923535" y="1628185"/>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144" y="0"/>
                    <a:pt x="47801" y="10656"/>
                    <a:pt x="47801" y="23900"/>
                  </a:cubicBezTo>
                </a:path>
              </a:pathLst>
            </a:custGeom>
            <a:grpFill/>
            <a:ln w="7608" cap="flat">
              <a:noFill/>
              <a:prstDash val="solid"/>
              <a:miter/>
            </a:ln>
          </p:spPr>
          <p:txBody>
            <a:bodyPr rtlCol="0" anchor="ctr"/>
            <a:lstStyle/>
            <a:p>
              <a:endParaRPr lang="hi-IN"/>
            </a:p>
          </p:txBody>
        </p:sp>
        <p:sp>
          <p:nvSpPr>
            <p:cNvPr id="1426" name="Freeform: Shape 425"/>
            <p:cNvSpPr/>
            <p:nvPr/>
          </p:nvSpPr>
          <p:spPr>
            <a:xfrm>
              <a:off x="8760039" y="1567521"/>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394"/>
                    <a:pt x="35470" y="45669"/>
                    <a:pt x="22835" y="45669"/>
                  </a:cubicBezTo>
                  <a:cubicBezTo>
                    <a:pt x="10199" y="45669"/>
                    <a:pt x="0" y="35470"/>
                    <a:pt x="0" y="22835"/>
                  </a:cubicBezTo>
                  <a:cubicBezTo>
                    <a:pt x="0" y="10199"/>
                    <a:pt x="10199" y="0"/>
                    <a:pt x="22835" y="0"/>
                  </a:cubicBezTo>
                  <a:cubicBezTo>
                    <a:pt x="35470" y="0"/>
                    <a:pt x="45669" y="10199"/>
                    <a:pt x="45669" y="22835"/>
                  </a:cubicBezTo>
                </a:path>
              </a:pathLst>
            </a:custGeom>
            <a:grpFill/>
            <a:ln w="7608" cap="flat">
              <a:noFill/>
              <a:prstDash val="solid"/>
              <a:miter/>
            </a:ln>
          </p:spPr>
          <p:txBody>
            <a:bodyPr rtlCol="0" anchor="ctr"/>
            <a:lstStyle/>
            <a:p>
              <a:endParaRPr lang="hi-IN"/>
            </a:p>
          </p:txBody>
        </p:sp>
        <p:sp>
          <p:nvSpPr>
            <p:cNvPr id="1427" name="Freeform: Shape 426"/>
            <p:cNvSpPr/>
            <p:nvPr/>
          </p:nvSpPr>
          <p:spPr>
            <a:xfrm>
              <a:off x="8593880" y="1517361"/>
              <a:ext cx="42319" cy="42320"/>
            </a:xfrm>
            <a:custGeom>
              <a:avLst/>
              <a:gdLst>
                <a:gd name="connsiteX0" fmla="*/ 42320 w 42319"/>
                <a:gd name="connsiteY0" fmla="*/ 21160 h 42320"/>
                <a:gd name="connsiteX1" fmla="*/ 21159 w 42319"/>
                <a:gd name="connsiteY1" fmla="*/ 42320 h 42320"/>
                <a:gd name="connsiteX2" fmla="*/ 0 w 42319"/>
                <a:gd name="connsiteY2" fmla="*/ 21160 h 42320"/>
                <a:gd name="connsiteX3" fmla="*/ 21159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0"/>
                    <a:pt x="21159" y="42320"/>
                  </a:cubicBezTo>
                  <a:cubicBezTo>
                    <a:pt x="9438" y="42320"/>
                    <a:pt x="0" y="32882"/>
                    <a:pt x="0" y="21160"/>
                  </a:cubicBezTo>
                  <a:cubicBezTo>
                    <a:pt x="0" y="9438"/>
                    <a:pt x="9514" y="0"/>
                    <a:pt x="21159" y="0"/>
                  </a:cubicBezTo>
                  <a:cubicBezTo>
                    <a:pt x="32805" y="0"/>
                    <a:pt x="42320" y="9438"/>
                    <a:pt x="42320" y="21160"/>
                  </a:cubicBezTo>
                </a:path>
              </a:pathLst>
            </a:custGeom>
            <a:grpFill/>
            <a:ln w="7608" cap="flat">
              <a:noFill/>
              <a:prstDash val="solid"/>
              <a:miter/>
            </a:ln>
          </p:spPr>
          <p:txBody>
            <a:bodyPr rtlCol="0" anchor="ctr"/>
            <a:lstStyle/>
            <a:p>
              <a:endParaRPr lang="hi-IN"/>
            </a:p>
          </p:txBody>
        </p:sp>
        <p:sp>
          <p:nvSpPr>
            <p:cNvPr id="1428" name="Freeform: Shape 427"/>
            <p:cNvSpPr/>
            <p:nvPr/>
          </p:nvSpPr>
          <p:spPr>
            <a:xfrm>
              <a:off x="8424142" y="1476791"/>
              <a:ext cx="40189" cy="40188"/>
            </a:xfrm>
            <a:custGeom>
              <a:avLst/>
              <a:gdLst>
                <a:gd name="connsiteX0" fmla="*/ 40189 w 40189"/>
                <a:gd name="connsiteY0" fmla="*/ 20094 h 40188"/>
                <a:gd name="connsiteX1" fmla="*/ 20095 w 40189"/>
                <a:gd name="connsiteY1" fmla="*/ 40189 h 40188"/>
                <a:gd name="connsiteX2" fmla="*/ 0 w 40189"/>
                <a:gd name="connsiteY2" fmla="*/ 20094 h 40188"/>
                <a:gd name="connsiteX3" fmla="*/ 20095 w 40189"/>
                <a:gd name="connsiteY3" fmla="*/ 0 h 40188"/>
                <a:gd name="connsiteX4" fmla="*/ 40189 w 40189"/>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4"/>
                  </a:moveTo>
                  <a:cubicBezTo>
                    <a:pt x="40189" y="31207"/>
                    <a:pt x="31207" y="40189"/>
                    <a:pt x="20095" y="40189"/>
                  </a:cubicBezTo>
                  <a:cubicBezTo>
                    <a:pt x="8982" y="40189"/>
                    <a:pt x="0" y="31207"/>
                    <a:pt x="0" y="20094"/>
                  </a:cubicBezTo>
                  <a:cubicBezTo>
                    <a:pt x="0" y="8982"/>
                    <a:pt x="8982" y="0"/>
                    <a:pt x="20095" y="0"/>
                  </a:cubicBezTo>
                  <a:cubicBezTo>
                    <a:pt x="31207" y="0"/>
                    <a:pt x="40189" y="8982"/>
                    <a:pt x="40189" y="20094"/>
                  </a:cubicBezTo>
                </a:path>
              </a:pathLst>
            </a:custGeom>
            <a:grpFill/>
            <a:ln w="7608" cap="flat">
              <a:noFill/>
              <a:prstDash val="solid"/>
              <a:miter/>
            </a:ln>
          </p:spPr>
          <p:txBody>
            <a:bodyPr rtlCol="0" anchor="ctr"/>
            <a:lstStyle/>
            <a:p>
              <a:endParaRPr lang="hi-IN"/>
            </a:p>
          </p:txBody>
        </p:sp>
        <p:sp>
          <p:nvSpPr>
            <p:cNvPr id="1429" name="Freeform: Shape 428"/>
            <p:cNvSpPr/>
            <p:nvPr/>
          </p:nvSpPr>
          <p:spPr>
            <a:xfrm>
              <a:off x="8252806" y="1446954"/>
              <a:ext cx="36991" cy="36992"/>
            </a:xfrm>
            <a:custGeom>
              <a:avLst/>
              <a:gdLst>
                <a:gd name="connsiteX0" fmla="*/ 36992 w 36991"/>
                <a:gd name="connsiteY0" fmla="*/ 18496 h 36992"/>
                <a:gd name="connsiteX1" fmla="*/ 18496 w 36991"/>
                <a:gd name="connsiteY1" fmla="*/ 36992 h 36992"/>
                <a:gd name="connsiteX2" fmla="*/ 0 w 36991"/>
                <a:gd name="connsiteY2" fmla="*/ 18496 h 36992"/>
                <a:gd name="connsiteX3" fmla="*/ 18496 w 36991"/>
                <a:gd name="connsiteY3" fmla="*/ 0 h 36992"/>
                <a:gd name="connsiteX4" fmla="*/ 36992 w 36991"/>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2">
                  <a:moveTo>
                    <a:pt x="36992" y="18496"/>
                  </a:moveTo>
                  <a:cubicBezTo>
                    <a:pt x="36992" y="28695"/>
                    <a:pt x="28696" y="36992"/>
                    <a:pt x="18496" y="36992"/>
                  </a:cubicBezTo>
                  <a:cubicBezTo>
                    <a:pt x="8296" y="36992"/>
                    <a:pt x="0" y="28695"/>
                    <a:pt x="0" y="18496"/>
                  </a:cubicBezTo>
                  <a:cubicBezTo>
                    <a:pt x="0" y="8297"/>
                    <a:pt x="8296" y="0"/>
                    <a:pt x="18496" y="0"/>
                  </a:cubicBezTo>
                  <a:cubicBezTo>
                    <a:pt x="28696" y="76"/>
                    <a:pt x="36992" y="8297"/>
                    <a:pt x="36992" y="18496"/>
                  </a:cubicBezTo>
                </a:path>
              </a:pathLst>
            </a:custGeom>
            <a:grpFill/>
            <a:ln w="7608" cap="flat">
              <a:noFill/>
              <a:prstDash val="solid"/>
              <a:miter/>
            </a:ln>
          </p:spPr>
          <p:txBody>
            <a:bodyPr rtlCol="0" anchor="ctr"/>
            <a:lstStyle/>
            <a:p>
              <a:endParaRPr lang="hi-IN"/>
            </a:p>
          </p:txBody>
        </p:sp>
        <p:sp>
          <p:nvSpPr>
            <p:cNvPr id="1430" name="Freeform: Shape 429"/>
            <p:cNvSpPr/>
            <p:nvPr/>
          </p:nvSpPr>
          <p:spPr>
            <a:xfrm>
              <a:off x="8080024" y="1427696"/>
              <a:ext cx="33642" cy="33643"/>
            </a:xfrm>
            <a:custGeom>
              <a:avLst/>
              <a:gdLst>
                <a:gd name="connsiteX0" fmla="*/ 33642 w 33642"/>
                <a:gd name="connsiteY0" fmla="*/ 16822 h 33643"/>
                <a:gd name="connsiteX1" fmla="*/ 16821 w 33642"/>
                <a:gd name="connsiteY1" fmla="*/ 33644 h 33643"/>
                <a:gd name="connsiteX2" fmla="*/ 0 w 33642"/>
                <a:gd name="connsiteY2" fmla="*/ 16822 h 33643"/>
                <a:gd name="connsiteX3" fmla="*/ 16821 w 33642"/>
                <a:gd name="connsiteY3" fmla="*/ 1 h 33643"/>
                <a:gd name="connsiteX4" fmla="*/ 33642 w 33642"/>
                <a:gd name="connsiteY4" fmla="*/ 16822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2" h="33643">
                  <a:moveTo>
                    <a:pt x="33642" y="16822"/>
                  </a:moveTo>
                  <a:cubicBezTo>
                    <a:pt x="33642" y="26108"/>
                    <a:pt x="26107" y="33644"/>
                    <a:pt x="16821" y="33644"/>
                  </a:cubicBezTo>
                  <a:cubicBezTo>
                    <a:pt x="7535" y="33644"/>
                    <a:pt x="0" y="26108"/>
                    <a:pt x="0" y="16822"/>
                  </a:cubicBezTo>
                  <a:cubicBezTo>
                    <a:pt x="0" y="7536"/>
                    <a:pt x="7535" y="1"/>
                    <a:pt x="16821" y="1"/>
                  </a:cubicBezTo>
                  <a:cubicBezTo>
                    <a:pt x="26107" y="-76"/>
                    <a:pt x="33642" y="7536"/>
                    <a:pt x="33642" y="16822"/>
                  </a:cubicBezTo>
                </a:path>
              </a:pathLst>
            </a:custGeom>
            <a:grpFill/>
            <a:ln w="7608" cap="flat">
              <a:noFill/>
              <a:prstDash val="solid"/>
              <a:miter/>
            </a:ln>
          </p:spPr>
          <p:txBody>
            <a:bodyPr rtlCol="0" anchor="ctr"/>
            <a:lstStyle/>
            <a:p>
              <a:endParaRPr lang="hi-IN"/>
            </a:p>
          </p:txBody>
        </p:sp>
        <p:sp>
          <p:nvSpPr>
            <p:cNvPr id="1431" name="Freeform: Shape 430"/>
            <p:cNvSpPr/>
            <p:nvPr/>
          </p:nvSpPr>
          <p:spPr>
            <a:xfrm>
              <a:off x="7906176" y="1418791"/>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3" y="30446"/>
                    <a:pt x="15223" y="30446"/>
                  </a:cubicBezTo>
                  <a:cubicBezTo>
                    <a:pt x="6774" y="30446"/>
                    <a:pt x="0" y="23672"/>
                    <a:pt x="0" y="15223"/>
                  </a:cubicBezTo>
                  <a:cubicBezTo>
                    <a:pt x="0" y="6850"/>
                    <a:pt x="6774" y="0"/>
                    <a:pt x="15223" y="0"/>
                  </a:cubicBezTo>
                  <a:cubicBezTo>
                    <a:pt x="23673" y="0"/>
                    <a:pt x="30446" y="6774"/>
                    <a:pt x="30446" y="15223"/>
                  </a:cubicBezTo>
                </a:path>
              </a:pathLst>
            </a:custGeom>
            <a:grpFill/>
            <a:ln w="7608" cap="flat">
              <a:noFill/>
              <a:prstDash val="solid"/>
              <a:miter/>
            </a:ln>
          </p:spPr>
          <p:txBody>
            <a:bodyPr rtlCol="0" anchor="ctr"/>
            <a:lstStyle/>
            <a:p>
              <a:endParaRPr lang="hi-IN"/>
            </a:p>
          </p:txBody>
        </p:sp>
        <p:sp>
          <p:nvSpPr>
            <p:cNvPr id="1432" name="Freeform: Shape 431"/>
            <p:cNvSpPr/>
            <p:nvPr/>
          </p:nvSpPr>
          <p:spPr>
            <a:xfrm>
              <a:off x="7731568" y="1419857"/>
              <a:ext cx="28162" cy="28238"/>
            </a:xfrm>
            <a:custGeom>
              <a:avLst/>
              <a:gdLst>
                <a:gd name="connsiteX0" fmla="*/ 28163 w 28162"/>
                <a:gd name="connsiteY0" fmla="*/ 14157 h 28238"/>
                <a:gd name="connsiteX1" fmla="*/ 14081 w 28162"/>
                <a:gd name="connsiteY1" fmla="*/ 28239 h 28238"/>
                <a:gd name="connsiteX2" fmla="*/ 0 w 28162"/>
                <a:gd name="connsiteY2" fmla="*/ 14157 h 28238"/>
                <a:gd name="connsiteX3" fmla="*/ 14081 w 28162"/>
                <a:gd name="connsiteY3" fmla="*/ 0 h 28238"/>
                <a:gd name="connsiteX4" fmla="*/ 28163 w 28162"/>
                <a:gd name="connsiteY4" fmla="*/ 14157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238">
                  <a:moveTo>
                    <a:pt x="28163" y="14157"/>
                  </a:moveTo>
                  <a:cubicBezTo>
                    <a:pt x="28163" y="21921"/>
                    <a:pt x="21845" y="28239"/>
                    <a:pt x="14081" y="28239"/>
                  </a:cubicBezTo>
                  <a:cubicBezTo>
                    <a:pt x="6318" y="28239"/>
                    <a:pt x="0" y="21921"/>
                    <a:pt x="0" y="14157"/>
                  </a:cubicBezTo>
                  <a:cubicBezTo>
                    <a:pt x="0" y="6394"/>
                    <a:pt x="6318" y="0"/>
                    <a:pt x="14081" y="0"/>
                  </a:cubicBezTo>
                  <a:cubicBezTo>
                    <a:pt x="21845" y="0"/>
                    <a:pt x="28163" y="6318"/>
                    <a:pt x="28163" y="14157"/>
                  </a:cubicBezTo>
                </a:path>
              </a:pathLst>
            </a:custGeom>
            <a:grpFill/>
            <a:ln w="7608" cap="flat">
              <a:noFill/>
              <a:prstDash val="solid"/>
              <a:miter/>
            </a:ln>
          </p:spPr>
          <p:txBody>
            <a:bodyPr rtlCol="0" anchor="ctr"/>
            <a:lstStyle/>
            <a:p>
              <a:endParaRPr lang="hi-IN"/>
            </a:p>
          </p:txBody>
        </p:sp>
        <p:sp>
          <p:nvSpPr>
            <p:cNvPr id="1433" name="Freeform: Shape 432"/>
            <p:cNvSpPr/>
            <p:nvPr/>
          </p:nvSpPr>
          <p:spPr>
            <a:xfrm>
              <a:off x="7557720" y="1432034"/>
              <a:ext cx="24966" cy="24966"/>
            </a:xfrm>
            <a:custGeom>
              <a:avLst/>
              <a:gdLst>
                <a:gd name="connsiteX0" fmla="*/ 24966 w 24966"/>
                <a:gd name="connsiteY0" fmla="*/ 12484 h 24966"/>
                <a:gd name="connsiteX1" fmla="*/ 12483 w 24966"/>
                <a:gd name="connsiteY1" fmla="*/ 24967 h 24966"/>
                <a:gd name="connsiteX2" fmla="*/ 0 w 24966"/>
                <a:gd name="connsiteY2" fmla="*/ 12484 h 24966"/>
                <a:gd name="connsiteX3" fmla="*/ 12483 w 24966"/>
                <a:gd name="connsiteY3" fmla="*/ 1 h 24966"/>
                <a:gd name="connsiteX4" fmla="*/ 24966 w 24966"/>
                <a:gd name="connsiteY4" fmla="*/ 12484 h 24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6">
                  <a:moveTo>
                    <a:pt x="24966" y="12484"/>
                  </a:moveTo>
                  <a:cubicBezTo>
                    <a:pt x="24966" y="19410"/>
                    <a:pt x="19334" y="24967"/>
                    <a:pt x="12483" y="24967"/>
                  </a:cubicBezTo>
                  <a:cubicBezTo>
                    <a:pt x="5557" y="24967"/>
                    <a:pt x="0" y="19334"/>
                    <a:pt x="0" y="12484"/>
                  </a:cubicBezTo>
                  <a:cubicBezTo>
                    <a:pt x="0" y="5557"/>
                    <a:pt x="5557" y="1"/>
                    <a:pt x="12483" y="1"/>
                  </a:cubicBezTo>
                  <a:cubicBezTo>
                    <a:pt x="19410" y="-75"/>
                    <a:pt x="24966" y="5557"/>
                    <a:pt x="24966" y="12484"/>
                  </a:cubicBezTo>
                </a:path>
              </a:pathLst>
            </a:custGeom>
            <a:grpFill/>
            <a:ln w="7608" cap="flat">
              <a:noFill/>
              <a:prstDash val="solid"/>
              <a:miter/>
            </a:ln>
          </p:spPr>
          <p:txBody>
            <a:bodyPr rtlCol="0" anchor="ctr"/>
            <a:lstStyle/>
            <a:p>
              <a:endParaRPr lang="hi-IN"/>
            </a:p>
          </p:txBody>
        </p:sp>
        <p:sp>
          <p:nvSpPr>
            <p:cNvPr id="1434" name="Freeform: Shape 433"/>
            <p:cNvSpPr/>
            <p:nvPr/>
          </p:nvSpPr>
          <p:spPr>
            <a:xfrm>
              <a:off x="7384786" y="1454565"/>
              <a:ext cx="21768" cy="21769"/>
            </a:xfrm>
            <a:custGeom>
              <a:avLst/>
              <a:gdLst>
                <a:gd name="connsiteX0" fmla="*/ 21769 w 21768"/>
                <a:gd name="connsiteY0" fmla="*/ 10884 h 21769"/>
                <a:gd name="connsiteX1" fmla="*/ 10884 w 21768"/>
                <a:gd name="connsiteY1" fmla="*/ 21769 h 21769"/>
                <a:gd name="connsiteX2" fmla="*/ 0 w 21768"/>
                <a:gd name="connsiteY2" fmla="*/ 10884 h 21769"/>
                <a:gd name="connsiteX3" fmla="*/ 10884 w 21768"/>
                <a:gd name="connsiteY3" fmla="*/ 0 h 21769"/>
                <a:gd name="connsiteX4" fmla="*/ 21769 w 21768"/>
                <a:gd name="connsiteY4" fmla="*/ 10884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4"/>
                  </a:moveTo>
                  <a:cubicBezTo>
                    <a:pt x="21769" y="16898"/>
                    <a:pt x="16897" y="21769"/>
                    <a:pt x="10884" y="21769"/>
                  </a:cubicBezTo>
                  <a:cubicBezTo>
                    <a:pt x="4871" y="21769"/>
                    <a:pt x="0" y="16898"/>
                    <a:pt x="0" y="10884"/>
                  </a:cubicBezTo>
                  <a:cubicBezTo>
                    <a:pt x="0" y="4871"/>
                    <a:pt x="4871" y="0"/>
                    <a:pt x="10884" y="0"/>
                  </a:cubicBezTo>
                  <a:cubicBezTo>
                    <a:pt x="16897" y="76"/>
                    <a:pt x="21769" y="4871"/>
                    <a:pt x="21769" y="10884"/>
                  </a:cubicBezTo>
                </a:path>
              </a:pathLst>
            </a:custGeom>
            <a:grpFill/>
            <a:ln w="7608" cap="flat">
              <a:noFill/>
              <a:prstDash val="solid"/>
              <a:miter/>
            </a:ln>
          </p:spPr>
          <p:txBody>
            <a:bodyPr rtlCol="0" anchor="ctr"/>
            <a:lstStyle/>
            <a:p>
              <a:endParaRPr lang="hi-IN"/>
            </a:p>
          </p:txBody>
        </p:sp>
        <p:sp>
          <p:nvSpPr>
            <p:cNvPr id="1435" name="Freeform: Shape 434"/>
            <p:cNvSpPr/>
            <p:nvPr/>
          </p:nvSpPr>
          <p:spPr>
            <a:xfrm>
              <a:off x="7213602" y="1487674"/>
              <a:ext cx="18419" cy="18420"/>
            </a:xfrm>
            <a:custGeom>
              <a:avLst/>
              <a:gdLst>
                <a:gd name="connsiteX0" fmla="*/ 18420 w 18419"/>
                <a:gd name="connsiteY0" fmla="*/ 9211 h 18420"/>
                <a:gd name="connsiteX1" fmla="*/ 9210 w 18419"/>
                <a:gd name="connsiteY1" fmla="*/ 18421 h 18420"/>
                <a:gd name="connsiteX2" fmla="*/ 0 w 18419"/>
                <a:gd name="connsiteY2" fmla="*/ 9211 h 18420"/>
                <a:gd name="connsiteX3" fmla="*/ 9210 w 18419"/>
                <a:gd name="connsiteY3" fmla="*/ 1 h 18420"/>
                <a:gd name="connsiteX4" fmla="*/ 18420 w 18419"/>
                <a:gd name="connsiteY4" fmla="*/ 921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20">
                  <a:moveTo>
                    <a:pt x="18420" y="9211"/>
                  </a:moveTo>
                  <a:cubicBezTo>
                    <a:pt x="18420" y="14311"/>
                    <a:pt x="14310" y="18421"/>
                    <a:pt x="9210" y="18421"/>
                  </a:cubicBezTo>
                  <a:cubicBezTo>
                    <a:pt x="4110" y="18421"/>
                    <a:pt x="0" y="14311"/>
                    <a:pt x="0" y="9211"/>
                  </a:cubicBezTo>
                  <a:cubicBezTo>
                    <a:pt x="0" y="4111"/>
                    <a:pt x="4110" y="1"/>
                    <a:pt x="9210" y="1"/>
                  </a:cubicBezTo>
                  <a:cubicBezTo>
                    <a:pt x="14310" y="-75"/>
                    <a:pt x="18420" y="4111"/>
                    <a:pt x="18420" y="9211"/>
                  </a:cubicBezTo>
                </a:path>
              </a:pathLst>
            </a:custGeom>
            <a:grpFill/>
            <a:ln w="7608" cap="flat">
              <a:noFill/>
              <a:prstDash val="solid"/>
              <a:miter/>
            </a:ln>
          </p:spPr>
          <p:txBody>
            <a:bodyPr rtlCol="0" anchor="ctr"/>
            <a:lstStyle/>
            <a:p>
              <a:endParaRPr lang="hi-IN"/>
            </a:p>
          </p:txBody>
        </p:sp>
        <p:sp>
          <p:nvSpPr>
            <p:cNvPr id="1436" name="Freeform: Shape 435"/>
            <p:cNvSpPr/>
            <p:nvPr/>
          </p:nvSpPr>
          <p:spPr>
            <a:xfrm>
              <a:off x="7044398" y="1530909"/>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437" name="Freeform: Shape 436"/>
            <p:cNvSpPr/>
            <p:nvPr/>
          </p:nvSpPr>
          <p:spPr>
            <a:xfrm>
              <a:off x="6877553" y="1583809"/>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199"/>
                    <a:pt x="0" y="6546"/>
                  </a:cubicBezTo>
                  <a:cubicBezTo>
                    <a:pt x="0" y="2968"/>
                    <a:pt x="2892" y="0"/>
                    <a:pt x="6546" y="0"/>
                  </a:cubicBezTo>
                  <a:cubicBezTo>
                    <a:pt x="10200" y="0"/>
                    <a:pt x="13092" y="2892"/>
                    <a:pt x="13092" y="6546"/>
                  </a:cubicBezTo>
                </a:path>
              </a:pathLst>
            </a:custGeom>
            <a:grpFill/>
            <a:ln w="7608" cap="flat">
              <a:noFill/>
              <a:prstDash val="solid"/>
              <a:miter/>
            </a:ln>
          </p:spPr>
          <p:txBody>
            <a:bodyPr rtlCol="0" anchor="ctr"/>
            <a:lstStyle/>
            <a:p>
              <a:endParaRPr lang="hi-IN"/>
            </a:p>
          </p:txBody>
        </p:sp>
        <p:sp>
          <p:nvSpPr>
            <p:cNvPr id="1438" name="Freeform: Shape 437"/>
            <p:cNvSpPr/>
            <p:nvPr/>
          </p:nvSpPr>
          <p:spPr>
            <a:xfrm>
              <a:off x="6714209" y="1646681"/>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360"/>
                    <a:pt x="10809" y="5404"/>
                  </a:cubicBezTo>
                </a:path>
              </a:pathLst>
            </a:custGeom>
            <a:grpFill/>
            <a:ln w="7608" cap="flat">
              <a:noFill/>
              <a:prstDash val="solid"/>
              <a:miter/>
            </a:ln>
          </p:spPr>
          <p:txBody>
            <a:bodyPr rtlCol="0" anchor="ctr"/>
            <a:lstStyle/>
            <a:p>
              <a:endParaRPr lang="hi-IN"/>
            </a:p>
          </p:txBody>
        </p:sp>
        <p:sp>
          <p:nvSpPr>
            <p:cNvPr id="1439" name="Freeform: Shape 438"/>
            <p:cNvSpPr/>
            <p:nvPr/>
          </p:nvSpPr>
          <p:spPr>
            <a:xfrm>
              <a:off x="6554671" y="1719219"/>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03" y="8677"/>
                    <a:pt x="0" y="6698"/>
                    <a:pt x="0" y="4339"/>
                  </a:cubicBezTo>
                  <a:cubicBezTo>
                    <a:pt x="0" y="1903"/>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440" name="Freeform: Shape 439"/>
            <p:cNvSpPr/>
            <p:nvPr/>
          </p:nvSpPr>
          <p:spPr>
            <a:xfrm>
              <a:off x="6399700" y="1801271"/>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441" name="Freeform: Shape 440"/>
            <p:cNvSpPr/>
            <p:nvPr/>
          </p:nvSpPr>
          <p:spPr>
            <a:xfrm>
              <a:off x="6249905" y="1892457"/>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89"/>
                    <a:pt x="990" y="0"/>
                    <a:pt x="2208"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442" name="Freeform: Shape 441"/>
            <p:cNvSpPr/>
            <p:nvPr/>
          </p:nvSpPr>
          <p:spPr>
            <a:xfrm>
              <a:off x="6105894" y="1992625"/>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675" y="0"/>
                    <a:pt x="2131" y="457"/>
                    <a:pt x="2131" y="1065"/>
                  </a:cubicBezTo>
                </a:path>
              </a:pathLst>
            </a:custGeom>
            <a:grpFill/>
            <a:ln w="7608" cap="flat">
              <a:noFill/>
              <a:prstDash val="solid"/>
              <a:miter/>
            </a:ln>
          </p:spPr>
          <p:txBody>
            <a:bodyPr rtlCol="0" anchor="ctr"/>
            <a:lstStyle/>
            <a:p>
              <a:endParaRPr lang="hi-IN"/>
            </a:p>
          </p:txBody>
        </p:sp>
        <p:sp>
          <p:nvSpPr>
            <p:cNvPr id="1443" name="Freeform: Shape 442"/>
            <p:cNvSpPr/>
            <p:nvPr/>
          </p:nvSpPr>
          <p:spPr>
            <a:xfrm>
              <a:off x="5966832" y="2100100"/>
              <a:ext cx="2130" cy="2131"/>
            </a:xfrm>
            <a:custGeom>
              <a:avLst/>
              <a:gdLst>
                <a:gd name="connsiteX0" fmla="*/ 2131 w 2130"/>
                <a:gd name="connsiteY0" fmla="*/ 1065 h 2131"/>
                <a:gd name="connsiteX1" fmla="*/ 1065 w 2130"/>
                <a:gd name="connsiteY1" fmla="*/ 2131 h 2131"/>
                <a:gd name="connsiteX2" fmla="*/ 0 w 2130"/>
                <a:gd name="connsiteY2" fmla="*/ 1065 h 2131"/>
                <a:gd name="connsiteX3" fmla="*/ 1065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5" y="2131"/>
                  </a:cubicBezTo>
                  <a:cubicBezTo>
                    <a:pt x="457" y="2131"/>
                    <a:pt x="0" y="1675"/>
                    <a:pt x="0" y="1065"/>
                  </a:cubicBezTo>
                  <a:cubicBezTo>
                    <a:pt x="0" y="457"/>
                    <a:pt x="457" y="0"/>
                    <a:pt x="1065"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444" name="Freeform: Shape 443"/>
            <p:cNvSpPr/>
            <p:nvPr/>
          </p:nvSpPr>
          <p:spPr>
            <a:xfrm>
              <a:off x="5835000" y="2216252"/>
              <a:ext cx="1065" cy="1065"/>
            </a:xfrm>
            <a:custGeom>
              <a:avLst/>
              <a:gdLst>
                <a:gd name="connsiteX0" fmla="*/ 1065 w 1065"/>
                <a:gd name="connsiteY0" fmla="*/ 533 h 1065"/>
                <a:gd name="connsiteX1" fmla="*/ 533 w 1065"/>
                <a:gd name="connsiteY1" fmla="*/ 1065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3" y="1065"/>
                  </a:cubicBezTo>
                  <a:cubicBezTo>
                    <a:pt x="228" y="1065"/>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445" name="Freeform: Shape 444"/>
            <p:cNvSpPr/>
            <p:nvPr/>
          </p:nvSpPr>
          <p:spPr>
            <a:xfrm>
              <a:off x="10169317" y="6457404"/>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446" name="Freeform: Shape 445"/>
            <p:cNvSpPr/>
            <p:nvPr/>
          </p:nvSpPr>
          <p:spPr>
            <a:xfrm>
              <a:off x="10282195" y="6322603"/>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447" name="Freeform: Shape 446"/>
            <p:cNvSpPr/>
            <p:nvPr/>
          </p:nvSpPr>
          <p:spPr>
            <a:xfrm>
              <a:off x="10387311" y="6181562"/>
              <a:ext cx="3196" cy="3272"/>
            </a:xfrm>
            <a:custGeom>
              <a:avLst/>
              <a:gdLst>
                <a:gd name="connsiteX0" fmla="*/ 3196 w 3196"/>
                <a:gd name="connsiteY0" fmla="*/ 1674 h 3272"/>
                <a:gd name="connsiteX1" fmla="*/ 1598 w 3196"/>
                <a:gd name="connsiteY1" fmla="*/ 3273 h 3272"/>
                <a:gd name="connsiteX2" fmla="*/ 0 w 3196"/>
                <a:gd name="connsiteY2" fmla="*/ 1674 h 3272"/>
                <a:gd name="connsiteX3" fmla="*/ 1598 w 3196"/>
                <a:gd name="connsiteY3" fmla="*/ 0 h 3272"/>
                <a:gd name="connsiteX4" fmla="*/ 3196 w 3196"/>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272">
                  <a:moveTo>
                    <a:pt x="3196" y="1674"/>
                  </a:moveTo>
                  <a:cubicBezTo>
                    <a:pt x="3196" y="2588"/>
                    <a:pt x="2435" y="3273"/>
                    <a:pt x="1598" y="3273"/>
                  </a:cubicBezTo>
                  <a:cubicBezTo>
                    <a:pt x="685" y="3273"/>
                    <a:pt x="0" y="2512"/>
                    <a:pt x="0" y="1674"/>
                  </a:cubicBezTo>
                  <a:cubicBezTo>
                    <a:pt x="0" y="837"/>
                    <a:pt x="761" y="0"/>
                    <a:pt x="1598" y="0"/>
                  </a:cubicBezTo>
                  <a:cubicBezTo>
                    <a:pt x="2511" y="0"/>
                    <a:pt x="3196" y="761"/>
                    <a:pt x="3196" y="1674"/>
                  </a:cubicBezTo>
                </a:path>
              </a:pathLst>
            </a:custGeom>
            <a:grpFill/>
            <a:ln w="7608" cap="flat">
              <a:noFill/>
              <a:prstDash val="solid"/>
              <a:miter/>
            </a:ln>
          </p:spPr>
          <p:txBody>
            <a:bodyPr rtlCol="0" anchor="ctr"/>
            <a:lstStyle/>
            <a:p>
              <a:endParaRPr lang="hi-IN"/>
            </a:p>
          </p:txBody>
        </p:sp>
        <p:sp>
          <p:nvSpPr>
            <p:cNvPr id="1448" name="Freeform: Shape 447"/>
            <p:cNvSpPr/>
            <p:nvPr/>
          </p:nvSpPr>
          <p:spPr>
            <a:xfrm>
              <a:off x="10483749" y="6034354"/>
              <a:ext cx="5481" cy="5480"/>
            </a:xfrm>
            <a:custGeom>
              <a:avLst/>
              <a:gdLst>
                <a:gd name="connsiteX0" fmla="*/ 5481 w 5481"/>
                <a:gd name="connsiteY0" fmla="*/ 2741 h 5480"/>
                <a:gd name="connsiteX1" fmla="*/ 2740 w 5481"/>
                <a:gd name="connsiteY1" fmla="*/ 5481 h 5480"/>
                <a:gd name="connsiteX2" fmla="*/ 0 w 5481"/>
                <a:gd name="connsiteY2" fmla="*/ 2741 h 5480"/>
                <a:gd name="connsiteX3" fmla="*/ 2740 w 5481"/>
                <a:gd name="connsiteY3" fmla="*/ 0 h 5480"/>
                <a:gd name="connsiteX4" fmla="*/ 5481 w 5481"/>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1"/>
                  </a:moveTo>
                  <a:cubicBezTo>
                    <a:pt x="5481" y="4262"/>
                    <a:pt x="4263" y="5481"/>
                    <a:pt x="2740" y="5481"/>
                  </a:cubicBezTo>
                  <a:cubicBezTo>
                    <a:pt x="1218" y="5481"/>
                    <a:pt x="0" y="4262"/>
                    <a:pt x="0" y="2741"/>
                  </a:cubicBezTo>
                  <a:cubicBezTo>
                    <a:pt x="0" y="1218"/>
                    <a:pt x="1218" y="0"/>
                    <a:pt x="2740" y="0"/>
                  </a:cubicBezTo>
                  <a:cubicBezTo>
                    <a:pt x="4263" y="0"/>
                    <a:pt x="5481" y="1218"/>
                    <a:pt x="5481" y="2741"/>
                  </a:cubicBezTo>
                </a:path>
              </a:pathLst>
            </a:custGeom>
            <a:grpFill/>
            <a:ln w="7608" cap="flat">
              <a:noFill/>
              <a:prstDash val="solid"/>
              <a:miter/>
            </a:ln>
          </p:spPr>
          <p:txBody>
            <a:bodyPr rtlCol="0" anchor="ctr"/>
            <a:lstStyle/>
            <a:p>
              <a:endParaRPr lang="hi-IN"/>
            </a:p>
          </p:txBody>
        </p:sp>
        <p:sp>
          <p:nvSpPr>
            <p:cNvPr id="1449" name="Freeform: Shape 448"/>
            <p:cNvSpPr/>
            <p:nvPr/>
          </p:nvSpPr>
          <p:spPr>
            <a:xfrm>
              <a:off x="10572576" y="5882428"/>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024" y="76"/>
                    <a:pt x="6546" y="1522"/>
                    <a:pt x="6546" y="3273"/>
                  </a:cubicBezTo>
                </a:path>
              </a:pathLst>
            </a:custGeom>
            <a:grpFill/>
            <a:ln w="7608" cap="flat">
              <a:noFill/>
              <a:prstDash val="solid"/>
              <a:miter/>
            </a:ln>
          </p:spPr>
          <p:txBody>
            <a:bodyPr rtlCol="0" anchor="ctr"/>
            <a:lstStyle/>
            <a:p>
              <a:endParaRPr lang="hi-IN"/>
            </a:p>
          </p:txBody>
        </p:sp>
        <p:sp>
          <p:nvSpPr>
            <p:cNvPr id="1450" name="Freeform: Shape 449"/>
            <p:cNvSpPr/>
            <p:nvPr/>
          </p:nvSpPr>
          <p:spPr>
            <a:xfrm>
              <a:off x="10652192" y="5725250"/>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03" y="0"/>
                    <a:pt x="4339" y="0"/>
                  </a:cubicBezTo>
                  <a:cubicBezTo>
                    <a:pt x="6698" y="0"/>
                    <a:pt x="8677" y="1903"/>
                    <a:pt x="8677" y="4339"/>
                  </a:cubicBezTo>
                </a:path>
              </a:pathLst>
            </a:custGeom>
            <a:grpFill/>
            <a:ln w="7608" cap="flat">
              <a:noFill/>
              <a:prstDash val="solid"/>
              <a:miter/>
            </a:ln>
          </p:spPr>
          <p:txBody>
            <a:bodyPr rtlCol="0" anchor="ctr"/>
            <a:lstStyle/>
            <a:p>
              <a:endParaRPr lang="hi-IN"/>
            </a:p>
          </p:txBody>
        </p:sp>
        <p:sp>
          <p:nvSpPr>
            <p:cNvPr id="1451" name="Freeform: Shape 450"/>
            <p:cNvSpPr/>
            <p:nvPr/>
          </p:nvSpPr>
          <p:spPr>
            <a:xfrm>
              <a:off x="10722295" y="5563200"/>
              <a:ext cx="11949" cy="11873"/>
            </a:xfrm>
            <a:custGeom>
              <a:avLst/>
              <a:gdLst>
                <a:gd name="connsiteX0" fmla="*/ 11950 w 11949"/>
                <a:gd name="connsiteY0" fmla="*/ 5937 h 11873"/>
                <a:gd name="connsiteX1" fmla="*/ 6012 w 11949"/>
                <a:gd name="connsiteY1" fmla="*/ 11874 h 11873"/>
                <a:gd name="connsiteX2" fmla="*/ 0 w 11949"/>
                <a:gd name="connsiteY2" fmla="*/ 5937 h 11873"/>
                <a:gd name="connsiteX3" fmla="*/ 6012 w 11949"/>
                <a:gd name="connsiteY3" fmla="*/ 0 h 11873"/>
                <a:gd name="connsiteX4" fmla="*/ 11950 w 11949"/>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3">
                  <a:moveTo>
                    <a:pt x="11950" y="5937"/>
                  </a:moveTo>
                  <a:cubicBezTo>
                    <a:pt x="11950" y="9210"/>
                    <a:pt x="9286" y="11874"/>
                    <a:pt x="6012" y="11874"/>
                  </a:cubicBezTo>
                  <a:cubicBezTo>
                    <a:pt x="2740" y="11874"/>
                    <a:pt x="0" y="9210"/>
                    <a:pt x="0" y="5937"/>
                  </a:cubicBezTo>
                  <a:cubicBezTo>
                    <a:pt x="0" y="2664"/>
                    <a:pt x="2664" y="0"/>
                    <a:pt x="6012" y="0"/>
                  </a:cubicBezTo>
                  <a:cubicBezTo>
                    <a:pt x="9362" y="0"/>
                    <a:pt x="11950" y="2664"/>
                    <a:pt x="11950" y="5937"/>
                  </a:cubicBezTo>
                </a:path>
              </a:pathLst>
            </a:custGeom>
            <a:grpFill/>
            <a:ln w="7608" cap="flat">
              <a:noFill/>
              <a:prstDash val="solid"/>
              <a:miter/>
            </a:ln>
          </p:spPr>
          <p:txBody>
            <a:bodyPr rtlCol="0" anchor="ctr"/>
            <a:lstStyle/>
            <a:p>
              <a:endParaRPr lang="hi-IN"/>
            </a:p>
          </p:txBody>
        </p:sp>
        <p:sp>
          <p:nvSpPr>
            <p:cNvPr id="1452" name="Freeform: Shape 451"/>
            <p:cNvSpPr/>
            <p:nvPr/>
          </p:nvSpPr>
          <p:spPr>
            <a:xfrm>
              <a:off x="10783873" y="5397877"/>
              <a:ext cx="14157" cy="14157"/>
            </a:xfrm>
            <a:custGeom>
              <a:avLst/>
              <a:gdLst>
                <a:gd name="connsiteX0" fmla="*/ 14157 w 14157"/>
                <a:gd name="connsiteY0" fmla="*/ 7079 h 14157"/>
                <a:gd name="connsiteX1" fmla="*/ 7078 w 14157"/>
                <a:gd name="connsiteY1" fmla="*/ 14158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8"/>
                    <a:pt x="7078" y="14158"/>
                  </a:cubicBezTo>
                  <a:cubicBezTo>
                    <a:pt x="3197" y="14158"/>
                    <a:pt x="0" y="11037"/>
                    <a:pt x="0" y="7079"/>
                  </a:cubicBezTo>
                  <a:cubicBezTo>
                    <a:pt x="0" y="3197"/>
                    <a:pt x="3197" y="0"/>
                    <a:pt x="7078" y="0"/>
                  </a:cubicBezTo>
                  <a:cubicBezTo>
                    <a:pt x="10960" y="0"/>
                    <a:pt x="14157" y="3197"/>
                    <a:pt x="14157" y="7079"/>
                  </a:cubicBezTo>
                </a:path>
              </a:pathLst>
            </a:custGeom>
            <a:grpFill/>
            <a:ln w="7608" cap="flat">
              <a:noFill/>
              <a:prstDash val="solid"/>
              <a:miter/>
            </a:ln>
          </p:spPr>
          <p:txBody>
            <a:bodyPr rtlCol="0" anchor="ctr"/>
            <a:lstStyle/>
            <a:p>
              <a:endParaRPr lang="hi-IN"/>
            </a:p>
          </p:txBody>
        </p:sp>
        <p:sp>
          <p:nvSpPr>
            <p:cNvPr id="1453" name="Freeform: Shape 452"/>
            <p:cNvSpPr/>
            <p:nvPr/>
          </p:nvSpPr>
          <p:spPr>
            <a:xfrm>
              <a:off x="10836164" y="5229358"/>
              <a:ext cx="16288" cy="16288"/>
            </a:xfrm>
            <a:custGeom>
              <a:avLst/>
              <a:gdLst>
                <a:gd name="connsiteX0" fmla="*/ 16289 w 16288"/>
                <a:gd name="connsiteY0" fmla="*/ 8144 h 16288"/>
                <a:gd name="connsiteX1" fmla="*/ 8144 w 16288"/>
                <a:gd name="connsiteY1" fmla="*/ 16288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8"/>
                    <a:pt x="8144" y="16288"/>
                  </a:cubicBezTo>
                  <a:cubicBezTo>
                    <a:pt x="3653" y="16288"/>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454" name="Freeform: Shape 453"/>
            <p:cNvSpPr/>
            <p:nvPr/>
          </p:nvSpPr>
          <p:spPr>
            <a:xfrm>
              <a:off x="10878483" y="5057565"/>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2" y="19486"/>
                    <a:pt x="9743" y="19486"/>
                  </a:cubicBezTo>
                  <a:cubicBezTo>
                    <a:pt x="4339" y="19486"/>
                    <a:pt x="0" y="15071"/>
                    <a:pt x="0" y="9743"/>
                  </a:cubicBezTo>
                  <a:cubicBezTo>
                    <a:pt x="0" y="4339"/>
                    <a:pt x="4415" y="0"/>
                    <a:pt x="9743" y="0"/>
                  </a:cubicBezTo>
                  <a:cubicBezTo>
                    <a:pt x="15148" y="0"/>
                    <a:pt x="19486" y="4339"/>
                    <a:pt x="19486" y="9743"/>
                  </a:cubicBezTo>
                </a:path>
              </a:pathLst>
            </a:custGeom>
            <a:grpFill/>
            <a:ln w="7608" cap="flat">
              <a:noFill/>
              <a:prstDash val="solid"/>
              <a:miter/>
            </a:ln>
          </p:spPr>
          <p:txBody>
            <a:bodyPr rtlCol="0" anchor="ctr"/>
            <a:lstStyle/>
            <a:p>
              <a:endParaRPr lang="hi-IN"/>
            </a:p>
          </p:txBody>
        </p:sp>
        <p:sp>
          <p:nvSpPr>
            <p:cNvPr id="1455" name="Freeform: Shape 454"/>
            <p:cNvSpPr/>
            <p:nvPr/>
          </p:nvSpPr>
          <p:spPr>
            <a:xfrm>
              <a:off x="10911061" y="4883565"/>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456" name="Freeform: Shape 455"/>
            <p:cNvSpPr/>
            <p:nvPr/>
          </p:nvSpPr>
          <p:spPr>
            <a:xfrm>
              <a:off x="10934124" y="4707891"/>
              <a:ext cx="26031" cy="26031"/>
            </a:xfrm>
            <a:custGeom>
              <a:avLst/>
              <a:gdLst>
                <a:gd name="connsiteX0" fmla="*/ 26032 w 26031"/>
                <a:gd name="connsiteY0" fmla="*/ 13015 h 26031"/>
                <a:gd name="connsiteX1" fmla="*/ 13015 w 26031"/>
                <a:gd name="connsiteY1" fmla="*/ 26031 h 26031"/>
                <a:gd name="connsiteX2" fmla="*/ 0 w 26031"/>
                <a:gd name="connsiteY2" fmla="*/ 13015 h 26031"/>
                <a:gd name="connsiteX3" fmla="*/ 13015 w 26031"/>
                <a:gd name="connsiteY3" fmla="*/ 0 h 26031"/>
                <a:gd name="connsiteX4" fmla="*/ 26032 w 26031"/>
                <a:gd name="connsiteY4" fmla="*/ 13015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5"/>
                  </a:moveTo>
                  <a:cubicBezTo>
                    <a:pt x="26032" y="20170"/>
                    <a:pt x="20171" y="26031"/>
                    <a:pt x="13015" y="26031"/>
                  </a:cubicBezTo>
                  <a:cubicBezTo>
                    <a:pt x="5861" y="26031"/>
                    <a:pt x="0" y="20170"/>
                    <a:pt x="0" y="13015"/>
                  </a:cubicBezTo>
                  <a:cubicBezTo>
                    <a:pt x="0" y="5785"/>
                    <a:pt x="5861" y="0"/>
                    <a:pt x="13015" y="0"/>
                  </a:cubicBezTo>
                  <a:cubicBezTo>
                    <a:pt x="20171" y="0"/>
                    <a:pt x="26032" y="5861"/>
                    <a:pt x="26032" y="13015"/>
                  </a:cubicBezTo>
                </a:path>
              </a:pathLst>
            </a:custGeom>
            <a:grpFill/>
            <a:ln w="7608" cap="flat">
              <a:noFill/>
              <a:prstDash val="solid"/>
              <a:miter/>
            </a:ln>
          </p:spPr>
          <p:txBody>
            <a:bodyPr rtlCol="0" anchor="ctr"/>
            <a:lstStyle/>
            <a:p>
              <a:endParaRPr lang="hi-IN"/>
            </a:p>
          </p:txBody>
        </p:sp>
        <p:sp>
          <p:nvSpPr>
            <p:cNvPr id="1457" name="Freeform: Shape 456"/>
            <p:cNvSpPr/>
            <p:nvPr/>
          </p:nvSpPr>
          <p:spPr>
            <a:xfrm>
              <a:off x="10947140" y="4531075"/>
              <a:ext cx="29380" cy="29380"/>
            </a:xfrm>
            <a:custGeom>
              <a:avLst/>
              <a:gdLst>
                <a:gd name="connsiteX0" fmla="*/ 29380 w 29380"/>
                <a:gd name="connsiteY0" fmla="*/ 14690 h 29380"/>
                <a:gd name="connsiteX1" fmla="*/ 14691 w 29380"/>
                <a:gd name="connsiteY1" fmla="*/ 29381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1" y="29381"/>
                  </a:cubicBezTo>
                  <a:cubicBezTo>
                    <a:pt x="6622" y="29381"/>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458" name="Freeform: Shape 457"/>
            <p:cNvSpPr/>
            <p:nvPr/>
          </p:nvSpPr>
          <p:spPr>
            <a:xfrm>
              <a:off x="10950489" y="4353802"/>
              <a:ext cx="32577" cy="32577"/>
            </a:xfrm>
            <a:custGeom>
              <a:avLst/>
              <a:gdLst>
                <a:gd name="connsiteX0" fmla="*/ 32578 w 32577"/>
                <a:gd name="connsiteY0" fmla="*/ 16289 h 32577"/>
                <a:gd name="connsiteX1" fmla="*/ 16289 w 32577"/>
                <a:gd name="connsiteY1" fmla="*/ 32578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0" y="32578"/>
                    <a:pt x="16289" y="32578"/>
                  </a:cubicBezTo>
                  <a:cubicBezTo>
                    <a:pt x="7307" y="32578"/>
                    <a:pt x="0" y="25270"/>
                    <a:pt x="0" y="16289"/>
                  </a:cubicBezTo>
                  <a:cubicBezTo>
                    <a:pt x="0" y="7307"/>
                    <a:pt x="7307" y="0"/>
                    <a:pt x="16289" y="0"/>
                  </a:cubicBezTo>
                  <a:cubicBezTo>
                    <a:pt x="25270" y="0"/>
                    <a:pt x="32578" y="7307"/>
                    <a:pt x="32578" y="16289"/>
                  </a:cubicBezTo>
                </a:path>
              </a:pathLst>
            </a:custGeom>
            <a:grpFill/>
            <a:ln w="7608" cap="flat">
              <a:noFill/>
              <a:prstDash val="solid"/>
              <a:miter/>
            </a:ln>
          </p:spPr>
          <p:txBody>
            <a:bodyPr rtlCol="0" anchor="ctr"/>
            <a:lstStyle/>
            <a:p>
              <a:endParaRPr lang="hi-IN"/>
            </a:p>
          </p:txBody>
        </p:sp>
        <p:sp>
          <p:nvSpPr>
            <p:cNvPr id="1459" name="Freeform: Shape 458"/>
            <p:cNvSpPr/>
            <p:nvPr/>
          </p:nvSpPr>
          <p:spPr>
            <a:xfrm>
              <a:off x="10943943" y="4176529"/>
              <a:ext cx="35850" cy="35850"/>
            </a:xfrm>
            <a:custGeom>
              <a:avLst/>
              <a:gdLst>
                <a:gd name="connsiteX0" fmla="*/ 35850 w 35850"/>
                <a:gd name="connsiteY0" fmla="*/ 17887 h 35850"/>
                <a:gd name="connsiteX1" fmla="*/ 17887 w 35850"/>
                <a:gd name="connsiteY1" fmla="*/ 35850 h 35850"/>
                <a:gd name="connsiteX2" fmla="*/ 0 w 35850"/>
                <a:gd name="connsiteY2" fmla="*/ 17887 h 35850"/>
                <a:gd name="connsiteX3" fmla="*/ 17887 w 35850"/>
                <a:gd name="connsiteY3" fmla="*/ 0 h 35850"/>
                <a:gd name="connsiteX4" fmla="*/ 35850 w 35850"/>
                <a:gd name="connsiteY4" fmla="*/ 17887 h 3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0" h="35850">
                  <a:moveTo>
                    <a:pt x="35850" y="17887"/>
                  </a:moveTo>
                  <a:cubicBezTo>
                    <a:pt x="35850" y="27782"/>
                    <a:pt x="27781" y="35850"/>
                    <a:pt x="17887" y="35850"/>
                  </a:cubicBezTo>
                  <a:cubicBezTo>
                    <a:pt x="7992" y="35850"/>
                    <a:pt x="0" y="27782"/>
                    <a:pt x="0" y="17887"/>
                  </a:cubicBezTo>
                  <a:cubicBezTo>
                    <a:pt x="0" y="7992"/>
                    <a:pt x="7992" y="0"/>
                    <a:pt x="17887" y="0"/>
                  </a:cubicBezTo>
                  <a:cubicBezTo>
                    <a:pt x="27781" y="0"/>
                    <a:pt x="35850" y="7992"/>
                    <a:pt x="35850" y="17887"/>
                  </a:cubicBezTo>
                </a:path>
              </a:pathLst>
            </a:custGeom>
            <a:grpFill/>
            <a:ln w="7608" cap="flat">
              <a:noFill/>
              <a:prstDash val="solid"/>
              <a:miter/>
            </a:ln>
          </p:spPr>
          <p:txBody>
            <a:bodyPr rtlCol="0" anchor="ctr"/>
            <a:lstStyle/>
            <a:p>
              <a:endParaRPr lang="hi-IN"/>
            </a:p>
          </p:txBody>
        </p:sp>
        <p:sp>
          <p:nvSpPr>
            <p:cNvPr id="1460" name="Freeform: Shape 459"/>
            <p:cNvSpPr/>
            <p:nvPr/>
          </p:nvSpPr>
          <p:spPr>
            <a:xfrm>
              <a:off x="10927502" y="3999713"/>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461" name="Freeform: Shape 460"/>
            <p:cNvSpPr/>
            <p:nvPr/>
          </p:nvSpPr>
          <p:spPr>
            <a:xfrm>
              <a:off x="10901394" y="3824115"/>
              <a:ext cx="42320" cy="42320"/>
            </a:xfrm>
            <a:custGeom>
              <a:avLst/>
              <a:gdLst>
                <a:gd name="connsiteX0" fmla="*/ 42321 w 42320"/>
                <a:gd name="connsiteY0" fmla="*/ 21160 h 42320"/>
                <a:gd name="connsiteX1" fmla="*/ 21160 w 42320"/>
                <a:gd name="connsiteY1" fmla="*/ 42320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0"/>
                    <a:pt x="21160" y="42320"/>
                  </a:cubicBezTo>
                  <a:cubicBezTo>
                    <a:pt x="9438" y="42320"/>
                    <a:pt x="0" y="32806"/>
                    <a:pt x="0" y="21160"/>
                  </a:cubicBezTo>
                  <a:cubicBezTo>
                    <a:pt x="0" y="9438"/>
                    <a:pt x="9514" y="0"/>
                    <a:pt x="21160" y="0"/>
                  </a:cubicBezTo>
                  <a:cubicBezTo>
                    <a:pt x="32806" y="0"/>
                    <a:pt x="42321" y="9438"/>
                    <a:pt x="42321" y="21160"/>
                  </a:cubicBezTo>
                </a:path>
              </a:pathLst>
            </a:custGeom>
            <a:grpFill/>
            <a:ln w="7608" cap="flat">
              <a:noFill/>
              <a:prstDash val="solid"/>
              <a:miter/>
            </a:ln>
          </p:spPr>
          <p:txBody>
            <a:bodyPr rtlCol="0" anchor="ctr"/>
            <a:lstStyle/>
            <a:p>
              <a:endParaRPr lang="hi-IN"/>
            </a:p>
          </p:txBody>
        </p:sp>
        <p:sp>
          <p:nvSpPr>
            <p:cNvPr id="1462" name="Freeform: Shape 461"/>
            <p:cNvSpPr/>
            <p:nvPr/>
          </p:nvSpPr>
          <p:spPr>
            <a:xfrm>
              <a:off x="10865392" y="365003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199" y="45669"/>
                    <a:pt x="0" y="35470"/>
                    <a:pt x="0" y="22835"/>
                  </a:cubicBezTo>
                  <a:cubicBezTo>
                    <a:pt x="0" y="10199"/>
                    <a:pt x="10199"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463" name="Freeform: Shape 462"/>
            <p:cNvSpPr/>
            <p:nvPr/>
          </p:nvSpPr>
          <p:spPr>
            <a:xfrm>
              <a:off x="10819875" y="3478246"/>
              <a:ext cx="48866" cy="48866"/>
            </a:xfrm>
            <a:custGeom>
              <a:avLst/>
              <a:gdLst>
                <a:gd name="connsiteX0" fmla="*/ 48866 w 48866"/>
                <a:gd name="connsiteY0" fmla="*/ 24433 h 48866"/>
                <a:gd name="connsiteX1" fmla="*/ 24433 w 48866"/>
                <a:gd name="connsiteY1" fmla="*/ 48866 h 48866"/>
                <a:gd name="connsiteX2" fmla="*/ 0 w 48866"/>
                <a:gd name="connsiteY2" fmla="*/ 24433 h 48866"/>
                <a:gd name="connsiteX3" fmla="*/ 24433 w 48866"/>
                <a:gd name="connsiteY3" fmla="*/ 0 h 48866"/>
                <a:gd name="connsiteX4" fmla="*/ 48866 w 48866"/>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6">
                  <a:moveTo>
                    <a:pt x="48866" y="24433"/>
                  </a:moveTo>
                  <a:cubicBezTo>
                    <a:pt x="48866" y="37906"/>
                    <a:pt x="37905" y="48866"/>
                    <a:pt x="24433" y="48866"/>
                  </a:cubicBezTo>
                  <a:cubicBezTo>
                    <a:pt x="10961" y="48866"/>
                    <a:pt x="0" y="37906"/>
                    <a:pt x="0" y="24433"/>
                  </a:cubicBezTo>
                  <a:cubicBezTo>
                    <a:pt x="0" y="10961"/>
                    <a:pt x="10961"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464" name="Freeform: Shape 463"/>
            <p:cNvSpPr/>
            <p:nvPr/>
          </p:nvSpPr>
          <p:spPr>
            <a:xfrm>
              <a:off x="10765452" y="3309727"/>
              <a:ext cx="50997" cy="50997"/>
            </a:xfrm>
            <a:custGeom>
              <a:avLst/>
              <a:gdLst>
                <a:gd name="connsiteX0" fmla="*/ 50998 w 50997"/>
                <a:gd name="connsiteY0" fmla="*/ 25499 h 50997"/>
                <a:gd name="connsiteX1" fmla="*/ 25498 w 50997"/>
                <a:gd name="connsiteY1" fmla="*/ 50997 h 50997"/>
                <a:gd name="connsiteX2" fmla="*/ 0 w 50997"/>
                <a:gd name="connsiteY2" fmla="*/ 25499 h 50997"/>
                <a:gd name="connsiteX3" fmla="*/ 25498 w 50997"/>
                <a:gd name="connsiteY3" fmla="*/ 0 h 50997"/>
                <a:gd name="connsiteX4" fmla="*/ 50998 w 50997"/>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7" h="50997">
                  <a:moveTo>
                    <a:pt x="50998" y="25499"/>
                  </a:moveTo>
                  <a:cubicBezTo>
                    <a:pt x="50998" y="39580"/>
                    <a:pt x="39581" y="50997"/>
                    <a:pt x="25498" y="50997"/>
                  </a:cubicBezTo>
                  <a:cubicBezTo>
                    <a:pt x="11417" y="50997"/>
                    <a:pt x="0" y="39580"/>
                    <a:pt x="0" y="25499"/>
                  </a:cubicBezTo>
                  <a:cubicBezTo>
                    <a:pt x="0" y="11417"/>
                    <a:pt x="11417" y="0"/>
                    <a:pt x="25498" y="0"/>
                  </a:cubicBezTo>
                  <a:cubicBezTo>
                    <a:pt x="39581" y="0"/>
                    <a:pt x="50998" y="11417"/>
                    <a:pt x="50998" y="25499"/>
                  </a:cubicBezTo>
                </a:path>
              </a:pathLst>
            </a:custGeom>
            <a:grpFill/>
            <a:ln w="7608" cap="flat">
              <a:noFill/>
              <a:prstDash val="solid"/>
              <a:miter/>
            </a:ln>
          </p:spPr>
          <p:txBody>
            <a:bodyPr rtlCol="0" anchor="ctr"/>
            <a:lstStyle/>
            <a:p>
              <a:endParaRPr lang="hi-IN"/>
            </a:p>
          </p:txBody>
        </p:sp>
        <p:sp>
          <p:nvSpPr>
            <p:cNvPr id="1465" name="Freeform: Shape 464"/>
            <p:cNvSpPr/>
            <p:nvPr/>
          </p:nvSpPr>
          <p:spPr>
            <a:xfrm>
              <a:off x="10701667" y="3144404"/>
              <a:ext cx="53204" cy="53280"/>
            </a:xfrm>
            <a:custGeom>
              <a:avLst/>
              <a:gdLst>
                <a:gd name="connsiteX0" fmla="*/ 53205 w 53204"/>
                <a:gd name="connsiteY0" fmla="*/ 26640 h 53280"/>
                <a:gd name="connsiteX1" fmla="*/ 26564 w 53204"/>
                <a:gd name="connsiteY1" fmla="*/ 53281 h 53280"/>
                <a:gd name="connsiteX2" fmla="*/ 0 w 53204"/>
                <a:gd name="connsiteY2" fmla="*/ 26640 h 53280"/>
                <a:gd name="connsiteX3" fmla="*/ 26564 w 53204"/>
                <a:gd name="connsiteY3" fmla="*/ 0 h 53280"/>
                <a:gd name="connsiteX4" fmla="*/ 53205 w 53204"/>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4" h="53280">
                  <a:moveTo>
                    <a:pt x="53205" y="26640"/>
                  </a:moveTo>
                  <a:cubicBezTo>
                    <a:pt x="53205" y="41331"/>
                    <a:pt x="41331" y="53281"/>
                    <a:pt x="26564" y="53281"/>
                  </a:cubicBezTo>
                  <a:cubicBezTo>
                    <a:pt x="11874" y="53281"/>
                    <a:pt x="0" y="41331"/>
                    <a:pt x="0" y="26640"/>
                  </a:cubicBezTo>
                  <a:cubicBezTo>
                    <a:pt x="0" y="11950"/>
                    <a:pt x="11874" y="0"/>
                    <a:pt x="26564" y="0"/>
                  </a:cubicBezTo>
                  <a:cubicBezTo>
                    <a:pt x="41331" y="0"/>
                    <a:pt x="53205" y="11950"/>
                    <a:pt x="53205" y="26640"/>
                  </a:cubicBezTo>
                </a:path>
              </a:pathLst>
            </a:custGeom>
            <a:grpFill/>
            <a:ln w="7608" cap="flat">
              <a:noFill/>
              <a:prstDash val="solid"/>
              <a:miter/>
            </a:ln>
          </p:spPr>
          <p:txBody>
            <a:bodyPr rtlCol="0" anchor="ctr"/>
            <a:lstStyle/>
            <a:p>
              <a:endParaRPr lang="hi-IN"/>
            </a:p>
          </p:txBody>
        </p:sp>
        <p:sp>
          <p:nvSpPr>
            <p:cNvPr id="1466" name="Freeform: Shape 465"/>
            <p:cNvSpPr/>
            <p:nvPr/>
          </p:nvSpPr>
          <p:spPr>
            <a:xfrm>
              <a:off x="10628749" y="2982887"/>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76"/>
                    <a:pt x="55412" y="12407"/>
                    <a:pt x="55412" y="27706"/>
                  </a:cubicBezTo>
                </a:path>
              </a:pathLst>
            </a:custGeom>
            <a:grpFill/>
            <a:ln w="7608" cap="flat">
              <a:noFill/>
              <a:prstDash val="solid"/>
              <a:miter/>
            </a:ln>
          </p:spPr>
          <p:txBody>
            <a:bodyPr rtlCol="0" anchor="ctr"/>
            <a:lstStyle/>
            <a:p>
              <a:endParaRPr lang="hi-IN"/>
            </a:p>
          </p:txBody>
        </p:sp>
        <p:sp>
          <p:nvSpPr>
            <p:cNvPr id="1467" name="Freeform: Shape 466"/>
            <p:cNvSpPr/>
            <p:nvPr/>
          </p:nvSpPr>
          <p:spPr>
            <a:xfrm>
              <a:off x="10547078" y="2825709"/>
              <a:ext cx="57542" cy="57543"/>
            </a:xfrm>
            <a:custGeom>
              <a:avLst/>
              <a:gdLst>
                <a:gd name="connsiteX0" fmla="*/ 57543 w 57542"/>
                <a:gd name="connsiteY0" fmla="*/ 28772 h 57543"/>
                <a:gd name="connsiteX1" fmla="*/ 28772 w 57542"/>
                <a:gd name="connsiteY1" fmla="*/ 57543 h 57543"/>
                <a:gd name="connsiteX2" fmla="*/ 0 w 57542"/>
                <a:gd name="connsiteY2" fmla="*/ 28772 h 57543"/>
                <a:gd name="connsiteX3" fmla="*/ 28772 w 57542"/>
                <a:gd name="connsiteY3" fmla="*/ 0 h 57543"/>
                <a:gd name="connsiteX4" fmla="*/ 57543 w 57542"/>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2" h="57543">
                  <a:moveTo>
                    <a:pt x="57543" y="28772"/>
                  </a:moveTo>
                  <a:cubicBezTo>
                    <a:pt x="57543" y="44680"/>
                    <a:pt x="44680" y="57543"/>
                    <a:pt x="28772" y="57543"/>
                  </a:cubicBezTo>
                  <a:cubicBezTo>
                    <a:pt x="12863" y="57543"/>
                    <a:pt x="0" y="44680"/>
                    <a:pt x="0" y="28772"/>
                  </a:cubicBezTo>
                  <a:cubicBezTo>
                    <a:pt x="0" y="12864"/>
                    <a:pt x="12863" y="0"/>
                    <a:pt x="28772" y="0"/>
                  </a:cubicBezTo>
                  <a:cubicBezTo>
                    <a:pt x="44680" y="0"/>
                    <a:pt x="57543" y="12864"/>
                    <a:pt x="57543" y="28772"/>
                  </a:cubicBezTo>
                </a:path>
              </a:pathLst>
            </a:custGeom>
            <a:grpFill/>
            <a:ln w="7608" cap="flat">
              <a:noFill/>
              <a:prstDash val="solid"/>
              <a:miter/>
            </a:ln>
          </p:spPr>
          <p:txBody>
            <a:bodyPr rtlCol="0" anchor="ctr"/>
            <a:lstStyle/>
            <a:p>
              <a:endParaRPr lang="hi-IN"/>
            </a:p>
          </p:txBody>
        </p:sp>
        <p:sp>
          <p:nvSpPr>
            <p:cNvPr id="1468" name="Freeform: Shape 467"/>
            <p:cNvSpPr/>
            <p:nvPr/>
          </p:nvSpPr>
          <p:spPr>
            <a:xfrm>
              <a:off x="10456729" y="2673249"/>
              <a:ext cx="59674" cy="59674"/>
            </a:xfrm>
            <a:custGeom>
              <a:avLst/>
              <a:gdLst>
                <a:gd name="connsiteX0" fmla="*/ 59674 w 59674"/>
                <a:gd name="connsiteY0" fmla="*/ 29837 h 59674"/>
                <a:gd name="connsiteX1" fmla="*/ 29837 w 59674"/>
                <a:gd name="connsiteY1" fmla="*/ 59674 h 59674"/>
                <a:gd name="connsiteX2" fmla="*/ 0 w 59674"/>
                <a:gd name="connsiteY2" fmla="*/ 29837 h 59674"/>
                <a:gd name="connsiteX3" fmla="*/ 29837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7" y="59674"/>
                  </a:cubicBezTo>
                  <a:cubicBezTo>
                    <a:pt x="13320" y="59674"/>
                    <a:pt x="0" y="46278"/>
                    <a:pt x="0" y="29837"/>
                  </a:cubicBezTo>
                  <a:cubicBezTo>
                    <a:pt x="0" y="13320"/>
                    <a:pt x="13396" y="0"/>
                    <a:pt x="29837" y="0"/>
                  </a:cubicBezTo>
                  <a:cubicBezTo>
                    <a:pt x="46278" y="0"/>
                    <a:pt x="59674" y="13320"/>
                    <a:pt x="59674" y="29837"/>
                  </a:cubicBezTo>
                </a:path>
              </a:pathLst>
            </a:custGeom>
            <a:grpFill/>
            <a:ln w="7608" cap="flat">
              <a:noFill/>
              <a:prstDash val="solid"/>
              <a:miter/>
            </a:ln>
          </p:spPr>
          <p:txBody>
            <a:bodyPr rtlCol="0" anchor="ctr"/>
            <a:lstStyle/>
            <a:p>
              <a:endParaRPr lang="hi-IN"/>
            </a:p>
          </p:txBody>
        </p:sp>
        <p:sp>
          <p:nvSpPr>
            <p:cNvPr id="1469" name="Freeform: Shape 468"/>
            <p:cNvSpPr/>
            <p:nvPr/>
          </p:nvSpPr>
          <p:spPr>
            <a:xfrm>
              <a:off x="10358539" y="2526575"/>
              <a:ext cx="60739" cy="60740"/>
            </a:xfrm>
            <a:custGeom>
              <a:avLst/>
              <a:gdLst>
                <a:gd name="connsiteX0" fmla="*/ 60740 w 60739"/>
                <a:gd name="connsiteY0" fmla="*/ 30370 h 60740"/>
                <a:gd name="connsiteX1" fmla="*/ 30370 w 60739"/>
                <a:gd name="connsiteY1" fmla="*/ 60740 h 60740"/>
                <a:gd name="connsiteX2" fmla="*/ 0 w 60739"/>
                <a:gd name="connsiteY2" fmla="*/ 30370 h 60740"/>
                <a:gd name="connsiteX3" fmla="*/ 30370 w 60739"/>
                <a:gd name="connsiteY3" fmla="*/ 0 h 60740"/>
                <a:gd name="connsiteX4" fmla="*/ 60740 w 60739"/>
                <a:gd name="connsiteY4" fmla="*/ 30370 h 60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39" h="60740">
                  <a:moveTo>
                    <a:pt x="60740" y="30370"/>
                  </a:moveTo>
                  <a:cubicBezTo>
                    <a:pt x="60740" y="47192"/>
                    <a:pt x="47115" y="60740"/>
                    <a:pt x="30370" y="60740"/>
                  </a:cubicBezTo>
                  <a:cubicBezTo>
                    <a:pt x="13549" y="60740"/>
                    <a:pt x="0" y="47115"/>
                    <a:pt x="0" y="30370"/>
                  </a:cubicBezTo>
                  <a:cubicBezTo>
                    <a:pt x="0" y="13549"/>
                    <a:pt x="13625" y="0"/>
                    <a:pt x="30370" y="0"/>
                  </a:cubicBezTo>
                  <a:cubicBezTo>
                    <a:pt x="47115" y="0"/>
                    <a:pt x="60740" y="13625"/>
                    <a:pt x="60740" y="30370"/>
                  </a:cubicBezTo>
                </a:path>
              </a:pathLst>
            </a:custGeom>
            <a:grpFill/>
            <a:ln w="7608" cap="flat">
              <a:noFill/>
              <a:prstDash val="solid"/>
              <a:miter/>
            </a:ln>
          </p:spPr>
          <p:txBody>
            <a:bodyPr rtlCol="0" anchor="ctr"/>
            <a:lstStyle/>
            <a:p>
              <a:endParaRPr lang="hi-IN"/>
            </a:p>
          </p:txBody>
        </p:sp>
        <p:sp>
          <p:nvSpPr>
            <p:cNvPr id="1470" name="Freeform: Shape 469"/>
            <p:cNvSpPr/>
            <p:nvPr/>
          </p:nvSpPr>
          <p:spPr>
            <a:xfrm>
              <a:off x="10252206" y="2385533"/>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3" y="61958"/>
                    <a:pt x="0" y="48105"/>
                    <a:pt x="0" y="30979"/>
                  </a:cubicBezTo>
                  <a:cubicBezTo>
                    <a:pt x="0" y="13853"/>
                    <a:pt x="13853"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1" name="Freeform: Shape 470"/>
            <p:cNvSpPr/>
            <p:nvPr/>
          </p:nvSpPr>
          <p:spPr>
            <a:xfrm>
              <a:off x="10138794" y="2251265"/>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3" y="61958"/>
                    <a:pt x="0" y="48105"/>
                    <a:pt x="0" y="30979"/>
                  </a:cubicBezTo>
                  <a:cubicBezTo>
                    <a:pt x="0" y="13853"/>
                    <a:pt x="13853"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2" name="Freeform: Shape 471"/>
            <p:cNvSpPr/>
            <p:nvPr/>
          </p:nvSpPr>
          <p:spPr>
            <a:xfrm>
              <a:off x="10018075" y="2123544"/>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3" y="61958"/>
                    <a:pt x="0" y="48105"/>
                    <a:pt x="0" y="30979"/>
                  </a:cubicBezTo>
                  <a:cubicBezTo>
                    <a:pt x="0" y="13853"/>
                    <a:pt x="13853"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3" name="Freeform: Shape 472"/>
            <p:cNvSpPr/>
            <p:nvPr/>
          </p:nvSpPr>
          <p:spPr>
            <a:xfrm>
              <a:off x="9890353" y="2002825"/>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3" y="61958"/>
                    <a:pt x="0" y="48105"/>
                    <a:pt x="0" y="30979"/>
                  </a:cubicBezTo>
                  <a:cubicBezTo>
                    <a:pt x="0" y="13853"/>
                    <a:pt x="13853"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474" name="Freeform: Shape 473"/>
            <p:cNvSpPr/>
            <p:nvPr/>
          </p:nvSpPr>
          <p:spPr>
            <a:xfrm>
              <a:off x="9756086" y="1889413"/>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5" name="Freeform: Shape 474"/>
            <p:cNvSpPr/>
            <p:nvPr/>
          </p:nvSpPr>
          <p:spPr>
            <a:xfrm>
              <a:off x="9616338" y="1784373"/>
              <a:ext cx="60739" cy="60740"/>
            </a:xfrm>
            <a:custGeom>
              <a:avLst/>
              <a:gdLst>
                <a:gd name="connsiteX0" fmla="*/ 60740 w 60739"/>
                <a:gd name="connsiteY0" fmla="*/ 30370 h 60740"/>
                <a:gd name="connsiteX1" fmla="*/ 30370 w 60739"/>
                <a:gd name="connsiteY1" fmla="*/ 60741 h 60740"/>
                <a:gd name="connsiteX2" fmla="*/ 0 w 60739"/>
                <a:gd name="connsiteY2" fmla="*/ 30370 h 60740"/>
                <a:gd name="connsiteX3" fmla="*/ 30370 w 60739"/>
                <a:gd name="connsiteY3" fmla="*/ 0 h 60740"/>
                <a:gd name="connsiteX4" fmla="*/ 60740 w 60739"/>
                <a:gd name="connsiteY4" fmla="*/ 30370 h 60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39" h="60740">
                  <a:moveTo>
                    <a:pt x="60740" y="30370"/>
                  </a:moveTo>
                  <a:cubicBezTo>
                    <a:pt x="60740" y="47192"/>
                    <a:pt x="47115" y="60741"/>
                    <a:pt x="30370" y="60741"/>
                  </a:cubicBezTo>
                  <a:cubicBezTo>
                    <a:pt x="13549" y="60741"/>
                    <a:pt x="0" y="47116"/>
                    <a:pt x="0" y="30370"/>
                  </a:cubicBezTo>
                  <a:cubicBezTo>
                    <a:pt x="0" y="13549"/>
                    <a:pt x="13625" y="0"/>
                    <a:pt x="30370" y="0"/>
                  </a:cubicBezTo>
                  <a:cubicBezTo>
                    <a:pt x="47115" y="-76"/>
                    <a:pt x="60740" y="13549"/>
                    <a:pt x="60740" y="30370"/>
                  </a:cubicBezTo>
                </a:path>
              </a:pathLst>
            </a:custGeom>
            <a:grpFill/>
            <a:ln w="7608" cap="flat">
              <a:noFill/>
              <a:prstDash val="solid"/>
              <a:miter/>
            </a:ln>
          </p:spPr>
          <p:txBody>
            <a:bodyPr rtlCol="0" anchor="ctr"/>
            <a:lstStyle/>
            <a:p>
              <a:endParaRPr lang="hi-IN"/>
            </a:p>
          </p:txBody>
        </p:sp>
        <p:sp>
          <p:nvSpPr>
            <p:cNvPr id="1476" name="Freeform: Shape 475"/>
            <p:cNvSpPr/>
            <p:nvPr/>
          </p:nvSpPr>
          <p:spPr>
            <a:xfrm>
              <a:off x="9470729" y="1687250"/>
              <a:ext cx="59674" cy="59674"/>
            </a:xfrm>
            <a:custGeom>
              <a:avLst/>
              <a:gdLst>
                <a:gd name="connsiteX0" fmla="*/ 59674 w 59674"/>
                <a:gd name="connsiteY0" fmla="*/ 29837 h 59674"/>
                <a:gd name="connsiteX1" fmla="*/ 29838 w 59674"/>
                <a:gd name="connsiteY1" fmla="*/ 59674 h 59674"/>
                <a:gd name="connsiteX2" fmla="*/ 0 w 59674"/>
                <a:gd name="connsiteY2" fmla="*/ 29837 h 59674"/>
                <a:gd name="connsiteX3" fmla="*/ 29838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8" y="59674"/>
                  </a:cubicBezTo>
                  <a:cubicBezTo>
                    <a:pt x="13320" y="59674"/>
                    <a:pt x="0" y="46278"/>
                    <a:pt x="0" y="29837"/>
                  </a:cubicBezTo>
                  <a:cubicBezTo>
                    <a:pt x="0" y="13320"/>
                    <a:pt x="13396" y="0"/>
                    <a:pt x="29838" y="0"/>
                  </a:cubicBezTo>
                  <a:cubicBezTo>
                    <a:pt x="46278" y="0"/>
                    <a:pt x="59674" y="13320"/>
                    <a:pt x="59674" y="29837"/>
                  </a:cubicBezTo>
                </a:path>
              </a:pathLst>
            </a:custGeom>
            <a:grpFill/>
            <a:ln w="7608" cap="flat">
              <a:noFill/>
              <a:prstDash val="solid"/>
              <a:miter/>
            </a:ln>
          </p:spPr>
          <p:txBody>
            <a:bodyPr rtlCol="0" anchor="ctr"/>
            <a:lstStyle/>
            <a:p>
              <a:endParaRPr lang="hi-IN"/>
            </a:p>
          </p:txBody>
        </p:sp>
        <p:sp>
          <p:nvSpPr>
            <p:cNvPr id="1477" name="Freeform: Shape 476"/>
            <p:cNvSpPr/>
            <p:nvPr/>
          </p:nvSpPr>
          <p:spPr>
            <a:xfrm>
              <a:off x="9320401" y="1599032"/>
              <a:ext cx="57543" cy="57543"/>
            </a:xfrm>
            <a:custGeom>
              <a:avLst/>
              <a:gdLst>
                <a:gd name="connsiteX0" fmla="*/ 57544 w 57543"/>
                <a:gd name="connsiteY0" fmla="*/ 28772 h 57543"/>
                <a:gd name="connsiteX1" fmla="*/ 28772 w 57543"/>
                <a:gd name="connsiteY1" fmla="*/ 57543 h 57543"/>
                <a:gd name="connsiteX2" fmla="*/ 0 w 57543"/>
                <a:gd name="connsiteY2" fmla="*/ 28772 h 57543"/>
                <a:gd name="connsiteX3" fmla="*/ 28772 w 57543"/>
                <a:gd name="connsiteY3" fmla="*/ 0 h 57543"/>
                <a:gd name="connsiteX4" fmla="*/ 57544 w 57543"/>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3" h="57543">
                  <a:moveTo>
                    <a:pt x="57544" y="28772"/>
                  </a:moveTo>
                  <a:cubicBezTo>
                    <a:pt x="57544" y="44680"/>
                    <a:pt x="44680" y="57543"/>
                    <a:pt x="28772" y="57543"/>
                  </a:cubicBezTo>
                  <a:cubicBezTo>
                    <a:pt x="12864" y="57543"/>
                    <a:pt x="0" y="44680"/>
                    <a:pt x="0" y="28772"/>
                  </a:cubicBezTo>
                  <a:cubicBezTo>
                    <a:pt x="0" y="12864"/>
                    <a:pt x="12864" y="0"/>
                    <a:pt x="28772" y="0"/>
                  </a:cubicBezTo>
                  <a:cubicBezTo>
                    <a:pt x="44604" y="0"/>
                    <a:pt x="57544" y="12864"/>
                    <a:pt x="57544" y="28772"/>
                  </a:cubicBezTo>
                </a:path>
              </a:pathLst>
            </a:custGeom>
            <a:grpFill/>
            <a:ln w="7608" cap="flat">
              <a:noFill/>
              <a:prstDash val="solid"/>
              <a:miter/>
            </a:ln>
          </p:spPr>
          <p:txBody>
            <a:bodyPr rtlCol="0" anchor="ctr"/>
            <a:lstStyle/>
            <a:p>
              <a:endParaRPr lang="hi-IN"/>
            </a:p>
          </p:txBody>
        </p:sp>
        <p:sp>
          <p:nvSpPr>
            <p:cNvPr id="1478" name="Freeform: Shape 477"/>
            <p:cNvSpPr/>
            <p:nvPr/>
          </p:nvSpPr>
          <p:spPr>
            <a:xfrm>
              <a:off x="9165278" y="1519416"/>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479" name="Freeform: Shape 478"/>
            <p:cNvSpPr/>
            <p:nvPr/>
          </p:nvSpPr>
          <p:spPr>
            <a:xfrm>
              <a:off x="9005969" y="1448704"/>
              <a:ext cx="53204" cy="53280"/>
            </a:xfrm>
            <a:custGeom>
              <a:avLst/>
              <a:gdLst>
                <a:gd name="connsiteX0" fmla="*/ 53205 w 53204"/>
                <a:gd name="connsiteY0" fmla="*/ 26640 h 53280"/>
                <a:gd name="connsiteX1" fmla="*/ 26564 w 53204"/>
                <a:gd name="connsiteY1" fmla="*/ 53281 h 53280"/>
                <a:gd name="connsiteX2" fmla="*/ 0 w 53204"/>
                <a:gd name="connsiteY2" fmla="*/ 26640 h 53280"/>
                <a:gd name="connsiteX3" fmla="*/ 26564 w 53204"/>
                <a:gd name="connsiteY3" fmla="*/ 0 h 53280"/>
                <a:gd name="connsiteX4" fmla="*/ 53205 w 53204"/>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4" h="53280">
                  <a:moveTo>
                    <a:pt x="53205" y="26640"/>
                  </a:moveTo>
                  <a:cubicBezTo>
                    <a:pt x="53205" y="41331"/>
                    <a:pt x="41330" y="53281"/>
                    <a:pt x="26564" y="53281"/>
                  </a:cubicBezTo>
                  <a:cubicBezTo>
                    <a:pt x="11874" y="53281"/>
                    <a:pt x="0" y="41407"/>
                    <a:pt x="0" y="26640"/>
                  </a:cubicBezTo>
                  <a:cubicBezTo>
                    <a:pt x="0" y="11950"/>
                    <a:pt x="11874" y="0"/>
                    <a:pt x="26564" y="0"/>
                  </a:cubicBezTo>
                  <a:cubicBezTo>
                    <a:pt x="41330" y="0"/>
                    <a:pt x="53205" y="11950"/>
                    <a:pt x="53205" y="26640"/>
                  </a:cubicBezTo>
                </a:path>
              </a:pathLst>
            </a:custGeom>
            <a:grpFill/>
            <a:ln w="7608" cap="flat">
              <a:noFill/>
              <a:prstDash val="solid"/>
              <a:miter/>
            </a:ln>
          </p:spPr>
          <p:txBody>
            <a:bodyPr rtlCol="0" anchor="ctr"/>
            <a:lstStyle/>
            <a:p>
              <a:endParaRPr lang="hi-IN"/>
            </a:p>
          </p:txBody>
        </p:sp>
        <p:sp>
          <p:nvSpPr>
            <p:cNvPr id="1480" name="Freeform: Shape 479"/>
            <p:cNvSpPr/>
            <p:nvPr/>
          </p:nvSpPr>
          <p:spPr>
            <a:xfrm>
              <a:off x="8842929" y="1387127"/>
              <a:ext cx="50996" cy="50997"/>
            </a:xfrm>
            <a:custGeom>
              <a:avLst/>
              <a:gdLst>
                <a:gd name="connsiteX0" fmla="*/ 50997 w 50996"/>
                <a:gd name="connsiteY0" fmla="*/ 25499 h 50997"/>
                <a:gd name="connsiteX1" fmla="*/ 25498 w 50996"/>
                <a:gd name="connsiteY1" fmla="*/ 50997 h 50997"/>
                <a:gd name="connsiteX2" fmla="*/ 0 w 50996"/>
                <a:gd name="connsiteY2" fmla="*/ 25499 h 50997"/>
                <a:gd name="connsiteX3" fmla="*/ 25498 w 50996"/>
                <a:gd name="connsiteY3" fmla="*/ 0 h 50997"/>
                <a:gd name="connsiteX4" fmla="*/ 50997 w 50996"/>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6" h="50997">
                  <a:moveTo>
                    <a:pt x="50997" y="25499"/>
                  </a:moveTo>
                  <a:cubicBezTo>
                    <a:pt x="50997" y="39580"/>
                    <a:pt x="39580" y="50997"/>
                    <a:pt x="25498" y="50997"/>
                  </a:cubicBezTo>
                  <a:cubicBezTo>
                    <a:pt x="11417" y="50997"/>
                    <a:pt x="0" y="39580"/>
                    <a:pt x="0" y="25499"/>
                  </a:cubicBezTo>
                  <a:cubicBezTo>
                    <a:pt x="0" y="11417"/>
                    <a:pt x="11417" y="0"/>
                    <a:pt x="25498" y="0"/>
                  </a:cubicBezTo>
                  <a:cubicBezTo>
                    <a:pt x="39580" y="0"/>
                    <a:pt x="50997" y="11417"/>
                    <a:pt x="50997" y="25499"/>
                  </a:cubicBezTo>
                </a:path>
              </a:pathLst>
            </a:custGeom>
            <a:grpFill/>
            <a:ln w="7608" cap="flat">
              <a:noFill/>
              <a:prstDash val="solid"/>
              <a:miter/>
            </a:ln>
          </p:spPr>
          <p:txBody>
            <a:bodyPr rtlCol="0" anchor="ctr"/>
            <a:lstStyle/>
            <a:p>
              <a:endParaRPr lang="hi-IN"/>
            </a:p>
          </p:txBody>
        </p:sp>
        <p:sp>
          <p:nvSpPr>
            <p:cNvPr id="1481" name="Freeform: Shape 480"/>
            <p:cNvSpPr/>
            <p:nvPr/>
          </p:nvSpPr>
          <p:spPr>
            <a:xfrm>
              <a:off x="8676465" y="1334836"/>
              <a:ext cx="48865" cy="48866"/>
            </a:xfrm>
            <a:custGeom>
              <a:avLst/>
              <a:gdLst>
                <a:gd name="connsiteX0" fmla="*/ 48866 w 48865"/>
                <a:gd name="connsiteY0" fmla="*/ 24433 h 48866"/>
                <a:gd name="connsiteX1" fmla="*/ 24433 w 48865"/>
                <a:gd name="connsiteY1" fmla="*/ 48866 h 48866"/>
                <a:gd name="connsiteX2" fmla="*/ 0 w 48865"/>
                <a:gd name="connsiteY2" fmla="*/ 24433 h 48866"/>
                <a:gd name="connsiteX3" fmla="*/ 24433 w 48865"/>
                <a:gd name="connsiteY3" fmla="*/ 0 h 48866"/>
                <a:gd name="connsiteX4" fmla="*/ 48866 w 48865"/>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5" h="48866">
                  <a:moveTo>
                    <a:pt x="48866" y="24433"/>
                  </a:moveTo>
                  <a:cubicBezTo>
                    <a:pt x="48866" y="37906"/>
                    <a:pt x="37905" y="48866"/>
                    <a:pt x="24433" y="48866"/>
                  </a:cubicBezTo>
                  <a:cubicBezTo>
                    <a:pt x="10960" y="48866"/>
                    <a:pt x="0" y="37906"/>
                    <a:pt x="0" y="24433"/>
                  </a:cubicBezTo>
                  <a:cubicBezTo>
                    <a:pt x="0" y="10961"/>
                    <a:pt x="10960"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482" name="Freeform: Shape 481"/>
            <p:cNvSpPr/>
            <p:nvPr/>
          </p:nvSpPr>
          <p:spPr>
            <a:xfrm>
              <a:off x="8507869" y="1292516"/>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199" y="45669"/>
                    <a:pt x="0" y="35470"/>
                    <a:pt x="0" y="22835"/>
                  </a:cubicBezTo>
                  <a:cubicBezTo>
                    <a:pt x="0" y="10199"/>
                    <a:pt x="10199"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483" name="Freeform: Shape 482"/>
            <p:cNvSpPr/>
            <p:nvPr/>
          </p:nvSpPr>
          <p:spPr>
            <a:xfrm>
              <a:off x="8337218" y="1259938"/>
              <a:ext cx="42320" cy="42320"/>
            </a:xfrm>
            <a:custGeom>
              <a:avLst/>
              <a:gdLst>
                <a:gd name="connsiteX0" fmla="*/ 42321 w 42320"/>
                <a:gd name="connsiteY0" fmla="*/ 21160 h 42320"/>
                <a:gd name="connsiteX1" fmla="*/ 21160 w 42320"/>
                <a:gd name="connsiteY1" fmla="*/ 42320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0"/>
                    <a:pt x="21160" y="42320"/>
                  </a:cubicBezTo>
                  <a:cubicBezTo>
                    <a:pt x="9438" y="42320"/>
                    <a:pt x="0" y="32806"/>
                    <a:pt x="0" y="21160"/>
                  </a:cubicBezTo>
                  <a:cubicBezTo>
                    <a:pt x="0" y="9438"/>
                    <a:pt x="9514" y="0"/>
                    <a:pt x="21160" y="0"/>
                  </a:cubicBezTo>
                  <a:cubicBezTo>
                    <a:pt x="32806" y="0"/>
                    <a:pt x="42321" y="9438"/>
                    <a:pt x="42321" y="21160"/>
                  </a:cubicBezTo>
                </a:path>
              </a:pathLst>
            </a:custGeom>
            <a:grpFill/>
            <a:ln w="7608" cap="flat">
              <a:noFill/>
              <a:prstDash val="solid"/>
              <a:miter/>
            </a:ln>
          </p:spPr>
          <p:txBody>
            <a:bodyPr rtlCol="0" anchor="ctr"/>
            <a:lstStyle/>
            <a:p>
              <a:endParaRPr lang="hi-IN"/>
            </a:p>
          </p:txBody>
        </p:sp>
        <p:sp>
          <p:nvSpPr>
            <p:cNvPr id="1484" name="Freeform: Shape 483"/>
            <p:cNvSpPr/>
            <p:nvPr/>
          </p:nvSpPr>
          <p:spPr>
            <a:xfrm>
              <a:off x="8164741" y="1236951"/>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485" name="Freeform: Shape 484"/>
            <p:cNvSpPr/>
            <p:nvPr/>
          </p:nvSpPr>
          <p:spPr>
            <a:xfrm>
              <a:off x="7991350" y="1223859"/>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2" y="35774"/>
                    <a:pt x="17887" y="35774"/>
                  </a:cubicBezTo>
                  <a:cubicBezTo>
                    <a:pt x="7992" y="35774"/>
                    <a:pt x="0" y="27782"/>
                    <a:pt x="0" y="17887"/>
                  </a:cubicBezTo>
                  <a:cubicBezTo>
                    <a:pt x="0" y="7992"/>
                    <a:pt x="7992" y="0"/>
                    <a:pt x="17887" y="0"/>
                  </a:cubicBezTo>
                  <a:cubicBezTo>
                    <a:pt x="27782" y="0"/>
                    <a:pt x="35774" y="7992"/>
                    <a:pt x="35774" y="17887"/>
                  </a:cubicBezTo>
                </a:path>
              </a:pathLst>
            </a:custGeom>
            <a:grpFill/>
            <a:ln w="7608" cap="flat">
              <a:noFill/>
              <a:prstDash val="solid"/>
              <a:miter/>
            </a:ln>
          </p:spPr>
          <p:txBody>
            <a:bodyPr rtlCol="0" anchor="ctr"/>
            <a:lstStyle/>
            <a:p>
              <a:endParaRPr lang="hi-IN"/>
            </a:p>
          </p:txBody>
        </p:sp>
        <p:sp>
          <p:nvSpPr>
            <p:cNvPr id="1486" name="Freeform: Shape 485"/>
            <p:cNvSpPr/>
            <p:nvPr/>
          </p:nvSpPr>
          <p:spPr>
            <a:xfrm>
              <a:off x="7817198" y="1220510"/>
              <a:ext cx="32577" cy="32577"/>
            </a:xfrm>
            <a:custGeom>
              <a:avLst/>
              <a:gdLst>
                <a:gd name="connsiteX0" fmla="*/ 32578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0" y="32577"/>
                    <a:pt x="16289" y="32577"/>
                  </a:cubicBezTo>
                  <a:cubicBezTo>
                    <a:pt x="7307" y="32577"/>
                    <a:pt x="0" y="25270"/>
                    <a:pt x="0" y="16289"/>
                  </a:cubicBezTo>
                  <a:cubicBezTo>
                    <a:pt x="0" y="7307"/>
                    <a:pt x="7307" y="0"/>
                    <a:pt x="16289" y="0"/>
                  </a:cubicBezTo>
                  <a:cubicBezTo>
                    <a:pt x="25270" y="0"/>
                    <a:pt x="32578" y="7307"/>
                    <a:pt x="32578" y="16289"/>
                  </a:cubicBezTo>
                </a:path>
              </a:pathLst>
            </a:custGeom>
            <a:grpFill/>
            <a:ln w="7608" cap="flat">
              <a:noFill/>
              <a:prstDash val="solid"/>
              <a:miter/>
            </a:ln>
          </p:spPr>
          <p:txBody>
            <a:bodyPr rtlCol="0" anchor="ctr"/>
            <a:lstStyle/>
            <a:p>
              <a:endParaRPr lang="hi-IN"/>
            </a:p>
          </p:txBody>
        </p:sp>
        <p:sp>
          <p:nvSpPr>
            <p:cNvPr id="1487" name="Freeform: Shape 486"/>
            <p:cNvSpPr/>
            <p:nvPr/>
          </p:nvSpPr>
          <p:spPr>
            <a:xfrm>
              <a:off x="7643122" y="1227056"/>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546" y="29381"/>
                    <a:pt x="0" y="22835"/>
                    <a:pt x="0" y="14690"/>
                  </a:cubicBezTo>
                  <a:cubicBezTo>
                    <a:pt x="0" y="6622"/>
                    <a:pt x="6546" y="0"/>
                    <a:pt x="14690" y="0"/>
                  </a:cubicBezTo>
                  <a:cubicBezTo>
                    <a:pt x="22835" y="0"/>
                    <a:pt x="29380" y="6622"/>
                    <a:pt x="29380" y="14690"/>
                  </a:cubicBezTo>
                </a:path>
              </a:pathLst>
            </a:custGeom>
            <a:grpFill/>
            <a:ln w="7608" cap="flat">
              <a:noFill/>
              <a:prstDash val="solid"/>
              <a:miter/>
            </a:ln>
          </p:spPr>
          <p:txBody>
            <a:bodyPr rtlCol="0" anchor="ctr"/>
            <a:lstStyle/>
            <a:p>
              <a:endParaRPr lang="hi-IN"/>
            </a:p>
          </p:txBody>
        </p:sp>
        <p:sp>
          <p:nvSpPr>
            <p:cNvPr id="1488" name="Freeform: Shape 487"/>
            <p:cNvSpPr/>
            <p:nvPr/>
          </p:nvSpPr>
          <p:spPr>
            <a:xfrm>
              <a:off x="7469731" y="1243497"/>
              <a:ext cx="26031" cy="26031"/>
            </a:xfrm>
            <a:custGeom>
              <a:avLst/>
              <a:gdLst>
                <a:gd name="connsiteX0" fmla="*/ 26032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247"/>
                    <a:pt x="20171" y="26031"/>
                    <a:pt x="13016" y="26031"/>
                  </a:cubicBezTo>
                  <a:cubicBezTo>
                    <a:pt x="5785" y="26031"/>
                    <a:pt x="0" y="20171"/>
                    <a:pt x="0" y="13016"/>
                  </a:cubicBezTo>
                  <a:cubicBezTo>
                    <a:pt x="0" y="5861"/>
                    <a:pt x="5861" y="0"/>
                    <a:pt x="13016" y="0"/>
                  </a:cubicBezTo>
                  <a:cubicBezTo>
                    <a:pt x="20171" y="0"/>
                    <a:pt x="26032" y="5861"/>
                    <a:pt x="26032" y="13016"/>
                  </a:cubicBezTo>
                </a:path>
              </a:pathLst>
            </a:custGeom>
            <a:grpFill/>
            <a:ln w="7608" cap="flat">
              <a:noFill/>
              <a:prstDash val="solid"/>
              <a:miter/>
            </a:ln>
          </p:spPr>
          <p:txBody>
            <a:bodyPr rtlCol="0" anchor="ctr"/>
            <a:lstStyle/>
            <a:p>
              <a:endParaRPr lang="hi-IN"/>
            </a:p>
          </p:txBody>
        </p:sp>
        <p:sp>
          <p:nvSpPr>
            <p:cNvPr id="1489" name="Freeform: Shape 488"/>
            <p:cNvSpPr/>
            <p:nvPr/>
          </p:nvSpPr>
          <p:spPr>
            <a:xfrm>
              <a:off x="7297253" y="1269681"/>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490" name="Freeform: Shape 489"/>
            <p:cNvSpPr/>
            <p:nvPr/>
          </p:nvSpPr>
          <p:spPr>
            <a:xfrm>
              <a:off x="7126603" y="1305607"/>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8" y="19486"/>
                    <a:pt x="0" y="15071"/>
                    <a:pt x="0" y="9743"/>
                  </a:cubicBezTo>
                  <a:cubicBezTo>
                    <a:pt x="0" y="4339"/>
                    <a:pt x="4414" y="0"/>
                    <a:pt x="9743" y="0"/>
                  </a:cubicBezTo>
                  <a:cubicBezTo>
                    <a:pt x="15071" y="0"/>
                    <a:pt x="19486" y="4415"/>
                    <a:pt x="19486" y="9743"/>
                  </a:cubicBezTo>
                </a:path>
              </a:pathLst>
            </a:custGeom>
            <a:grpFill/>
            <a:ln w="7608" cap="flat">
              <a:noFill/>
              <a:prstDash val="solid"/>
              <a:miter/>
            </a:ln>
          </p:spPr>
          <p:txBody>
            <a:bodyPr rtlCol="0" anchor="ctr"/>
            <a:lstStyle/>
            <a:p>
              <a:endParaRPr lang="hi-IN"/>
            </a:p>
          </p:txBody>
        </p:sp>
        <p:sp>
          <p:nvSpPr>
            <p:cNvPr id="1491" name="Freeform: Shape 490"/>
            <p:cNvSpPr/>
            <p:nvPr/>
          </p:nvSpPr>
          <p:spPr>
            <a:xfrm>
              <a:off x="6958007" y="1351124"/>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492" name="Freeform: Shape 491"/>
            <p:cNvSpPr/>
            <p:nvPr/>
          </p:nvSpPr>
          <p:spPr>
            <a:xfrm>
              <a:off x="6791542" y="1405547"/>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7" y="14157"/>
                    <a:pt x="7079" y="14157"/>
                  </a:cubicBezTo>
                  <a:cubicBezTo>
                    <a:pt x="3197" y="14157"/>
                    <a:pt x="0" y="10961"/>
                    <a:pt x="0" y="7079"/>
                  </a:cubicBezTo>
                  <a:cubicBezTo>
                    <a:pt x="0" y="3197"/>
                    <a:pt x="3197" y="0"/>
                    <a:pt x="7079" y="0"/>
                  </a:cubicBezTo>
                  <a:cubicBezTo>
                    <a:pt x="11037" y="76"/>
                    <a:pt x="14157" y="3197"/>
                    <a:pt x="14157" y="7079"/>
                  </a:cubicBezTo>
                </a:path>
              </a:pathLst>
            </a:custGeom>
            <a:grpFill/>
            <a:ln w="7608" cap="flat">
              <a:noFill/>
              <a:prstDash val="solid"/>
              <a:miter/>
            </a:ln>
          </p:spPr>
          <p:txBody>
            <a:bodyPr rtlCol="0" anchor="ctr"/>
            <a:lstStyle/>
            <a:p>
              <a:endParaRPr lang="hi-IN"/>
            </a:p>
          </p:txBody>
        </p:sp>
        <p:sp>
          <p:nvSpPr>
            <p:cNvPr id="1493" name="Freeform: Shape 492"/>
            <p:cNvSpPr/>
            <p:nvPr/>
          </p:nvSpPr>
          <p:spPr>
            <a:xfrm>
              <a:off x="6628503" y="1469406"/>
              <a:ext cx="11950" cy="11951"/>
            </a:xfrm>
            <a:custGeom>
              <a:avLst/>
              <a:gdLst>
                <a:gd name="connsiteX0" fmla="*/ 11950 w 11950"/>
                <a:gd name="connsiteY0" fmla="*/ 5939 h 11951"/>
                <a:gd name="connsiteX1" fmla="*/ 6013 w 11950"/>
                <a:gd name="connsiteY1" fmla="*/ 11952 h 11951"/>
                <a:gd name="connsiteX2" fmla="*/ 0 w 11950"/>
                <a:gd name="connsiteY2" fmla="*/ 5939 h 11951"/>
                <a:gd name="connsiteX3" fmla="*/ 6013 w 11950"/>
                <a:gd name="connsiteY3" fmla="*/ 2 h 11951"/>
                <a:gd name="connsiteX4" fmla="*/ 11950 w 11950"/>
                <a:gd name="connsiteY4" fmla="*/ 5939 h 11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1">
                  <a:moveTo>
                    <a:pt x="11950" y="5939"/>
                  </a:moveTo>
                  <a:cubicBezTo>
                    <a:pt x="11950" y="9211"/>
                    <a:pt x="9286" y="11952"/>
                    <a:pt x="6013" y="11952"/>
                  </a:cubicBezTo>
                  <a:cubicBezTo>
                    <a:pt x="2740" y="11952"/>
                    <a:pt x="0" y="9288"/>
                    <a:pt x="0" y="5939"/>
                  </a:cubicBezTo>
                  <a:cubicBezTo>
                    <a:pt x="0" y="2666"/>
                    <a:pt x="2664" y="2"/>
                    <a:pt x="6013" y="2"/>
                  </a:cubicBezTo>
                  <a:cubicBezTo>
                    <a:pt x="9286" y="-75"/>
                    <a:pt x="11950" y="2666"/>
                    <a:pt x="11950" y="5939"/>
                  </a:cubicBezTo>
                </a:path>
              </a:pathLst>
            </a:custGeom>
            <a:grpFill/>
            <a:ln w="7608" cap="flat">
              <a:noFill/>
              <a:prstDash val="solid"/>
              <a:miter/>
            </a:ln>
          </p:spPr>
          <p:txBody>
            <a:bodyPr rtlCol="0" anchor="ctr"/>
            <a:lstStyle/>
            <a:p>
              <a:endParaRPr lang="hi-IN"/>
            </a:p>
          </p:txBody>
        </p:sp>
        <p:sp>
          <p:nvSpPr>
            <p:cNvPr id="1494" name="Freeform: Shape 493"/>
            <p:cNvSpPr/>
            <p:nvPr/>
          </p:nvSpPr>
          <p:spPr>
            <a:xfrm>
              <a:off x="6469726" y="154278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774"/>
                    <a:pt x="6698" y="8677"/>
                    <a:pt x="4339" y="8677"/>
                  </a:cubicBezTo>
                  <a:cubicBezTo>
                    <a:pt x="1979" y="8677"/>
                    <a:pt x="0" y="6698"/>
                    <a:pt x="0" y="4339"/>
                  </a:cubicBezTo>
                  <a:cubicBezTo>
                    <a:pt x="0" y="1979"/>
                    <a:pt x="1903" y="0"/>
                    <a:pt x="4339" y="0"/>
                  </a:cubicBezTo>
                  <a:cubicBezTo>
                    <a:pt x="6698" y="0"/>
                    <a:pt x="8677" y="1903"/>
                    <a:pt x="8677" y="4339"/>
                  </a:cubicBezTo>
                </a:path>
              </a:pathLst>
            </a:custGeom>
            <a:grpFill/>
            <a:ln w="7608" cap="flat">
              <a:noFill/>
              <a:prstDash val="solid"/>
              <a:miter/>
            </a:ln>
          </p:spPr>
          <p:txBody>
            <a:bodyPr rtlCol="0" anchor="ctr"/>
            <a:lstStyle/>
            <a:p>
              <a:endParaRPr lang="hi-IN"/>
            </a:p>
          </p:txBody>
        </p:sp>
        <p:sp>
          <p:nvSpPr>
            <p:cNvPr id="1495" name="Freeform: Shape 494"/>
            <p:cNvSpPr/>
            <p:nvPr/>
          </p:nvSpPr>
          <p:spPr>
            <a:xfrm>
              <a:off x="6314603" y="1624531"/>
              <a:ext cx="6546" cy="6545"/>
            </a:xfrm>
            <a:custGeom>
              <a:avLst/>
              <a:gdLst>
                <a:gd name="connsiteX0" fmla="*/ 6546 w 6546"/>
                <a:gd name="connsiteY0" fmla="*/ 3273 h 6545"/>
                <a:gd name="connsiteX1" fmla="*/ 3273 w 6546"/>
                <a:gd name="connsiteY1" fmla="*/ 6546 h 6545"/>
                <a:gd name="connsiteX2" fmla="*/ 0 w 6546"/>
                <a:gd name="connsiteY2" fmla="*/ 3273 h 6545"/>
                <a:gd name="connsiteX3" fmla="*/ 3273 w 6546"/>
                <a:gd name="connsiteY3" fmla="*/ 0 h 6545"/>
                <a:gd name="connsiteX4" fmla="*/ 6546 w 6546"/>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496" name="Freeform: Shape 495"/>
            <p:cNvSpPr/>
            <p:nvPr/>
          </p:nvSpPr>
          <p:spPr>
            <a:xfrm>
              <a:off x="6163742" y="1714347"/>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497" name="Freeform: Shape 496"/>
            <p:cNvSpPr/>
            <p:nvPr/>
          </p:nvSpPr>
          <p:spPr>
            <a:xfrm>
              <a:off x="6018818" y="1813140"/>
              <a:ext cx="3197" cy="3202"/>
            </a:xfrm>
            <a:custGeom>
              <a:avLst/>
              <a:gdLst>
                <a:gd name="connsiteX0" fmla="*/ 3197 w 3197"/>
                <a:gd name="connsiteY0" fmla="*/ 1604 h 3202"/>
                <a:gd name="connsiteX1" fmla="*/ 1599 w 3197"/>
                <a:gd name="connsiteY1" fmla="*/ 3202 h 3202"/>
                <a:gd name="connsiteX2" fmla="*/ 0 w 3197"/>
                <a:gd name="connsiteY2" fmla="*/ 1604 h 3202"/>
                <a:gd name="connsiteX3" fmla="*/ 1599 w 3197"/>
                <a:gd name="connsiteY3" fmla="*/ 5 h 3202"/>
                <a:gd name="connsiteX4" fmla="*/ 3197 w 3197"/>
                <a:gd name="connsiteY4" fmla="*/ 1604 h 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02">
                  <a:moveTo>
                    <a:pt x="3197" y="1604"/>
                  </a:moveTo>
                  <a:cubicBezTo>
                    <a:pt x="3197" y="2517"/>
                    <a:pt x="2436" y="3202"/>
                    <a:pt x="1599" y="3202"/>
                  </a:cubicBezTo>
                  <a:cubicBezTo>
                    <a:pt x="685" y="3202"/>
                    <a:pt x="0" y="2441"/>
                    <a:pt x="0" y="1604"/>
                  </a:cubicBezTo>
                  <a:cubicBezTo>
                    <a:pt x="0" y="690"/>
                    <a:pt x="761" y="5"/>
                    <a:pt x="1599" y="5"/>
                  </a:cubicBezTo>
                  <a:cubicBezTo>
                    <a:pt x="2436" y="-71"/>
                    <a:pt x="3197" y="690"/>
                    <a:pt x="3197" y="1604"/>
                  </a:cubicBezTo>
                </a:path>
              </a:pathLst>
            </a:custGeom>
            <a:grpFill/>
            <a:ln w="7608" cap="flat">
              <a:noFill/>
              <a:prstDash val="solid"/>
              <a:miter/>
            </a:ln>
          </p:spPr>
          <p:txBody>
            <a:bodyPr rtlCol="0" anchor="ctr"/>
            <a:lstStyle/>
            <a:p>
              <a:endParaRPr lang="hi-IN"/>
            </a:p>
          </p:txBody>
        </p:sp>
        <p:sp>
          <p:nvSpPr>
            <p:cNvPr id="1498" name="Freeform: Shape 497"/>
            <p:cNvSpPr/>
            <p:nvPr/>
          </p:nvSpPr>
          <p:spPr>
            <a:xfrm>
              <a:off x="5878918" y="1919326"/>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499" name="Freeform: Shape 498"/>
            <p:cNvSpPr/>
            <p:nvPr/>
          </p:nvSpPr>
          <p:spPr>
            <a:xfrm>
              <a:off x="5745183" y="2033271"/>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5"/>
                    <a:pt x="533" y="1065"/>
                  </a:cubicBezTo>
                  <a:cubicBezTo>
                    <a:pt x="229" y="1065"/>
                    <a:pt x="0" y="837"/>
                    <a:pt x="0" y="533"/>
                  </a:cubicBezTo>
                  <a:cubicBezTo>
                    <a:pt x="0" y="228"/>
                    <a:pt x="229" y="0"/>
                    <a:pt x="533" y="0"/>
                  </a:cubicBezTo>
                  <a:cubicBezTo>
                    <a:pt x="761" y="0"/>
                    <a:pt x="1066" y="228"/>
                    <a:pt x="1066" y="533"/>
                  </a:cubicBezTo>
                </a:path>
              </a:pathLst>
            </a:custGeom>
            <a:grpFill/>
            <a:ln w="7608" cap="flat">
              <a:noFill/>
              <a:prstDash val="solid"/>
              <a:miter/>
            </a:ln>
          </p:spPr>
          <p:txBody>
            <a:bodyPr rtlCol="0" anchor="ctr"/>
            <a:lstStyle/>
            <a:p>
              <a:endParaRPr lang="hi-IN"/>
            </a:p>
          </p:txBody>
        </p:sp>
        <p:sp>
          <p:nvSpPr>
            <p:cNvPr id="1500" name="Freeform: Shape 499"/>
            <p:cNvSpPr/>
            <p:nvPr/>
          </p:nvSpPr>
          <p:spPr>
            <a:xfrm>
              <a:off x="10322613" y="6579722"/>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8" y="1066"/>
                    <a:pt x="0" y="837"/>
                    <a:pt x="0" y="533"/>
                  </a:cubicBezTo>
                  <a:cubicBezTo>
                    <a:pt x="0" y="228"/>
                    <a:pt x="228" y="0"/>
                    <a:pt x="532"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501" name="Freeform: Shape 500"/>
            <p:cNvSpPr/>
            <p:nvPr/>
          </p:nvSpPr>
          <p:spPr>
            <a:xfrm>
              <a:off x="10435264" y="6444693"/>
              <a:ext cx="2131" cy="2130"/>
            </a:xfrm>
            <a:custGeom>
              <a:avLst/>
              <a:gdLst>
                <a:gd name="connsiteX0" fmla="*/ 2131 w 2131"/>
                <a:gd name="connsiteY0" fmla="*/ 1066 h 2130"/>
                <a:gd name="connsiteX1" fmla="*/ 1066 w 2131"/>
                <a:gd name="connsiteY1" fmla="*/ 2131 h 2130"/>
                <a:gd name="connsiteX2" fmla="*/ 0 w 2131"/>
                <a:gd name="connsiteY2" fmla="*/ 1066 h 2130"/>
                <a:gd name="connsiteX3" fmla="*/ 1066 w 2131"/>
                <a:gd name="connsiteY3" fmla="*/ 0 h 2130"/>
                <a:gd name="connsiteX4" fmla="*/ 2131 w 2131"/>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6"/>
                  </a:moveTo>
                  <a:cubicBezTo>
                    <a:pt x="2131" y="1674"/>
                    <a:pt x="1675" y="2131"/>
                    <a:pt x="1066" y="2131"/>
                  </a:cubicBezTo>
                  <a:cubicBezTo>
                    <a:pt x="457" y="2131"/>
                    <a:pt x="0" y="1674"/>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502" name="Freeform: Shape 501"/>
            <p:cNvSpPr/>
            <p:nvPr/>
          </p:nvSpPr>
          <p:spPr>
            <a:xfrm>
              <a:off x="10540608" y="6303879"/>
              <a:ext cx="3272" cy="3196"/>
            </a:xfrm>
            <a:custGeom>
              <a:avLst/>
              <a:gdLst>
                <a:gd name="connsiteX0" fmla="*/ 3272 w 3272"/>
                <a:gd name="connsiteY0" fmla="*/ 1598 h 3196"/>
                <a:gd name="connsiteX1" fmla="*/ 1598 w 3272"/>
                <a:gd name="connsiteY1" fmla="*/ 3197 h 3196"/>
                <a:gd name="connsiteX2" fmla="*/ 0 w 3272"/>
                <a:gd name="connsiteY2" fmla="*/ 1598 h 3196"/>
                <a:gd name="connsiteX3" fmla="*/ 1598 w 3272"/>
                <a:gd name="connsiteY3" fmla="*/ 0 h 3196"/>
                <a:gd name="connsiteX4" fmla="*/ 3272 w 3272"/>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196">
                  <a:moveTo>
                    <a:pt x="3272" y="1598"/>
                  </a:moveTo>
                  <a:cubicBezTo>
                    <a:pt x="3272" y="2512"/>
                    <a:pt x="2511" y="3197"/>
                    <a:pt x="1598" y="3197"/>
                  </a:cubicBezTo>
                  <a:cubicBezTo>
                    <a:pt x="685" y="3197"/>
                    <a:pt x="0" y="2436"/>
                    <a:pt x="0" y="1598"/>
                  </a:cubicBezTo>
                  <a:cubicBezTo>
                    <a:pt x="0" y="685"/>
                    <a:pt x="685" y="0"/>
                    <a:pt x="1598" y="0"/>
                  </a:cubicBezTo>
                  <a:cubicBezTo>
                    <a:pt x="2511" y="0"/>
                    <a:pt x="3272" y="761"/>
                    <a:pt x="3272" y="1598"/>
                  </a:cubicBezTo>
                </a:path>
              </a:pathLst>
            </a:custGeom>
            <a:grpFill/>
            <a:ln w="7608" cap="flat">
              <a:noFill/>
              <a:prstDash val="solid"/>
              <a:miter/>
            </a:ln>
          </p:spPr>
          <p:txBody>
            <a:bodyPr rtlCol="0" anchor="ctr"/>
            <a:lstStyle/>
            <a:p>
              <a:endParaRPr lang="hi-IN"/>
            </a:p>
          </p:txBody>
        </p:sp>
        <p:sp>
          <p:nvSpPr>
            <p:cNvPr id="1503" name="Freeform: Shape 502"/>
            <p:cNvSpPr/>
            <p:nvPr/>
          </p:nvSpPr>
          <p:spPr>
            <a:xfrm>
              <a:off x="10637807" y="6157129"/>
              <a:ext cx="5481" cy="5480"/>
            </a:xfrm>
            <a:custGeom>
              <a:avLst/>
              <a:gdLst>
                <a:gd name="connsiteX0" fmla="*/ 5481 w 5481"/>
                <a:gd name="connsiteY0" fmla="*/ 2741 h 5480"/>
                <a:gd name="connsiteX1" fmla="*/ 2741 w 5481"/>
                <a:gd name="connsiteY1" fmla="*/ 5481 h 5480"/>
                <a:gd name="connsiteX2" fmla="*/ 0 w 5481"/>
                <a:gd name="connsiteY2" fmla="*/ 2741 h 5480"/>
                <a:gd name="connsiteX3" fmla="*/ 2741 w 5481"/>
                <a:gd name="connsiteY3" fmla="*/ 0 h 5480"/>
                <a:gd name="connsiteX4" fmla="*/ 5481 w 5481"/>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1"/>
                  </a:moveTo>
                  <a:cubicBezTo>
                    <a:pt x="5481" y="4262"/>
                    <a:pt x="4263" y="5481"/>
                    <a:pt x="2741" y="5481"/>
                  </a:cubicBezTo>
                  <a:cubicBezTo>
                    <a:pt x="1218" y="5481"/>
                    <a:pt x="0" y="4262"/>
                    <a:pt x="0" y="2741"/>
                  </a:cubicBezTo>
                  <a:cubicBezTo>
                    <a:pt x="0" y="1218"/>
                    <a:pt x="1218" y="0"/>
                    <a:pt x="2741" y="0"/>
                  </a:cubicBezTo>
                  <a:cubicBezTo>
                    <a:pt x="4263" y="0"/>
                    <a:pt x="5481" y="1218"/>
                    <a:pt x="5481" y="2741"/>
                  </a:cubicBezTo>
                </a:path>
              </a:pathLst>
            </a:custGeom>
            <a:grpFill/>
            <a:ln w="7608" cap="flat">
              <a:noFill/>
              <a:prstDash val="solid"/>
              <a:miter/>
            </a:ln>
          </p:spPr>
          <p:txBody>
            <a:bodyPr rtlCol="0" anchor="ctr"/>
            <a:lstStyle/>
            <a:p>
              <a:endParaRPr lang="hi-IN"/>
            </a:p>
          </p:txBody>
        </p:sp>
        <p:sp>
          <p:nvSpPr>
            <p:cNvPr id="1504" name="Freeform: Shape 503"/>
            <p:cNvSpPr/>
            <p:nvPr/>
          </p:nvSpPr>
          <p:spPr>
            <a:xfrm>
              <a:off x="10727318" y="6005431"/>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505" name="Freeform: Shape 504"/>
            <p:cNvSpPr/>
            <p:nvPr/>
          </p:nvSpPr>
          <p:spPr>
            <a:xfrm>
              <a:off x="10808762" y="5849164"/>
              <a:ext cx="9742" cy="9744"/>
            </a:xfrm>
            <a:custGeom>
              <a:avLst/>
              <a:gdLst>
                <a:gd name="connsiteX0" fmla="*/ 9742 w 9742"/>
                <a:gd name="connsiteY0" fmla="*/ 4873 h 9744"/>
                <a:gd name="connsiteX1" fmla="*/ 4871 w 9742"/>
                <a:gd name="connsiteY1" fmla="*/ 9744 h 9744"/>
                <a:gd name="connsiteX2" fmla="*/ 0 w 9742"/>
                <a:gd name="connsiteY2" fmla="*/ 4873 h 9744"/>
                <a:gd name="connsiteX3" fmla="*/ 4871 w 9742"/>
                <a:gd name="connsiteY3" fmla="*/ 2 h 9744"/>
                <a:gd name="connsiteX4" fmla="*/ 9742 w 9742"/>
                <a:gd name="connsiteY4" fmla="*/ 4873 h 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4">
                  <a:moveTo>
                    <a:pt x="9742" y="4873"/>
                  </a:moveTo>
                  <a:cubicBezTo>
                    <a:pt x="9742" y="7537"/>
                    <a:pt x="7535" y="9744"/>
                    <a:pt x="4871" y="9744"/>
                  </a:cubicBezTo>
                  <a:cubicBezTo>
                    <a:pt x="2207" y="9744"/>
                    <a:pt x="0" y="7537"/>
                    <a:pt x="0" y="4873"/>
                  </a:cubicBezTo>
                  <a:cubicBezTo>
                    <a:pt x="0" y="2133"/>
                    <a:pt x="2207" y="2"/>
                    <a:pt x="4871" y="2"/>
                  </a:cubicBezTo>
                  <a:cubicBezTo>
                    <a:pt x="7535" y="-74"/>
                    <a:pt x="9742" y="2133"/>
                    <a:pt x="9742" y="4873"/>
                  </a:cubicBezTo>
                </a:path>
              </a:pathLst>
            </a:custGeom>
            <a:grpFill/>
            <a:ln w="7608" cap="flat">
              <a:noFill/>
              <a:prstDash val="solid"/>
              <a:miter/>
            </a:ln>
          </p:spPr>
          <p:txBody>
            <a:bodyPr rtlCol="0" anchor="ctr"/>
            <a:lstStyle/>
            <a:p>
              <a:endParaRPr lang="hi-IN"/>
            </a:p>
          </p:txBody>
        </p:sp>
        <p:sp>
          <p:nvSpPr>
            <p:cNvPr id="1506" name="Freeform: Shape 505"/>
            <p:cNvSpPr/>
            <p:nvPr/>
          </p:nvSpPr>
          <p:spPr>
            <a:xfrm>
              <a:off x="10881757" y="5688714"/>
              <a:ext cx="11949" cy="11950"/>
            </a:xfrm>
            <a:custGeom>
              <a:avLst/>
              <a:gdLst>
                <a:gd name="connsiteX0" fmla="*/ 11950 w 11949"/>
                <a:gd name="connsiteY0" fmla="*/ 5937 h 11950"/>
                <a:gd name="connsiteX1" fmla="*/ 6013 w 11949"/>
                <a:gd name="connsiteY1" fmla="*/ 11950 h 11950"/>
                <a:gd name="connsiteX2" fmla="*/ 0 w 11949"/>
                <a:gd name="connsiteY2" fmla="*/ 5937 h 11950"/>
                <a:gd name="connsiteX3" fmla="*/ 6013 w 11949"/>
                <a:gd name="connsiteY3" fmla="*/ 0 h 11950"/>
                <a:gd name="connsiteX4" fmla="*/ 11950 w 11949"/>
                <a:gd name="connsiteY4" fmla="*/ 5937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950">
                  <a:moveTo>
                    <a:pt x="11950" y="5937"/>
                  </a:moveTo>
                  <a:cubicBezTo>
                    <a:pt x="11950" y="9210"/>
                    <a:pt x="9286" y="11950"/>
                    <a:pt x="6013" y="11950"/>
                  </a:cubicBezTo>
                  <a:cubicBezTo>
                    <a:pt x="2740" y="11950"/>
                    <a:pt x="0" y="9286"/>
                    <a:pt x="0" y="5937"/>
                  </a:cubicBezTo>
                  <a:cubicBezTo>
                    <a:pt x="0" y="2664"/>
                    <a:pt x="2664" y="0"/>
                    <a:pt x="6013"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507" name="Freeform: Shape 506"/>
            <p:cNvSpPr/>
            <p:nvPr/>
          </p:nvSpPr>
          <p:spPr>
            <a:xfrm>
              <a:off x="10946303" y="5524533"/>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7" y="14157"/>
                    <a:pt x="7079" y="14157"/>
                  </a:cubicBezTo>
                  <a:cubicBezTo>
                    <a:pt x="3197" y="14157"/>
                    <a:pt x="0" y="10961"/>
                    <a:pt x="0" y="7079"/>
                  </a:cubicBezTo>
                  <a:cubicBezTo>
                    <a:pt x="0" y="3197"/>
                    <a:pt x="3197" y="0"/>
                    <a:pt x="7079" y="0"/>
                  </a:cubicBezTo>
                  <a:cubicBezTo>
                    <a:pt x="11037" y="0"/>
                    <a:pt x="14157" y="3197"/>
                    <a:pt x="14157" y="7079"/>
                  </a:cubicBezTo>
                </a:path>
              </a:pathLst>
            </a:custGeom>
            <a:grpFill/>
            <a:ln w="7608" cap="flat">
              <a:noFill/>
              <a:prstDash val="solid"/>
              <a:miter/>
            </a:ln>
          </p:spPr>
          <p:txBody>
            <a:bodyPr rtlCol="0" anchor="ctr"/>
            <a:lstStyle/>
            <a:p>
              <a:endParaRPr lang="hi-IN"/>
            </a:p>
          </p:txBody>
        </p:sp>
        <p:sp>
          <p:nvSpPr>
            <p:cNvPr id="1508" name="Freeform: Shape 507"/>
            <p:cNvSpPr/>
            <p:nvPr/>
          </p:nvSpPr>
          <p:spPr>
            <a:xfrm>
              <a:off x="11001715" y="5356699"/>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4"/>
                    <a:pt x="8677" y="17354"/>
                  </a:cubicBezTo>
                  <a:cubicBezTo>
                    <a:pt x="3882" y="17354"/>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509" name="Freeform: Shape 508"/>
            <p:cNvSpPr/>
            <p:nvPr/>
          </p:nvSpPr>
          <p:spPr>
            <a:xfrm>
              <a:off x="11048145" y="5185972"/>
              <a:ext cx="20626" cy="20703"/>
            </a:xfrm>
            <a:custGeom>
              <a:avLst/>
              <a:gdLst>
                <a:gd name="connsiteX0" fmla="*/ 20627 w 20626"/>
                <a:gd name="connsiteY0" fmla="*/ 10352 h 20703"/>
                <a:gd name="connsiteX1" fmla="*/ 10275 w 20626"/>
                <a:gd name="connsiteY1" fmla="*/ 20703 h 20703"/>
                <a:gd name="connsiteX2" fmla="*/ 0 w 20626"/>
                <a:gd name="connsiteY2" fmla="*/ 10352 h 20703"/>
                <a:gd name="connsiteX3" fmla="*/ 10275 w 20626"/>
                <a:gd name="connsiteY3" fmla="*/ 0 h 20703"/>
                <a:gd name="connsiteX4" fmla="*/ 20627 w 20626"/>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6" h="20703">
                  <a:moveTo>
                    <a:pt x="20627" y="10352"/>
                  </a:moveTo>
                  <a:cubicBezTo>
                    <a:pt x="20627" y="16060"/>
                    <a:pt x="15984" y="20703"/>
                    <a:pt x="10275" y="20703"/>
                  </a:cubicBezTo>
                  <a:cubicBezTo>
                    <a:pt x="4567" y="20703"/>
                    <a:pt x="0" y="16060"/>
                    <a:pt x="0" y="10352"/>
                  </a:cubicBezTo>
                  <a:cubicBezTo>
                    <a:pt x="0" y="4643"/>
                    <a:pt x="4643" y="0"/>
                    <a:pt x="10275" y="0"/>
                  </a:cubicBezTo>
                  <a:cubicBezTo>
                    <a:pt x="15984" y="0"/>
                    <a:pt x="20627" y="4643"/>
                    <a:pt x="20627" y="10352"/>
                  </a:cubicBezTo>
                </a:path>
              </a:pathLst>
            </a:custGeom>
            <a:grpFill/>
            <a:ln w="7608" cap="flat">
              <a:noFill/>
              <a:prstDash val="solid"/>
              <a:miter/>
            </a:ln>
          </p:spPr>
          <p:txBody>
            <a:bodyPr rtlCol="0" anchor="ctr"/>
            <a:lstStyle/>
            <a:p>
              <a:endParaRPr lang="hi-IN"/>
            </a:p>
          </p:txBody>
        </p:sp>
        <p:sp>
          <p:nvSpPr>
            <p:cNvPr id="1510" name="Freeform: Shape 509"/>
            <p:cNvSpPr/>
            <p:nvPr/>
          </p:nvSpPr>
          <p:spPr>
            <a:xfrm>
              <a:off x="11085594" y="5013038"/>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328"/>
                    <a:pt x="23900" y="11950"/>
                  </a:cubicBezTo>
                </a:path>
              </a:pathLst>
            </a:custGeom>
            <a:grpFill/>
            <a:ln w="7608" cap="flat">
              <a:noFill/>
              <a:prstDash val="solid"/>
              <a:miter/>
            </a:ln>
          </p:spPr>
          <p:txBody>
            <a:bodyPr rtlCol="0" anchor="ctr"/>
            <a:lstStyle/>
            <a:p>
              <a:endParaRPr lang="hi-IN"/>
            </a:p>
          </p:txBody>
        </p:sp>
        <p:sp>
          <p:nvSpPr>
            <p:cNvPr id="1511" name="Freeform: Shape 510"/>
            <p:cNvSpPr/>
            <p:nvPr/>
          </p:nvSpPr>
          <p:spPr>
            <a:xfrm>
              <a:off x="11114061" y="4838201"/>
              <a:ext cx="27096" cy="27097"/>
            </a:xfrm>
            <a:custGeom>
              <a:avLst/>
              <a:gdLst>
                <a:gd name="connsiteX0" fmla="*/ 27097 w 27096"/>
                <a:gd name="connsiteY0" fmla="*/ 13548 h 27097"/>
                <a:gd name="connsiteX1" fmla="*/ 13549 w 27096"/>
                <a:gd name="connsiteY1" fmla="*/ 27097 h 27097"/>
                <a:gd name="connsiteX2" fmla="*/ 0 w 27096"/>
                <a:gd name="connsiteY2" fmla="*/ 13548 h 27097"/>
                <a:gd name="connsiteX3" fmla="*/ 13549 w 27096"/>
                <a:gd name="connsiteY3" fmla="*/ 0 h 27097"/>
                <a:gd name="connsiteX4" fmla="*/ 27097 w 27096"/>
                <a:gd name="connsiteY4" fmla="*/ 13548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6" h="27097">
                  <a:moveTo>
                    <a:pt x="27097" y="13548"/>
                  </a:moveTo>
                  <a:cubicBezTo>
                    <a:pt x="27097" y="21084"/>
                    <a:pt x="21008" y="27097"/>
                    <a:pt x="13549" y="27097"/>
                  </a:cubicBezTo>
                  <a:cubicBezTo>
                    <a:pt x="6089" y="27097"/>
                    <a:pt x="0" y="21008"/>
                    <a:pt x="0" y="13548"/>
                  </a:cubicBezTo>
                  <a:cubicBezTo>
                    <a:pt x="0" y="6089"/>
                    <a:pt x="6089" y="0"/>
                    <a:pt x="13549" y="0"/>
                  </a:cubicBezTo>
                  <a:cubicBezTo>
                    <a:pt x="21008" y="0"/>
                    <a:pt x="27097" y="6089"/>
                    <a:pt x="27097" y="13548"/>
                  </a:cubicBezTo>
                </a:path>
              </a:pathLst>
            </a:custGeom>
            <a:grpFill/>
            <a:ln w="7608" cap="flat">
              <a:noFill/>
              <a:prstDash val="solid"/>
              <a:miter/>
            </a:ln>
          </p:spPr>
          <p:txBody>
            <a:bodyPr rtlCol="0" anchor="ctr"/>
            <a:lstStyle/>
            <a:p>
              <a:endParaRPr lang="hi-IN"/>
            </a:p>
          </p:txBody>
        </p:sp>
        <p:sp>
          <p:nvSpPr>
            <p:cNvPr id="1512" name="Freeform: Shape 511"/>
            <p:cNvSpPr/>
            <p:nvPr/>
          </p:nvSpPr>
          <p:spPr>
            <a:xfrm>
              <a:off x="11133166" y="4662069"/>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774" y="30446"/>
                    <a:pt x="0" y="23672"/>
                    <a:pt x="0" y="15223"/>
                  </a:cubicBezTo>
                  <a:cubicBezTo>
                    <a:pt x="0" y="6774"/>
                    <a:pt x="6774" y="0"/>
                    <a:pt x="15223" y="0"/>
                  </a:cubicBezTo>
                  <a:cubicBezTo>
                    <a:pt x="23672" y="0"/>
                    <a:pt x="30446" y="6774"/>
                    <a:pt x="30446" y="15223"/>
                  </a:cubicBezTo>
                </a:path>
              </a:pathLst>
            </a:custGeom>
            <a:grpFill/>
            <a:ln w="7608" cap="flat">
              <a:noFill/>
              <a:prstDash val="solid"/>
              <a:miter/>
            </a:ln>
          </p:spPr>
          <p:txBody>
            <a:bodyPr rtlCol="0" anchor="ctr"/>
            <a:lstStyle/>
            <a:p>
              <a:endParaRPr lang="hi-IN"/>
            </a:p>
          </p:txBody>
        </p:sp>
        <p:sp>
          <p:nvSpPr>
            <p:cNvPr id="1513" name="Freeform: Shape 512"/>
            <p:cNvSpPr/>
            <p:nvPr/>
          </p:nvSpPr>
          <p:spPr>
            <a:xfrm>
              <a:off x="11143213" y="4485100"/>
              <a:ext cx="33643" cy="33643"/>
            </a:xfrm>
            <a:custGeom>
              <a:avLst/>
              <a:gdLst>
                <a:gd name="connsiteX0" fmla="*/ 33643 w 33643"/>
                <a:gd name="connsiteY0" fmla="*/ 16822 h 33643"/>
                <a:gd name="connsiteX1" fmla="*/ 16822 w 33643"/>
                <a:gd name="connsiteY1" fmla="*/ 33643 h 33643"/>
                <a:gd name="connsiteX2" fmla="*/ 0 w 33643"/>
                <a:gd name="connsiteY2" fmla="*/ 16822 h 33643"/>
                <a:gd name="connsiteX3" fmla="*/ 16822 w 33643"/>
                <a:gd name="connsiteY3" fmla="*/ 1 h 33643"/>
                <a:gd name="connsiteX4" fmla="*/ 33643 w 33643"/>
                <a:gd name="connsiteY4" fmla="*/ 16822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3">
                  <a:moveTo>
                    <a:pt x="33643" y="16822"/>
                  </a:moveTo>
                  <a:cubicBezTo>
                    <a:pt x="33643" y="26108"/>
                    <a:pt x="26108" y="33643"/>
                    <a:pt x="16822" y="33643"/>
                  </a:cubicBezTo>
                  <a:cubicBezTo>
                    <a:pt x="7535" y="33643"/>
                    <a:pt x="0" y="26108"/>
                    <a:pt x="0" y="16822"/>
                  </a:cubicBezTo>
                  <a:cubicBezTo>
                    <a:pt x="0" y="7536"/>
                    <a:pt x="7535" y="1"/>
                    <a:pt x="16822" y="1"/>
                  </a:cubicBezTo>
                  <a:cubicBezTo>
                    <a:pt x="26108" y="-76"/>
                    <a:pt x="33643" y="7536"/>
                    <a:pt x="33643" y="16822"/>
                  </a:cubicBezTo>
                </a:path>
              </a:pathLst>
            </a:custGeom>
            <a:grpFill/>
            <a:ln w="7608" cap="flat">
              <a:noFill/>
              <a:prstDash val="solid"/>
              <a:miter/>
            </a:ln>
          </p:spPr>
          <p:txBody>
            <a:bodyPr rtlCol="0" anchor="ctr"/>
            <a:lstStyle/>
            <a:p>
              <a:endParaRPr lang="hi-IN"/>
            </a:p>
          </p:txBody>
        </p:sp>
        <p:sp>
          <p:nvSpPr>
            <p:cNvPr id="1514" name="Freeform: Shape 513"/>
            <p:cNvSpPr/>
            <p:nvPr/>
          </p:nvSpPr>
          <p:spPr>
            <a:xfrm>
              <a:off x="11143823" y="4307676"/>
              <a:ext cx="36991" cy="36991"/>
            </a:xfrm>
            <a:custGeom>
              <a:avLst/>
              <a:gdLst>
                <a:gd name="connsiteX0" fmla="*/ 36992 w 36991"/>
                <a:gd name="connsiteY0" fmla="*/ 18496 h 36991"/>
                <a:gd name="connsiteX1" fmla="*/ 18496 w 36991"/>
                <a:gd name="connsiteY1" fmla="*/ 36992 h 36991"/>
                <a:gd name="connsiteX2" fmla="*/ 0 w 36991"/>
                <a:gd name="connsiteY2" fmla="*/ 18496 h 36991"/>
                <a:gd name="connsiteX3" fmla="*/ 18496 w 36991"/>
                <a:gd name="connsiteY3" fmla="*/ 0 h 36991"/>
                <a:gd name="connsiteX4" fmla="*/ 36992 w 36991"/>
                <a:gd name="connsiteY4" fmla="*/ 18496 h 36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1">
                  <a:moveTo>
                    <a:pt x="36992" y="18496"/>
                  </a:moveTo>
                  <a:cubicBezTo>
                    <a:pt x="36992" y="28696"/>
                    <a:pt x="28695" y="36992"/>
                    <a:pt x="18496" y="36992"/>
                  </a:cubicBezTo>
                  <a:cubicBezTo>
                    <a:pt x="8296" y="36992"/>
                    <a:pt x="0" y="28771"/>
                    <a:pt x="0" y="18496"/>
                  </a:cubicBezTo>
                  <a:cubicBezTo>
                    <a:pt x="0" y="8221"/>
                    <a:pt x="8296" y="0"/>
                    <a:pt x="18496" y="0"/>
                  </a:cubicBezTo>
                  <a:cubicBezTo>
                    <a:pt x="28695" y="0"/>
                    <a:pt x="36992" y="8297"/>
                    <a:pt x="36992" y="18496"/>
                  </a:cubicBezTo>
                </a:path>
              </a:pathLst>
            </a:custGeom>
            <a:grpFill/>
            <a:ln w="7608" cap="flat">
              <a:noFill/>
              <a:prstDash val="solid"/>
              <a:miter/>
            </a:ln>
          </p:spPr>
          <p:txBody>
            <a:bodyPr rtlCol="0" anchor="ctr"/>
            <a:lstStyle/>
            <a:p>
              <a:endParaRPr lang="hi-IN"/>
            </a:p>
          </p:txBody>
        </p:sp>
        <p:sp>
          <p:nvSpPr>
            <p:cNvPr id="1515" name="Freeform: Shape 514"/>
            <p:cNvSpPr/>
            <p:nvPr/>
          </p:nvSpPr>
          <p:spPr>
            <a:xfrm>
              <a:off x="11134764" y="4129947"/>
              <a:ext cx="41254" cy="41254"/>
            </a:xfrm>
            <a:custGeom>
              <a:avLst/>
              <a:gdLst>
                <a:gd name="connsiteX0" fmla="*/ 41255 w 41254"/>
                <a:gd name="connsiteY0" fmla="*/ 20627 h 41254"/>
                <a:gd name="connsiteX1" fmla="*/ 20627 w 41254"/>
                <a:gd name="connsiteY1" fmla="*/ 41254 h 41254"/>
                <a:gd name="connsiteX2" fmla="*/ 0 w 41254"/>
                <a:gd name="connsiteY2" fmla="*/ 20627 h 41254"/>
                <a:gd name="connsiteX3" fmla="*/ 20627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4"/>
                    <a:pt x="32044" y="41254"/>
                    <a:pt x="20627" y="41254"/>
                  </a:cubicBezTo>
                  <a:cubicBezTo>
                    <a:pt x="9210" y="41254"/>
                    <a:pt x="0" y="32044"/>
                    <a:pt x="0" y="20627"/>
                  </a:cubicBezTo>
                  <a:cubicBezTo>
                    <a:pt x="0" y="9210"/>
                    <a:pt x="9210" y="0"/>
                    <a:pt x="20627" y="0"/>
                  </a:cubicBezTo>
                  <a:cubicBezTo>
                    <a:pt x="31968" y="0"/>
                    <a:pt x="41255" y="9210"/>
                    <a:pt x="41255" y="20627"/>
                  </a:cubicBezTo>
                </a:path>
              </a:pathLst>
            </a:custGeom>
            <a:grpFill/>
            <a:ln w="7608" cap="flat">
              <a:noFill/>
              <a:prstDash val="solid"/>
              <a:miter/>
            </a:ln>
          </p:spPr>
          <p:txBody>
            <a:bodyPr rtlCol="0" anchor="ctr"/>
            <a:lstStyle/>
            <a:p>
              <a:endParaRPr lang="hi-IN"/>
            </a:p>
          </p:txBody>
        </p:sp>
        <p:sp>
          <p:nvSpPr>
            <p:cNvPr id="1516" name="Freeform: Shape 515"/>
            <p:cNvSpPr/>
            <p:nvPr/>
          </p:nvSpPr>
          <p:spPr>
            <a:xfrm>
              <a:off x="11116801" y="3953283"/>
              <a:ext cx="44603" cy="44527"/>
            </a:xfrm>
            <a:custGeom>
              <a:avLst/>
              <a:gdLst>
                <a:gd name="connsiteX0" fmla="*/ 44604 w 44603"/>
                <a:gd name="connsiteY0" fmla="*/ 22226 h 44527"/>
                <a:gd name="connsiteX1" fmla="*/ 22302 w 44603"/>
                <a:gd name="connsiteY1" fmla="*/ 44527 h 44527"/>
                <a:gd name="connsiteX2" fmla="*/ 0 w 44603"/>
                <a:gd name="connsiteY2" fmla="*/ 22226 h 44527"/>
                <a:gd name="connsiteX3" fmla="*/ 22302 w 44603"/>
                <a:gd name="connsiteY3" fmla="*/ 0 h 44527"/>
                <a:gd name="connsiteX4" fmla="*/ 44604 w 44603"/>
                <a:gd name="connsiteY4" fmla="*/ 22226 h 44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03" h="44527">
                  <a:moveTo>
                    <a:pt x="44604" y="22226"/>
                  </a:moveTo>
                  <a:cubicBezTo>
                    <a:pt x="44604" y="34556"/>
                    <a:pt x="34633" y="44527"/>
                    <a:pt x="22302" y="44527"/>
                  </a:cubicBezTo>
                  <a:cubicBezTo>
                    <a:pt x="10047" y="44527"/>
                    <a:pt x="0" y="34556"/>
                    <a:pt x="0" y="22226"/>
                  </a:cubicBezTo>
                  <a:cubicBezTo>
                    <a:pt x="0" y="9971"/>
                    <a:pt x="9971" y="0"/>
                    <a:pt x="22302" y="0"/>
                  </a:cubicBezTo>
                  <a:cubicBezTo>
                    <a:pt x="34633" y="0"/>
                    <a:pt x="44604" y="9971"/>
                    <a:pt x="44604" y="22226"/>
                  </a:cubicBezTo>
                </a:path>
              </a:pathLst>
            </a:custGeom>
            <a:grpFill/>
            <a:ln w="7608" cap="flat">
              <a:noFill/>
              <a:prstDash val="solid"/>
              <a:miter/>
            </a:ln>
          </p:spPr>
          <p:txBody>
            <a:bodyPr rtlCol="0" anchor="ctr"/>
            <a:lstStyle/>
            <a:p>
              <a:endParaRPr lang="hi-IN"/>
            </a:p>
          </p:txBody>
        </p:sp>
        <p:sp>
          <p:nvSpPr>
            <p:cNvPr id="1517" name="Freeform: Shape 516"/>
            <p:cNvSpPr/>
            <p:nvPr/>
          </p:nvSpPr>
          <p:spPr>
            <a:xfrm>
              <a:off x="11089856" y="3777760"/>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144"/>
                    <a:pt x="0" y="23900"/>
                  </a:cubicBezTo>
                  <a:cubicBezTo>
                    <a:pt x="0" y="10732"/>
                    <a:pt x="10656" y="0"/>
                    <a:pt x="23900" y="0"/>
                  </a:cubicBezTo>
                  <a:cubicBezTo>
                    <a:pt x="37144" y="0"/>
                    <a:pt x="47801" y="10656"/>
                    <a:pt x="47801" y="23900"/>
                  </a:cubicBezTo>
                </a:path>
              </a:pathLst>
            </a:custGeom>
            <a:grpFill/>
            <a:ln w="7608" cap="flat">
              <a:noFill/>
              <a:prstDash val="solid"/>
              <a:miter/>
            </a:ln>
          </p:spPr>
          <p:txBody>
            <a:bodyPr rtlCol="0" anchor="ctr"/>
            <a:lstStyle/>
            <a:p>
              <a:endParaRPr lang="hi-IN"/>
            </a:p>
          </p:txBody>
        </p:sp>
        <p:sp>
          <p:nvSpPr>
            <p:cNvPr id="1518" name="Freeform: Shape 517"/>
            <p:cNvSpPr/>
            <p:nvPr/>
          </p:nvSpPr>
          <p:spPr>
            <a:xfrm>
              <a:off x="11053701" y="3603836"/>
              <a:ext cx="50997" cy="50997"/>
            </a:xfrm>
            <a:custGeom>
              <a:avLst/>
              <a:gdLst>
                <a:gd name="connsiteX0" fmla="*/ 50998 w 50997"/>
                <a:gd name="connsiteY0" fmla="*/ 25499 h 50997"/>
                <a:gd name="connsiteX1" fmla="*/ 25498 w 50997"/>
                <a:gd name="connsiteY1" fmla="*/ 50998 h 50997"/>
                <a:gd name="connsiteX2" fmla="*/ 0 w 50997"/>
                <a:gd name="connsiteY2" fmla="*/ 25499 h 50997"/>
                <a:gd name="connsiteX3" fmla="*/ 25498 w 50997"/>
                <a:gd name="connsiteY3" fmla="*/ 0 h 50997"/>
                <a:gd name="connsiteX4" fmla="*/ 50998 w 50997"/>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7" h="50997">
                  <a:moveTo>
                    <a:pt x="50998" y="25499"/>
                  </a:moveTo>
                  <a:cubicBezTo>
                    <a:pt x="50998" y="39580"/>
                    <a:pt x="39581" y="50998"/>
                    <a:pt x="25498" y="50998"/>
                  </a:cubicBezTo>
                  <a:cubicBezTo>
                    <a:pt x="11417" y="50998"/>
                    <a:pt x="0" y="39580"/>
                    <a:pt x="0" y="25499"/>
                  </a:cubicBezTo>
                  <a:cubicBezTo>
                    <a:pt x="0" y="11418"/>
                    <a:pt x="11417" y="0"/>
                    <a:pt x="25498" y="0"/>
                  </a:cubicBezTo>
                  <a:cubicBezTo>
                    <a:pt x="39581" y="-76"/>
                    <a:pt x="50998" y="11342"/>
                    <a:pt x="50998" y="25499"/>
                  </a:cubicBezTo>
                </a:path>
              </a:pathLst>
            </a:custGeom>
            <a:grpFill/>
            <a:ln w="7608" cap="flat">
              <a:noFill/>
              <a:prstDash val="solid"/>
              <a:miter/>
            </a:ln>
          </p:spPr>
          <p:txBody>
            <a:bodyPr rtlCol="0" anchor="ctr"/>
            <a:lstStyle/>
            <a:p>
              <a:endParaRPr lang="hi-IN"/>
            </a:p>
          </p:txBody>
        </p:sp>
        <p:sp>
          <p:nvSpPr>
            <p:cNvPr id="1519" name="Freeform: Shape 518"/>
            <p:cNvSpPr/>
            <p:nvPr/>
          </p:nvSpPr>
          <p:spPr>
            <a:xfrm>
              <a:off x="11008337" y="3431892"/>
              <a:ext cx="54346" cy="54346"/>
            </a:xfrm>
            <a:custGeom>
              <a:avLst/>
              <a:gdLst>
                <a:gd name="connsiteX0" fmla="*/ 54347 w 54346"/>
                <a:gd name="connsiteY0" fmla="*/ 27173 h 54346"/>
                <a:gd name="connsiteX1" fmla="*/ 27173 w 54346"/>
                <a:gd name="connsiteY1" fmla="*/ 54346 h 54346"/>
                <a:gd name="connsiteX2" fmla="*/ 0 w 54346"/>
                <a:gd name="connsiteY2" fmla="*/ 27173 h 54346"/>
                <a:gd name="connsiteX3" fmla="*/ 27173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6"/>
                    <a:pt x="27173" y="54346"/>
                  </a:cubicBezTo>
                  <a:cubicBezTo>
                    <a:pt x="12178" y="54346"/>
                    <a:pt x="0" y="42168"/>
                    <a:pt x="0" y="27173"/>
                  </a:cubicBezTo>
                  <a:cubicBezTo>
                    <a:pt x="0" y="12179"/>
                    <a:pt x="12178" y="0"/>
                    <a:pt x="27173" y="0"/>
                  </a:cubicBezTo>
                  <a:cubicBezTo>
                    <a:pt x="42168" y="0"/>
                    <a:pt x="54347" y="12179"/>
                    <a:pt x="54347" y="27173"/>
                  </a:cubicBezTo>
                </a:path>
              </a:pathLst>
            </a:custGeom>
            <a:grpFill/>
            <a:ln w="7608" cap="flat">
              <a:noFill/>
              <a:prstDash val="solid"/>
              <a:miter/>
            </a:ln>
          </p:spPr>
          <p:txBody>
            <a:bodyPr rtlCol="0" anchor="ctr"/>
            <a:lstStyle/>
            <a:p>
              <a:endParaRPr lang="hi-IN"/>
            </a:p>
          </p:txBody>
        </p:sp>
        <p:sp>
          <p:nvSpPr>
            <p:cNvPr id="1520" name="Freeform: Shape 519"/>
            <p:cNvSpPr/>
            <p:nvPr/>
          </p:nvSpPr>
          <p:spPr>
            <a:xfrm>
              <a:off x="10954751" y="3263068"/>
              <a:ext cx="56477" cy="56477"/>
            </a:xfrm>
            <a:custGeom>
              <a:avLst/>
              <a:gdLst>
                <a:gd name="connsiteX0" fmla="*/ 56478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8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8" y="28239"/>
                  </a:moveTo>
                  <a:cubicBezTo>
                    <a:pt x="56478" y="43842"/>
                    <a:pt x="43843" y="56478"/>
                    <a:pt x="28239" y="56478"/>
                  </a:cubicBezTo>
                  <a:cubicBezTo>
                    <a:pt x="12635" y="56478"/>
                    <a:pt x="0" y="43842"/>
                    <a:pt x="0" y="28239"/>
                  </a:cubicBezTo>
                  <a:cubicBezTo>
                    <a:pt x="0" y="12635"/>
                    <a:pt x="12635" y="0"/>
                    <a:pt x="28239" y="0"/>
                  </a:cubicBezTo>
                  <a:cubicBezTo>
                    <a:pt x="43843" y="0"/>
                    <a:pt x="56478" y="12635"/>
                    <a:pt x="56478" y="28239"/>
                  </a:cubicBezTo>
                </a:path>
              </a:pathLst>
            </a:custGeom>
            <a:grpFill/>
            <a:ln w="7608" cap="flat">
              <a:noFill/>
              <a:prstDash val="solid"/>
              <a:miter/>
            </a:ln>
          </p:spPr>
          <p:txBody>
            <a:bodyPr rtlCol="0" anchor="ctr"/>
            <a:lstStyle/>
            <a:p>
              <a:endParaRPr lang="hi-IN"/>
            </a:p>
          </p:txBody>
        </p:sp>
        <p:sp>
          <p:nvSpPr>
            <p:cNvPr id="1521" name="Freeform: Shape 520"/>
            <p:cNvSpPr/>
            <p:nvPr/>
          </p:nvSpPr>
          <p:spPr>
            <a:xfrm>
              <a:off x="10891880" y="3096756"/>
              <a:ext cx="59675" cy="59674"/>
            </a:xfrm>
            <a:custGeom>
              <a:avLst/>
              <a:gdLst>
                <a:gd name="connsiteX0" fmla="*/ 59675 w 59675"/>
                <a:gd name="connsiteY0" fmla="*/ 29837 h 59674"/>
                <a:gd name="connsiteX1" fmla="*/ 29838 w 59675"/>
                <a:gd name="connsiteY1" fmla="*/ 59674 h 59674"/>
                <a:gd name="connsiteX2" fmla="*/ 0 w 59675"/>
                <a:gd name="connsiteY2" fmla="*/ 29837 h 59674"/>
                <a:gd name="connsiteX3" fmla="*/ 29838 w 59675"/>
                <a:gd name="connsiteY3" fmla="*/ 0 h 59674"/>
                <a:gd name="connsiteX4" fmla="*/ 59675 w 59675"/>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5" h="59674">
                  <a:moveTo>
                    <a:pt x="59675" y="29837"/>
                  </a:moveTo>
                  <a:cubicBezTo>
                    <a:pt x="59675" y="46354"/>
                    <a:pt x="46279" y="59674"/>
                    <a:pt x="29838" y="59674"/>
                  </a:cubicBezTo>
                  <a:cubicBezTo>
                    <a:pt x="13320" y="59674"/>
                    <a:pt x="0" y="46278"/>
                    <a:pt x="0" y="29837"/>
                  </a:cubicBezTo>
                  <a:cubicBezTo>
                    <a:pt x="0" y="13320"/>
                    <a:pt x="13396" y="0"/>
                    <a:pt x="29838" y="0"/>
                  </a:cubicBezTo>
                  <a:cubicBezTo>
                    <a:pt x="46279" y="0"/>
                    <a:pt x="59675" y="13396"/>
                    <a:pt x="59675" y="29837"/>
                  </a:cubicBezTo>
                </a:path>
              </a:pathLst>
            </a:custGeom>
            <a:grpFill/>
            <a:ln w="7608" cap="flat">
              <a:noFill/>
              <a:prstDash val="solid"/>
              <a:miter/>
            </a:ln>
          </p:spPr>
          <p:txBody>
            <a:bodyPr rtlCol="0" anchor="ctr"/>
            <a:lstStyle/>
            <a:p>
              <a:endParaRPr lang="hi-IN"/>
            </a:p>
          </p:txBody>
        </p:sp>
        <p:sp>
          <p:nvSpPr>
            <p:cNvPr id="1522" name="Freeform: Shape 521"/>
            <p:cNvSpPr/>
            <p:nvPr/>
          </p:nvSpPr>
          <p:spPr>
            <a:xfrm>
              <a:off x="10820712" y="2934401"/>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523" name="Freeform: Shape 522"/>
            <p:cNvSpPr/>
            <p:nvPr/>
          </p:nvSpPr>
          <p:spPr>
            <a:xfrm>
              <a:off x="10741324" y="2776005"/>
              <a:ext cx="64088" cy="64089"/>
            </a:xfrm>
            <a:custGeom>
              <a:avLst/>
              <a:gdLst>
                <a:gd name="connsiteX0" fmla="*/ 64089 w 64088"/>
                <a:gd name="connsiteY0" fmla="*/ 32045 h 64089"/>
                <a:gd name="connsiteX1" fmla="*/ 32044 w 64088"/>
                <a:gd name="connsiteY1" fmla="*/ 64089 h 64089"/>
                <a:gd name="connsiteX2" fmla="*/ 0 w 64088"/>
                <a:gd name="connsiteY2" fmla="*/ 32045 h 64089"/>
                <a:gd name="connsiteX3" fmla="*/ 32044 w 64088"/>
                <a:gd name="connsiteY3" fmla="*/ 0 h 64089"/>
                <a:gd name="connsiteX4" fmla="*/ 64089 w 64088"/>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8" h="64089">
                  <a:moveTo>
                    <a:pt x="64089" y="32045"/>
                  </a:moveTo>
                  <a:cubicBezTo>
                    <a:pt x="64089" y="49703"/>
                    <a:pt x="49779" y="64089"/>
                    <a:pt x="32044" y="64089"/>
                  </a:cubicBezTo>
                  <a:cubicBezTo>
                    <a:pt x="14310" y="64089"/>
                    <a:pt x="0" y="49780"/>
                    <a:pt x="0" y="32045"/>
                  </a:cubicBezTo>
                  <a:cubicBezTo>
                    <a:pt x="0" y="14310"/>
                    <a:pt x="14310" y="0"/>
                    <a:pt x="32044" y="0"/>
                  </a:cubicBezTo>
                  <a:cubicBezTo>
                    <a:pt x="49779" y="0"/>
                    <a:pt x="64089" y="14310"/>
                    <a:pt x="64089" y="32045"/>
                  </a:cubicBezTo>
                </a:path>
              </a:pathLst>
            </a:custGeom>
            <a:grpFill/>
            <a:ln w="7608" cap="flat">
              <a:noFill/>
              <a:prstDash val="solid"/>
              <a:miter/>
            </a:ln>
          </p:spPr>
          <p:txBody>
            <a:bodyPr rtlCol="0" anchor="ctr"/>
            <a:lstStyle/>
            <a:p>
              <a:endParaRPr lang="hi-IN"/>
            </a:p>
          </p:txBody>
        </p:sp>
        <p:sp>
          <p:nvSpPr>
            <p:cNvPr id="1524" name="Freeform: Shape 523"/>
            <p:cNvSpPr/>
            <p:nvPr/>
          </p:nvSpPr>
          <p:spPr>
            <a:xfrm>
              <a:off x="10653792" y="2621948"/>
              <a:ext cx="66220" cy="66220"/>
            </a:xfrm>
            <a:custGeom>
              <a:avLst/>
              <a:gdLst>
                <a:gd name="connsiteX0" fmla="*/ 66220 w 66220"/>
                <a:gd name="connsiteY0" fmla="*/ 33110 h 66220"/>
                <a:gd name="connsiteX1" fmla="*/ 33110 w 66220"/>
                <a:gd name="connsiteY1" fmla="*/ 66221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1"/>
                    <a:pt x="33110" y="66221"/>
                  </a:cubicBezTo>
                  <a:cubicBezTo>
                    <a:pt x="14842" y="66221"/>
                    <a:pt x="0" y="51378"/>
                    <a:pt x="0" y="33110"/>
                  </a:cubicBezTo>
                  <a:cubicBezTo>
                    <a:pt x="0" y="14843"/>
                    <a:pt x="14842" y="0"/>
                    <a:pt x="33110" y="0"/>
                  </a:cubicBezTo>
                  <a:cubicBezTo>
                    <a:pt x="51378" y="0"/>
                    <a:pt x="66220" y="14843"/>
                    <a:pt x="66220" y="33110"/>
                  </a:cubicBezTo>
                </a:path>
              </a:pathLst>
            </a:custGeom>
            <a:grpFill/>
            <a:ln w="7608" cap="flat">
              <a:noFill/>
              <a:prstDash val="solid"/>
              <a:miter/>
            </a:ln>
          </p:spPr>
          <p:txBody>
            <a:bodyPr rtlCol="0" anchor="ctr"/>
            <a:lstStyle/>
            <a:p>
              <a:endParaRPr lang="hi-IN"/>
            </a:p>
          </p:txBody>
        </p:sp>
        <p:sp>
          <p:nvSpPr>
            <p:cNvPr id="1525" name="Freeform: Shape 524"/>
            <p:cNvSpPr/>
            <p:nvPr/>
          </p:nvSpPr>
          <p:spPr>
            <a:xfrm>
              <a:off x="10558723" y="2473218"/>
              <a:ext cx="67285" cy="67286"/>
            </a:xfrm>
            <a:custGeom>
              <a:avLst/>
              <a:gdLst>
                <a:gd name="connsiteX0" fmla="*/ 67286 w 67285"/>
                <a:gd name="connsiteY0" fmla="*/ 33643 h 67286"/>
                <a:gd name="connsiteX1" fmla="*/ 33642 w 67285"/>
                <a:gd name="connsiteY1" fmla="*/ 67286 h 67286"/>
                <a:gd name="connsiteX2" fmla="*/ 0 w 67285"/>
                <a:gd name="connsiteY2" fmla="*/ 33643 h 67286"/>
                <a:gd name="connsiteX3" fmla="*/ 33642 w 67285"/>
                <a:gd name="connsiteY3" fmla="*/ 0 h 67286"/>
                <a:gd name="connsiteX4" fmla="*/ 67286 w 67285"/>
                <a:gd name="connsiteY4" fmla="*/ 33643 h 67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5" h="67286">
                  <a:moveTo>
                    <a:pt x="67286" y="33643"/>
                  </a:moveTo>
                  <a:cubicBezTo>
                    <a:pt x="67286" y="52215"/>
                    <a:pt x="52215" y="67286"/>
                    <a:pt x="33642" y="67286"/>
                  </a:cubicBezTo>
                  <a:cubicBezTo>
                    <a:pt x="15071" y="67286"/>
                    <a:pt x="0" y="52215"/>
                    <a:pt x="0" y="33643"/>
                  </a:cubicBezTo>
                  <a:cubicBezTo>
                    <a:pt x="0" y="15071"/>
                    <a:pt x="15071" y="0"/>
                    <a:pt x="33642" y="0"/>
                  </a:cubicBezTo>
                  <a:cubicBezTo>
                    <a:pt x="52215" y="0"/>
                    <a:pt x="67286" y="15071"/>
                    <a:pt x="67286" y="33643"/>
                  </a:cubicBezTo>
                </a:path>
              </a:pathLst>
            </a:custGeom>
            <a:grpFill/>
            <a:ln w="7608" cap="flat">
              <a:noFill/>
              <a:prstDash val="solid"/>
              <a:miter/>
            </a:ln>
          </p:spPr>
          <p:txBody>
            <a:bodyPr rtlCol="0" anchor="ctr"/>
            <a:lstStyle/>
            <a:p>
              <a:endParaRPr lang="hi-IN"/>
            </a:p>
          </p:txBody>
        </p:sp>
        <p:sp>
          <p:nvSpPr>
            <p:cNvPr id="1526" name="Freeform: Shape 525"/>
            <p:cNvSpPr/>
            <p:nvPr/>
          </p:nvSpPr>
          <p:spPr>
            <a:xfrm>
              <a:off x="10455968" y="2329588"/>
              <a:ext cx="68427" cy="68503"/>
            </a:xfrm>
            <a:custGeom>
              <a:avLst/>
              <a:gdLst>
                <a:gd name="connsiteX0" fmla="*/ 68428 w 68427"/>
                <a:gd name="connsiteY0" fmla="*/ 34252 h 68503"/>
                <a:gd name="connsiteX1" fmla="*/ 34176 w 68427"/>
                <a:gd name="connsiteY1" fmla="*/ 68504 h 68503"/>
                <a:gd name="connsiteX2" fmla="*/ 0 w 68427"/>
                <a:gd name="connsiteY2" fmla="*/ 34252 h 68503"/>
                <a:gd name="connsiteX3" fmla="*/ 34176 w 68427"/>
                <a:gd name="connsiteY3" fmla="*/ 0 h 68503"/>
                <a:gd name="connsiteX4" fmla="*/ 68428 w 68427"/>
                <a:gd name="connsiteY4" fmla="*/ 34252 h 68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503">
                  <a:moveTo>
                    <a:pt x="68428" y="34252"/>
                  </a:moveTo>
                  <a:cubicBezTo>
                    <a:pt x="68428" y="53129"/>
                    <a:pt x="53128" y="68504"/>
                    <a:pt x="34176" y="68504"/>
                  </a:cubicBezTo>
                  <a:cubicBezTo>
                    <a:pt x="15298" y="68504"/>
                    <a:pt x="0" y="53205"/>
                    <a:pt x="0" y="34252"/>
                  </a:cubicBezTo>
                  <a:cubicBezTo>
                    <a:pt x="0" y="15375"/>
                    <a:pt x="15298" y="0"/>
                    <a:pt x="34176" y="0"/>
                  </a:cubicBezTo>
                  <a:cubicBezTo>
                    <a:pt x="53128" y="76"/>
                    <a:pt x="68428" y="15375"/>
                    <a:pt x="68428" y="34252"/>
                  </a:cubicBezTo>
                </a:path>
              </a:pathLst>
            </a:custGeom>
            <a:grpFill/>
            <a:ln w="7608" cap="flat">
              <a:noFill/>
              <a:prstDash val="solid"/>
              <a:miter/>
            </a:ln>
          </p:spPr>
          <p:txBody>
            <a:bodyPr rtlCol="0" anchor="ctr"/>
            <a:lstStyle/>
            <a:p>
              <a:endParaRPr lang="hi-IN"/>
            </a:p>
          </p:txBody>
        </p:sp>
        <p:sp>
          <p:nvSpPr>
            <p:cNvPr id="1527" name="Freeform: Shape 526"/>
            <p:cNvSpPr/>
            <p:nvPr/>
          </p:nvSpPr>
          <p:spPr>
            <a:xfrm>
              <a:off x="10345828" y="2191667"/>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3967" y="0"/>
                    <a:pt x="69570" y="15604"/>
                    <a:pt x="69570" y="34785"/>
                  </a:cubicBezTo>
                </a:path>
              </a:pathLst>
            </a:custGeom>
            <a:grpFill/>
            <a:ln w="7608" cap="flat">
              <a:noFill/>
              <a:prstDash val="solid"/>
              <a:miter/>
            </a:ln>
          </p:spPr>
          <p:txBody>
            <a:bodyPr rtlCol="0" anchor="ctr"/>
            <a:lstStyle/>
            <a:p>
              <a:endParaRPr lang="hi-IN"/>
            </a:p>
          </p:txBody>
        </p:sp>
        <p:sp>
          <p:nvSpPr>
            <p:cNvPr id="1528" name="Freeform: Shape 527"/>
            <p:cNvSpPr/>
            <p:nvPr/>
          </p:nvSpPr>
          <p:spPr>
            <a:xfrm>
              <a:off x="10228610" y="2059683"/>
              <a:ext cx="70635" cy="70635"/>
            </a:xfrm>
            <a:custGeom>
              <a:avLst/>
              <a:gdLst>
                <a:gd name="connsiteX0" fmla="*/ 70635 w 70635"/>
                <a:gd name="connsiteY0" fmla="*/ 35317 h 70635"/>
                <a:gd name="connsiteX1" fmla="*/ 35318 w 70635"/>
                <a:gd name="connsiteY1" fmla="*/ 70635 h 70635"/>
                <a:gd name="connsiteX2" fmla="*/ 0 w 70635"/>
                <a:gd name="connsiteY2" fmla="*/ 35317 h 70635"/>
                <a:gd name="connsiteX3" fmla="*/ 35318 w 70635"/>
                <a:gd name="connsiteY3" fmla="*/ 0 h 70635"/>
                <a:gd name="connsiteX4" fmla="*/ 70635 w 70635"/>
                <a:gd name="connsiteY4" fmla="*/ 35317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5" h="70635">
                  <a:moveTo>
                    <a:pt x="70635" y="35317"/>
                  </a:moveTo>
                  <a:cubicBezTo>
                    <a:pt x="70635" y="54803"/>
                    <a:pt x="54804" y="70635"/>
                    <a:pt x="35318" y="70635"/>
                  </a:cubicBezTo>
                  <a:cubicBezTo>
                    <a:pt x="15833" y="70635"/>
                    <a:pt x="0" y="54803"/>
                    <a:pt x="0" y="35317"/>
                  </a:cubicBezTo>
                  <a:cubicBezTo>
                    <a:pt x="0" y="15832"/>
                    <a:pt x="15833" y="0"/>
                    <a:pt x="35318" y="0"/>
                  </a:cubicBezTo>
                  <a:cubicBezTo>
                    <a:pt x="54804" y="76"/>
                    <a:pt x="70635" y="15832"/>
                    <a:pt x="70635" y="35317"/>
                  </a:cubicBezTo>
                </a:path>
              </a:pathLst>
            </a:custGeom>
            <a:grpFill/>
            <a:ln w="7608" cap="flat">
              <a:noFill/>
              <a:prstDash val="solid"/>
              <a:miter/>
            </a:ln>
          </p:spPr>
          <p:txBody>
            <a:bodyPr rtlCol="0" anchor="ctr"/>
            <a:lstStyle/>
            <a:p>
              <a:endParaRPr lang="hi-IN"/>
            </a:p>
          </p:txBody>
        </p:sp>
        <p:sp>
          <p:nvSpPr>
            <p:cNvPr id="1529" name="Freeform: Shape 528"/>
            <p:cNvSpPr/>
            <p:nvPr/>
          </p:nvSpPr>
          <p:spPr>
            <a:xfrm>
              <a:off x="10105151" y="1934625"/>
              <a:ext cx="70635" cy="70635"/>
            </a:xfrm>
            <a:custGeom>
              <a:avLst/>
              <a:gdLst>
                <a:gd name="connsiteX0" fmla="*/ 70635 w 70635"/>
                <a:gd name="connsiteY0" fmla="*/ 35318 h 70635"/>
                <a:gd name="connsiteX1" fmla="*/ 35318 w 70635"/>
                <a:gd name="connsiteY1" fmla="*/ 70635 h 70635"/>
                <a:gd name="connsiteX2" fmla="*/ 0 w 70635"/>
                <a:gd name="connsiteY2" fmla="*/ 35318 h 70635"/>
                <a:gd name="connsiteX3" fmla="*/ 35318 w 70635"/>
                <a:gd name="connsiteY3" fmla="*/ 0 h 70635"/>
                <a:gd name="connsiteX4" fmla="*/ 70635 w 70635"/>
                <a:gd name="connsiteY4" fmla="*/ 35318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5" h="70635">
                  <a:moveTo>
                    <a:pt x="70635" y="35318"/>
                  </a:moveTo>
                  <a:cubicBezTo>
                    <a:pt x="70635" y="54803"/>
                    <a:pt x="54804" y="70635"/>
                    <a:pt x="35318" y="70635"/>
                  </a:cubicBezTo>
                  <a:cubicBezTo>
                    <a:pt x="15833" y="70635"/>
                    <a:pt x="0" y="54803"/>
                    <a:pt x="0" y="35318"/>
                  </a:cubicBezTo>
                  <a:cubicBezTo>
                    <a:pt x="0" y="15832"/>
                    <a:pt x="15833" y="0"/>
                    <a:pt x="35318" y="0"/>
                  </a:cubicBezTo>
                  <a:cubicBezTo>
                    <a:pt x="54804" y="0"/>
                    <a:pt x="70635" y="15832"/>
                    <a:pt x="70635" y="35318"/>
                  </a:cubicBezTo>
                </a:path>
              </a:pathLst>
            </a:custGeom>
            <a:grpFill/>
            <a:ln w="7608" cap="flat">
              <a:noFill/>
              <a:prstDash val="solid"/>
              <a:miter/>
            </a:ln>
          </p:spPr>
          <p:txBody>
            <a:bodyPr rtlCol="0" anchor="ctr"/>
            <a:lstStyle/>
            <a:p>
              <a:endParaRPr lang="hi-IN"/>
            </a:p>
          </p:txBody>
        </p:sp>
        <p:sp>
          <p:nvSpPr>
            <p:cNvPr id="1530" name="Freeform: Shape 529"/>
            <p:cNvSpPr/>
            <p:nvPr/>
          </p:nvSpPr>
          <p:spPr>
            <a:xfrm>
              <a:off x="9975755" y="1816722"/>
              <a:ext cx="69569" cy="69569"/>
            </a:xfrm>
            <a:custGeom>
              <a:avLst/>
              <a:gdLst>
                <a:gd name="connsiteX0" fmla="*/ 69570 w 69569"/>
                <a:gd name="connsiteY0" fmla="*/ 34785 h 69569"/>
                <a:gd name="connsiteX1" fmla="*/ 34785 w 69569"/>
                <a:gd name="connsiteY1" fmla="*/ 69570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70"/>
                    <a:pt x="34785" y="69570"/>
                  </a:cubicBezTo>
                  <a:cubicBezTo>
                    <a:pt x="15604" y="69570"/>
                    <a:pt x="0" y="54042"/>
                    <a:pt x="0" y="34785"/>
                  </a:cubicBezTo>
                  <a:cubicBezTo>
                    <a:pt x="0" y="15604"/>
                    <a:pt x="15528" y="0"/>
                    <a:pt x="34785" y="0"/>
                  </a:cubicBezTo>
                  <a:cubicBezTo>
                    <a:pt x="54042" y="76"/>
                    <a:pt x="69570" y="15604"/>
                    <a:pt x="69570" y="34785"/>
                  </a:cubicBezTo>
                </a:path>
              </a:pathLst>
            </a:custGeom>
            <a:grpFill/>
            <a:ln w="7608" cap="flat">
              <a:noFill/>
              <a:prstDash val="solid"/>
              <a:miter/>
            </a:ln>
          </p:spPr>
          <p:txBody>
            <a:bodyPr rtlCol="0" anchor="ctr"/>
            <a:lstStyle/>
            <a:p>
              <a:endParaRPr lang="hi-IN"/>
            </a:p>
          </p:txBody>
        </p:sp>
        <p:sp>
          <p:nvSpPr>
            <p:cNvPr id="1531" name="Freeform: Shape 530"/>
            <p:cNvSpPr/>
            <p:nvPr/>
          </p:nvSpPr>
          <p:spPr>
            <a:xfrm>
              <a:off x="9839813" y="1705366"/>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4042" y="0"/>
                    <a:pt x="69570" y="15604"/>
                    <a:pt x="69570" y="34785"/>
                  </a:cubicBezTo>
                </a:path>
              </a:pathLst>
            </a:custGeom>
            <a:grpFill/>
            <a:ln w="7608" cap="flat">
              <a:noFill/>
              <a:prstDash val="solid"/>
              <a:miter/>
            </a:ln>
          </p:spPr>
          <p:txBody>
            <a:bodyPr rtlCol="0" anchor="ctr"/>
            <a:lstStyle/>
            <a:p>
              <a:endParaRPr lang="hi-IN"/>
            </a:p>
          </p:txBody>
        </p:sp>
        <p:sp>
          <p:nvSpPr>
            <p:cNvPr id="1532" name="Freeform: Shape 531"/>
            <p:cNvSpPr/>
            <p:nvPr/>
          </p:nvSpPr>
          <p:spPr>
            <a:xfrm>
              <a:off x="9698771" y="1601849"/>
              <a:ext cx="68427" cy="68503"/>
            </a:xfrm>
            <a:custGeom>
              <a:avLst/>
              <a:gdLst>
                <a:gd name="connsiteX0" fmla="*/ 68428 w 68427"/>
                <a:gd name="connsiteY0" fmla="*/ 34252 h 68503"/>
                <a:gd name="connsiteX1" fmla="*/ 34176 w 68427"/>
                <a:gd name="connsiteY1" fmla="*/ 68504 h 68503"/>
                <a:gd name="connsiteX2" fmla="*/ 0 w 68427"/>
                <a:gd name="connsiteY2" fmla="*/ 34252 h 68503"/>
                <a:gd name="connsiteX3" fmla="*/ 34176 w 68427"/>
                <a:gd name="connsiteY3" fmla="*/ 0 h 68503"/>
                <a:gd name="connsiteX4" fmla="*/ 68428 w 68427"/>
                <a:gd name="connsiteY4" fmla="*/ 34252 h 68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503">
                  <a:moveTo>
                    <a:pt x="68428" y="34252"/>
                  </a:moveTo>
                  <a:cubicBezTo>
                    <a:pt x="68428" y="53129"/>
                    <a:pt x="53129" y="68504"/>
                    <a:pt x="34176" y="68504"/>
                  </a:cubicBezTo>
                  <a:cubicBezTo>
                    <a:pt x="15299" y="68504"/>
                    <a:pt x="0" y="53205"/>
                    <a:pt x="0" y="34252"/>
                  </a:cubicBezTo>
                  <a:cubicBezTo>
                    <a:pt x="0" y="15375"/>
                    <a:pt x="15299" y="0"/>
                    <a:pt x="34176" y="0"/>
                  </a:cubicBezTo>
                  <a:cubicBezTo>
                    <a:pt x="53129" y="0"/>
                    <a:pt x="68428" y="15299"/>
                    <a:pt x="68428" y="34252"/>
                  </a:cubicBezTo>
                </a:path>
              </a:pathLst>
            </a:custGeom>
            <a:grpFill/>
            <a:ln w="7608" cap="flat">
              <a:noFill/>
              <a:prstDash val="solid"/>
              <a:miter/>
            </a:ln>
          </p:spPr>
          <p:txBody>
            <a:bodyPr rtlCol="0" anchor="ctr"/>
            <a:lstStyle/>
            <a:p>
              <a:endParaRPr lang="hi-IN"/>
            </a:p>
          </p:txBody>
        </p:sp>
        <p:sp>
          <p:nvSpPr>
            <p:cNvPr id="1533" name="Freeform: Shape 532"/>
            <p:cNvSpPr/>
            <p:nvPr/>
          </p:nvSpPr>
          <p:spPr>
            <a:xfrm>
              <a:off x="9552934" y="1506552"/>
              <a:ext cx="66220" cy="66220"/>
            </a:xfrm>
            <a:custGeom>
              <a:avLst/>
              <a:gdLst>
                <a:gd name="connsiteX0" fmla="*/ 66220 w 66220"/>
                <a:gd name="connsiteY0" fmla="*/ 33110 h 66220"/>
                <a:gd name="connsiteX1" fmla="*/ 33110 w 66220"/>
                <a:gd name="connsiteY1" fmla="*/ 66221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1"/>
                    <a:pt x="33110" y="66221"/>
                  </a:cubicBezTo>
                  <a:cubicBezTo>
                    <a:pt x="14842" y="66221"/>
                    <a:pt x="0" y="51378"/>
                    <a:pt x="0" y="33110"/>
                  </a:cubicBezTo>
                  <a:cubicBezTo>
                    <a:pt x="0" y="14843"/>
                    <a:pt x="14842" y="0"/>
                    <a:pt x="33110" y="0"/>
                  </a:cubicBezTo>
                  <a:cubicBezTo>
                    <a:pt x="51454" y="0"/>
                    <a:pt x="66220" y="14766"/>
                    <a:pt x="66220" y="33110"/>
                  </a:cubicBezTo>
                </a:path>
              </a:pathLst>
            </a:custGeom>
            <a:grpFill/>
            <a:ln w="7608" cap="flat">
              <a:noFill/>
              <a:prstDash val="solid"/>
              <a:miter/>
            </a:ln>
          </p:spPr>
          <p:txBody>
            <a:bodyPr rtlCol="0" anchor="ctr"/>
            <a:lstStyle/>
            <a:p>
              <a:endParaRPr lang="hi-IN"/>
            </a:p>
          </p:txBody>
        </p:sp>
        <p:sp>
          <p:nvSpPr>
            <p:cNvPr id="1534" name="Freeform: Shape 533"/>
            <p:cNvSpPr/>
            <p:nvPr/>
          </p:nvSpPr>
          <p:spPr>
            <a:xfrm>
              <a:off x="9402225" y="1419019"/>
              <a:ext cx="64089" cy="64089"/>
            </a:xfrm>
            <a:custGeom>
              <a:avLst/>
              <a:gdLst>
                <a:gd name="connsiteX0" fmla="*/ 64090 w 64089"/>
                <a:gd name="connsiteY0" fmla="*/ 32045 h 64089"/>
                <a:gd name="connsiteX1" fmla="*/ 32044 w 64089"/>
                <a:gd name="connsiteY1" fmla="*/ 64089 h 64089"/>
                <a:gd name="connsiteX2" fmla="*/ 0 w 64089"/>
                <a:gd name="connsiteY2" fmla="*/ 32045 h 64089"/>
                <a:gd name="connsiteX3" fmla="*/ 32044 w 64089"/>
                <a:gd name="connsiteY3" fmla="*/ 0 h 64089"/>
                <a:gd name="connsiteX4" fmla="*/ 64090 w 64089"/>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9" h="64089">
                  <a:moveTo>
                    <a:pt x="64090" y="32045"/>
                  </a:moveTo>
                  <a:cubicBezTo>
                    <a:pt x="64090" y="49703"/>
                    <a:pt x="49780" y="64089"/>
                    <a:pt x="32044" y="64089"/>
                  </a:cubicBezTo>
                  <a:cubicBezTo>
                    <a:pt x="14310" y="64089"/>
                    <a:pt x="0" y="49780"/>
                    <a:pt x="0" y="32045"/>
                  </a:cubicBezTo>
                  <a:cubicBezTo>
                    <a:pt x="0" y="14310"/>
                    <a:pt x="14310" y="0"/>
                    <a:pt x="32044" y="0"/>
                  </a:cubicBezTo>
                  <a:cubicBezTo>
                    <a:pt x="49704" y="0"/>
                    <a:pt x="64090" y="14386"/>
                    <a:pt x="64090" y="32045"/>
                  </a:cubicBezTo>
                </a:path>
              </a:pathLst>
            </a:custGeom>
            <a:grpFill/>
            <a:ln w="7608" cap="flat">
              <a:noFill/>
              <a:prstDash val="solid"/>
              <a:miter/>
            </a:ln>
          </p:spPr>
          <p:txBody>
            <a:bodyPr rtlCol="0" anchor="ctr"/>
            <a:lstStyle/>
            <a:p>
              <a:endParaRPr lang="hi-IN"/>
            </a:p>
          </p:txBody>
        </p:sp>
        <p:sp>
          <p:nvSpPr>
            <p:cNvPr id="1535" name="Freeform: Shape 534"/>
            <p:cNvSpPr/>
            <p:nvPr/>
          </p:nvSpPr>
          <p:spPr>
            <a:xfrm>
              <a:off x="9246950" y="1339707"/>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536" name="Freeform: Shape 535"/>
            <p:cNvSpPr/>
            <p:nvPr/>
          </p:nvSpPr>
          <p:spPr>
            <a:xfrm>
              <a:off x="9087868" y="1268768"/>
              <a:ext cx="59675" cy="59674"/>
            </a:xfrm>
            <a:custGeom>
              <a:avLst/>
              <a:gdLst>
                <a:gd name="connsiteX0" fmla="*/ 59675 w 59675"/>
                <a:gd name="connsiteY0" fmla="*/ 29837 h 59674"/>
                <a:gd name="connsiteX1" fmla="*/ 29838 w 59675"/>
                <a:gd name="connsiteY1" fmla="*/ 59674 h 59674"/>
                <a:gd name="connsiteX2" fmla="*/ 0 w 59675"/>
                <a:gd name="connsiteY2" fmla="*/ 29837 h 59674"/>
                <a:gd name="connsiteX3" fmla="*/ 29838 w 59675"/>
                <a:gd name="connsiteY3" fmla="*/ 0 h 59674"/>
                <a:gd name="connsiteX4" fmla="*/ 59675 w 59675"/>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5" h="59674">
                  <a:moveTo>
                    <a:pt x="59675" y="29837"/>
                  </a:moveTo>
                  <a:cubicBezTo>
                    <a:pt x="59675" y="46354"/>
                    <a:pt x="46279" y="59674"/>
                    <a:pt x="29838" y="59674"/>
                  </a:cubicBezTo>
                  <a:cubicBezTo>
                    <a:pt x="13320" y="59674"/>
                    <a:pt x="0" y="46278"/>
                    <a:pt x="0" y="29837"/>
                  </a:cubicBezTo>
                  <a:cubicBezTo>
                    <a:pt x="0" y="13320"/>
                    <a:pt x="13396" y="0"/>
                    <a:pt x="29838" y="0"/>
                  </a:cubicBezTo>
                  <a:cubicBezTo>
                    <a:pt x="46279" y="0"/>
                    <a:pt x="59675" y="13396"/>
                    <a:pt x="59675" y="29837"/>
                  </a:cubicBezTo>
                </a:path>
              </a:pathLst>
            </a:custGeom>
            <a:grpFill/>
            <a:ln w="7608" cap="flat">
              <a:noFill/>
              <a:prstDash val="solid"/>
              <a:miter/>
            </a:ln>
          </p:spPr>
          <p:txBody>
            <a:bodyPr rtlCol="0" anchor="ctr"/>
            <a:lstStyle/>
            <a:p>
              <a:endParaRPr lang="hi-IN"/>
            </a:p>
          </p:txBody>
        </p:sp>
        <p:sp>
          <p:nvSpPr>
            <p:cNvPr id="1537" name="Freeform: Shape 536"/>
            <p:cNvSpPr/>
            <p:nvPr/>
          </p:nvSpPr>
          <p:spPr>
            <a:xfrm>
              <a:off x="8924982" y="1206353"/>
              <a:ext cx="57542" cy="57543"/>
            </a:xfrm>
            <a:custGeom>
              <a:avLst/>
              <a:gdLst>
                <a:gd name="connsiteX0" fmla="*/ 57543 w 57542"/>
                <a:gd name="connsiteY0" fmla="*/ 28772 h 57543"/>
                <a:gd name="connsiteX1" fmla="*/ 28771 w 57542"/>
                <a:gd name="connsiteY1" fmla="*/ 57543 h 57543"/>
                <a:gd name="connsiteX2" fmla="*/ 0 w 57542"/>
                <a:gd name="connsiteY2" fmla="*/ 28772 h 57543"/>
                <a:gd name="connsiteX3" fmla="*/ 28771 w 57542"/>
                <a:gd name="connsiteY3" fmla="*/ 0 h 57543"/>
                <a:gd name="connsiteX4" fmla="*/ 57543 w 57542"/>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2" h="57543">
                  <a:moveTo>
                    <a:pt x="57543" y="28772"/>
                  </a:moveTo>
                  <a:cubicBezTo>
                    <a:pt x="57543" y="44680"/>
                    <a:pt x="44680" y="57543"/>
                    <a:pt x="28771" y="57543"/>
                  </a:cubicBezTo>
                  <a:cubicBezTo>
                    <a:pt x="12863" y="57543"/>
                    <a:pt x="0" y="44680"/>
                    <a:pt x="0" y="28772"/>
                  </a:cubicBezTo>
                  <a:cubicBezTo>
                    <a:pt x="0" y="12863"/>
                    <a:pt x="12863" y="0"/>
                    <a:pt x="28771" y="0"/>
                  </a:cubicBezTo>
                  <a:cubicBezTo>
                    <a:pt x="44680" y="0"/>
                    <a:pt x="57543" y="12863"/>
                    <a:pt x="57543" y="28772"/>
                  </a:cubicBezTo>
                </a:path>
              </a:pathLst>
            </a:custGeom>
            <a:grpFill/>
            <a:ln w="7608" cap="flat">
              <a:noFill/>
              <a:prstDash val="solid"/>
              <a:miter/>
            </a:ln>
          </p:spPr>
          <p:txBody>
            <a:bodyPr rtlCol="0" anchor="ctr"/>
            <a:lstStyle/>
            <a:p>
              <a:endParaRPr lang="hi-IN"/>
            </a:p>
          </p:txBody>
        </p:sp>
        <p:sp>
          <p:nvSpPr>
            <p:cNvPr id="1538" name="Freeform: Shape 537"/>
            <p:cNvSpPr/>
            <p:nvPr/>
          </p:nvSpPr>
          <p:spPr>
            <a:xfrm>
              <a:off x="8759050" y="1152692"/>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539" name="Freeform: Shape 538"/>
            <p:cNvSpPr/>
            <p:nvPr/>
          </p:nvSpPr>
          <p:spPr>
            <a:xfrm>
              <a:off x="8591064" y="1108469"/>
              <a:ext cx="52062" cy="52062"/>
            </a:xfrm>
            <a:custGeom>
              <a:avLst/>
              <a:gdLst>
                <a:gd name="connsiteX0" fmla="*/ 52063 w 52062"/>
                <a:gd name="connsiteY0" fmla="*/ 26031 h 52062"/>
                <a:gd name="connsiteX1" fmla="*/ 26031 w 52062"/>
                <a:gd name="connsiteY1" fmla="*/ 52063 h 52062"/>
                <a:gd name="connsiteX2" fmla="*/ 0 w 52062"/>
                <a:gd name="connsiteY2" fmla="*/ 26031 h 52062"/>
                <a:gd name="connsiteX3" fmla="*/ 26031 w 52062"/>
                <a:gd name="connsiteY3" fmla="*/ 0 h 52062"/>
                <a:gd name="connsiteX4" fmla="*/ 52063 w 52062"/>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62" h="52062">
                  <a:moveTo>
                    <a:pt x="52063" y="26031"/>
                  </a:moveTo>
                  <a:cubicBezTo>
                    <a:pt x="52063" y="40417"/>
                    <a:pt x="40417" y="52063"/>
                    <a:pt x="26031" y="52063"/>
                  </a:cubicBezTo>
                  <a:cubicBezTo>
                    <a:pt x="11645" y="52063"/>
                    <a:pt x="0" y="40417"/>
                    <a:pt x="0" y="26031"/>
                  </a:cubicBezTo>
                  <a:cubicBezTo>
                    <a:pt x="0" y="11646"/>
                    <a:pt x="11645" y="0"/>
                    <a:pt x="26031" y="0"/>
                  </a:cubicBezTo>
                  <a:cubicBezTo>
                    <a:pt x="40417" y="0"/>
                    <a:pt x="52063" y="11646"/>
                    <a:pt x="52063" y="26031"/>
                  </a:cubicBezTo>
                </a:path>
              </a:pathLst>
            </a:custGeom>
            <a:grpFill/>
            <a:ln w="7608" cap="flat">
              <a:noFill/>
              <a:prstDash val="solid"/>
              <a:miter/>
            </a:ln>
          </p:spPr>
          <p:txBody>
            <a:bodyPr rtlCol="0" anchor="ctr"/>
            <a:lstStyle/>
            <a:p>
              <a:endParaRPr lang="hi-IN"/>
            </a:p>
          </p:txBody>
        </p:sp>
        <p:sp>
          <p:nvSpPr>
            <p:cNvPr id="1540" name="Freeform: Shape 539"/>
            <p:cNvSpPr/>
            <p:nvPr/>
          </p:nvSpPr>
          <p:spPr>
            <a:xfrm>
              <a:off x="8420793" y="1073227"/>
              <a:ext cx="48865" cy="48866"/>
            </a:xfrm>
            <a:custGeom>
              <a:avLst/>
              <a:gdLst>
                <a:gd name="connsiteX0" fmla="*/ 48866 w 48865"/>
                <a:gd name="connsiteY0" fmla="*/ 24433 h 48866"/>
                <a:gd name="connsiteX1" fmla="*/ 24433 w 48865"/>
                <a:gd name="connsiteY1" fmla="*/ 48866 h 48866"/>
                <a:gd name="connsiteX2" fmla="*/ 0 w 48865"/>
                <a:gd name="connsiteY2" fmla="*/ 24433 h 48866"/>
                <a:gd name="connsiteX3" fmla="*/ 24433 w 48865"/>
                <a:gd name="connsiteY3" fmla="*/ 0 h 48866"/>
                <a:gd name="connsiteX4" fmla="*/ 48866 w 48865"/>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5" h="48866">
                  <a:moveTo>
                    <a:pt x="48866" y="24433"/>
                  </a:moveTo>
                  <a:cubicBezTo>
                    <a:pt x="48866" y="37905"/>
                    <a:pt x="37905" y="48866"/>
                    <a:pt x="24433" y="48866"/>
                  </a:cubicBezTo>
                  <a:cubicBezTo>
                    <a:pt x="10960" y="48866"/>
                    <a:pt x="0" y="37905"/>
                    <a:pt x="0" y="24433"/>
                  </a:cubicBezTo>
                  <a:cubicBezTo>
                    <a:pt x="0" y="10961"/>
                    <a:pt x="10960"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541" name="Freeform: Shape 540"/>
            <p:cNvSpPr/>
            <p:nvPr/>
          </p:nvSpPr>
          <p:spPr>
            <a:xfrm>
              <a:off x="8248848" y="104711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542" name="Freeform: Shape 541"/>
            <p:cNvSpPr/>
            <p:nvPr/>
          </p:nvSpPr>
          <p:spPr>
            <a:xfrm>
              <a:off x="8075762" y="1030297"/>
              <a:ext cx="42320" cy="42320"/>
            </a:xfrm>
            <a:custGeom>
              <a:avLst/>
              <a:gdLst>
                <a:gd name="connsiteX0" fmla="*/ 42321 w 42320"/>
                <a:gd name="connsiteY0" fmla="*/ 21161 h 42320"/>
                <a:gd name="connsiteX1" fmla="*/ 21160 w 42320"/>
                <a:gd name="connsiteY1" fmla="*/ 42321 h 42320"/>
                <a:gd name="connsiteX2" fmla="*/ 0 w 42320"/>
                <a:gd name="connsiteY2" fmla="*/ 21161 h 42320"/>
                <a:gd name="connsiteX3" fmla="*/ 21160 w 42320"/>
                <a:gd name="connsiteY3" fmla="*/ 0 h 42320"/>
                <a:gd name="connsiteX4" fmla="*/ 42321 w 42320"/>
                <a:gd name="connsiteY4" fmla="*/ 21161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1"/>
                  </a:moveTo>
                  <a:cubicBezTo>
                    <a:pt x="42321" y="32882"/>
                    <a:pt x="32806" y="42321"/>
                    <a:pt x="21160" y="42321"/>
                  </a:cubicBezTo>
                  <a:cubicBezTo>
                    <a:pt x="9438" y="42321"/>
                    <a:pt x="0" y="32806"/>
                    <a:pt x="0" y="21161"/>
                  </a:cubicBezTo>
                  <a:cubicBezTo>
                    <a:pt x="0" y="9439"/>
                    <a:pt x="9514" y="0"/>
                    <a:pt x="21160" y="0"/>
                  </a:cubicBezTo>
                  <a:cubicBezTo>
                    <a:pt x="32806" y="-76"/>
                    <a:pt x="42321" y="9439"/>
                    <a:pt x="42321" y="21161"/>
                  </a:cubicBezTo>
                </a:path>
              </a:pathLst>
            </a:custGeom>
            <a:grpFill/>
            <a:ln w="7608" cap="flat">
              <a:noFill/>
              <a:prstDash val="solid"/>
              <a:miter/>
            </a:ln>
          </p:spPr>
          <p:txBody>
            <a:bodyPr rtlCol="0" anchor="ctr"/>
            <a:lstStyle/>
            <a:p>
              <a:endParaRPr lang="hi-IN"/>
            </a:p>
          </p:txBody>
        </p:sp>
        <p:sp>
          <p:nvSpPr>
            <p:cNvPr id="1543" name="Freeform: Shape 542"/>
            <p:cNvSpPr/>
            <p:nvPr/>
          </p:nvSpPr>
          <p:spPr>
            <a:xfrm>
              <a:off x="7902370" y="1023143"/>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544" name="Freeform: Shape 543"/>
            <p:cNvSpPr/>
            <p:nvPr/>
          </p:nvSpPr>
          <p:spPr>
            <a:xfrm>
              <a:off x="7728295" y="1024818"/>
              <a:ext cx="34708" cy="34708"/>
            </a:xfrm>
            <a:custGeom>
              <a:avLst/>
              <a:gdLst>
                <a:gd name="connsiteX0" fmla="*/ 34709 w 34708"/>
                <a:gd name="connsiteY0" fmla="*/ 17354 h 34708"/>
                <a:gd name="connsiteX1" fmla="*/ 17354 w 34708"/>
                <a:gd name="connsiteY1" fmla="*/ 34709 h 34708"/>
                <a:gd name="connsiteX2" fmla="*/ 0 w 34708"/>
                <a:gd name="connsiteY2" fmla="*/ 17354 h 34708"/>
                <a:gd name="connsiteX3" fmla="*/ 17354 w 34708"/>
                <a:gd name="connsiteY3" fmla="*/ 0 h 34708"/>
                <a:gd name="connsiteX4" fmla="*/ 34709 w 34708"/>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8">
                  <a:moveTo>
                    <a:pt x="34709" y="17354"/>
                  </a:moveTo>
                  <a:cubicBezTo>
                    <a:pt x="34709" y="26945"/>
                    <a:pt x="26945" y="34709"/>
                    <a:pt x="17354" y="34709"/>
                  </a:cubicBezTo>
                  <a:cubicBezTo>
                    <a:pt x="7763" y="34709"/>
                    <a:pt x="0" y="26945"/>
                    <a:pt x="0" y="17354"/>
                  </a:cubicBezTo>
                  <a:cubicBezTo>
                    <a:pt x="0" y="7764"/>
                    <a:pt x="7763" y="0"/>
                    <a:pt x="17354" y="0"/>
                  </a:cubicBezTo>
                  <a:cubicBezTo>
                    <a:pt x="26945" y="0"/>
                    <a:pt x="34709" y="7764"/>
                    <a:pt x="34709" y="17354"/>
                  </a:cubicBezTo>
                </a:path>
              </a:pathLst>
            </a:custGeom>
            <a:grpFill/>
            <a:ln w="7608" cap="flat">
              <a:noFill/>
              <a:prstDash val="solid"/>
              <a:miter/>
            </a:ln>
          </p:spPr>
          <p:txBody>
            <a:bodyPr rtlCol="0" anchor="ctr"/>
            <a:lstStyle/>
            <a:p>
              <a:endParaRPr lang="hi-IN"/>
            </a:p>
          </p:txBody>
        </p:sp>
        <p:sp>
          <p:nvSpPr>
            <p:cNvPr id="1545" name="Freeform: Shape 544"/>
            <p:cNvSpPr/>
            <p:nvPr/>
          </p:nvSpPr>
          <p:spPr>
            <a:xfrm>
              <a:off x="7554371" y="1035702"/>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6" y="31512"/>
                  </a:cubicBezTo>
                  <a:cubicBezTo>
                    <a:pt x="7079" y="31512"/>
                    <a:pt x="0" y="24433"/>
                    <a:pt x="0" y="15756"/>
                  </a:cubicBezTo>
                  <a:cubicBezTo>
                    <a:pt x="0" y="7079"/>
                    <a:pt x="7079" y="0"/>
                    <a:pt x="15756" y="0"/>
                  </a:cubicBezTo>
                  <a:cubicBezTo>
                    <a:pt x="24433" y="0"/>
                    <a:pt x="31512" y="7003"/>
                    <a:pt x="31512" y="15756"/>
                  </a:cubicBezTo>
                </a:path>
              </a:pathLst>
            </a:custGeom>
            <a:grpFill/>
            <a:ln w="7608" cap="flat">
              <a:noFill/>
              <a:prstDash val="solid"/>
              <a:miter/>
            </a:ln>
          </p:spPr>
          <p:txBody>
            <a:bodyPr rtlCol="0" anchor="ctr"/>
            <a:lstStyle/>
            <a:p>
              <a:endParaRPr lang="hi-IN"/>
            </a:p>
          </p:txBody>
        </p:sp>
        <p:sp>
          <p:nvSpPr>
            <p:cNvPr id="1546" name="Freeform: Shape 545"/>
            <p:cNvSpPr/>
            <p:nvPr/>
          </p:nvSpPr>
          <p:spPr>
            <a:xfrm>
              <a:off x="7381284" y="1055797"/>
              <a:ext cx="28162" cy="28238"/>
            </a:xfrm>
            <a:custGeom>
              <a:avLst/>
              <a:gdLst>
                <a:gd name="connsiteX0" fmla="*/ 28163 w 28162"/>
                <a:gd name="connsiteY0" fmla="*/ 14157 h 28238"/>
                <a:gd name="connsiteX1" fmla="*/ 14082 w 28162"/>
                <a:gd name="connsiteY1" fmla="*/ 28239 h 28238"/>
                <a:gd name="connsiteX2" fmla="*/ 0 w 28162"/>
                <a:gd name="connsiteY2" fmla="*/ 14157 h 28238"/>
                <a:gd name="connsiteX3" fmla="*/ 14082 w 28162"/>
                <a:gd name="connsiteY3" fmla="*/ 0 h 28238"/>
                <a:gd name="connsiteX4" fmla="*/ 28163 w 28162"/>
                <a:gd name="connsiteY4" fmla="*/ 14157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238">
                  <a:moveTo>
                    <a:pt x="28163" y="14157"/>
                  </a:moveTo>
                  <a:cubicBezTo>
                    <a:pt x="28163" y="21921"/>
                    <a:pt x="21845" y="28239"/>
                    <a:pt x="14082" y="28239"/>
                  </a:cubicBezTo>
                  <a:cubicBezTo>
                    <a:pt x="6318" y="28239"/>
                    <a:pt x="0" y="21921"/>
                    <a:pt x="0" y="14157"/>
                  </a:cubicBezTo>
                  <a:cubicBezTo>
                    <a:pt x="0" y="6394"/>
                    <a:pt x="6318" y="0"/>
                    <a:pt x="14082" y="0"/>
                  </a:cubicBezTo>
                  <a:cubicBezTo>
                    <a:pt x="21845" y="76"/>
                    <a:pt x="28163" y="6394"/>
                    <a:pt x="28163" y="14157"/>
                  </a:cubicBezTo>
                </a:path>
              </a:pathLst>
            </a:custGeom>
            <a:grpFill/>
            <a:ln w="7608" cap="flat">
              <a:noFill/>
              <a:prstDash val="solid"/>
              <a:miter/>
            </a:ln>
          </p:spPr>
          <p:txBody>
            <a:bodyPr rtlCol="0" anchor="ctr"/>
            <a:lstStyle/>
            <a:p>
              <a:endParaRPr lang="hi-IN"/>
            </a:p>
          </p:txBody>
        </p:sp>
        <p:sp>
          <p:nvSpPr>
            <p:cNvPr id="1547" name="Freeform: Shape 546"/>
            <p:cNvSpPr/>
            <p:nvPr/>
          </p:nvSpPr>
          <p:spPr>
            <a:xfrm>
              <a:off x="7209873" y="1085710"/>
              <a:ext cx="23899" cy="23900"/>
            </a:xfrm>
            <a:custGeom>
              <a:avLst/>
              <a:gdLst>
                <a:gd name="connsiteX0" fmla="*/ 23900 w 23899"/>
                <a:gd name="connsiteY0" fmla="*/ 11950 h 23900"/>
                <a:gd name="connsiteX1" fmla="*/ 11950 w 23899"/>
                <a:gd name="connsiteY1" fmla="*/ 23900 h 23900"/>
                <a:gd name="connsiteX2" fmla="*/ 0 w 23899"/>
                <a:gd name="connsiteY2" fmla="*/ 11950 h 23900"/>
                <a:gd name="connsiteX3" fmla="*/ 11950 w 23899"/>
                <a:gd name="connsiteY3" fmla="*/ 0 h 23900"/>
                <a:gd name="connsiteX4" fmla="*/ 23900 w 23899"/>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9" h="23900">
                  <a:moveTo>
                    <a:pt x="23900" y="11950"/>
                  </a:moveTo>
                  <a:cubicBezTo>
                    <a:pt x="23900" y="18572"/>
                    <a:pt x="18572" y="23900"/>
                    <a:pt x="11950" y="23900"/>
                  </a:cubicBezTo>
                  <a:cubicBezTo>
                    <a:pt x="5328" y="23900"/>
                    <a:pt x="0" y="18572"/>
                    <a:pt x="0" y="11950"/>
                  </a:cubicBezTo>
                  <a:cubicBezTo>
                    <a:pt x="0" y="5328"/>
                    <a:pt x="5328" y="0"/>
                    <a:pt x="11950" y="0"/>
                  </a:cubicBezTo>
                  <a:cubicBezTo>
                    <a:pt x="18496" y="0"/>
                    <a:pt x="23900" y="5404"/>
                    <a:pt x="23900" y="11950"/>
                  </a:cubicBezTo>
                </a:path>
              </a:pathLst>
            </a:custGeom>
            <a:grpFill/>
            <a:ln w="7608" cap="flat">
              <a:noFill/>
              <a:prstDash val="solid"/>
              <a:miter/>
            </a:ln>
          </p:spPr>
          <p:txBody>
            <a:bodyPr rtlCol="0" anchor="ctr"/>
            <a:lstStyle/>
            <a:p>
              <a:endParaRPr lang="hi-IN"/>
            </a:p>
          </p:txBody>
        </p:sp>
        <p:sp>
          <p:nvSpPr>
            <p:cNvPr id="1548" name="Freeform: Shape 547"/>
            <p:cNvSpPr/>
            <p:nvPr/>
          </p:nvSpPr>
          <p:spPr>
            <a:xfrm>
              <a:off x="7039602" y="1124224"/>
              <a:ext cx="20627" cy="20627"/>
            </a:xfrm>
            <a:custGeom>
              <a:avLst/>
              <a:gdLst>
                <a:gd name="connsiteX0" fmla="*/ 20627 w 20627"/>
                <a:gd name="connsiteY0" fmla="*/ 10276 h 20627"/>
                <a:gd name="connsiteX1" fmla="*/ 10352 w 20627"/>
                <a:gd name="connsiteY1" fmla="*/ 20627 h 20627"/>
                <a:gd name="connsiteX2" fmla="*/ 0 w 20627"/>
                <a:gd name="connsiteY2" fmla="*/ 10276 h 20627"/>
                <a:gd name="connsiteX3" fmla="*/ 10352 w 20627"/>
                <a:gd name="connsiteY3" fmla="*/ 0 h 20627"/>
                <a:gd name="connsiteX4" fmla="*/ 20627 w 20627"/>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627">
                  <a:moveTo>
                    <a:pt x="20627" y="10276"/>
                  </a:moveTo>
                  <a:cubicBezTo>
                    <a:pt x="20627" y="15984"/>
                    <a:pt x="15985" y="20627"/>
                    <a:pt x="10352" y="20627"/>
                  </a:cubicBezTo>
                  <a:cubicBezTo>
                    <a:pt x="4643" y="20627"/>
                    <a:pt x="0" y="15984"/>
                    <a:pt x="0" y="10276"/>
                  </a:cubicBezTo>
                  <a:cubicBezTo>
                    <a:pt x="0" y="4567"/>
                    <a:pt x="4643" y="0"/>
                    <a:pt x="10352" y="0"/>
                  </a:cubicBezTo>
                  <a:cubicBezTo>
                    <a:pt x="16061" y="0"/>
                    <a:pt x="20627" y="4643"/>
                    <a:pt x="20627" y="10276"/>
                  </a:cubicBezTo>
                </a:path>
              </a:pathLst>
            </a:custGeom>
            <a:grpFill/>
            <a:ln w="7608" cap="flat">
              <a:noFill/>
              <a:prstDash val="solid"/>
              <a:miter/>
            </a:ln>
          </p:spPr>
          <p:txBody>
            <a:bodyPr rtlCol="0" anchor="ctr"/>
            <a:lstStyle/>
            <a:p>
              <a:endParaRPr lang="hi-IN"/>
            </a:p>
          </p:txBody>
        </p:sp>
        <p:sp>
          <p:nvSpPr>
            <p:cNvPr id="1549" name="Freeform: Shape 548"/>
            <p:cNvSpPr/>
            <p:nvPr/>
          </p:nvSpPr>
          <p:spPr>
            <a:xfrm>
              <a:off x="6871616" y="1171720"/>
              <a:ext cx="17354" cy="17354"/>
            </a:xfrm>
            <a:custGeom>
              <a:avLst/>
              <a:gdLst>
                <a:gd name="connsiteX0" fmla="*/ 17354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4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4" y="8677"/>
                  </a:moveTo>
                  <a:cubicBezTo>
                    <a:pt x="17354" y="13472"/>
                    <a:pt x="13472" y="17354"/>
                    <a:pt x="8677" y="17354"/>
                  </a:cubicBezTo>
                  <a:cubicBezTo>
                    <a:pt x="3881" y="17354"/>
                    <a:pt x="0" y="13472"/>
                    <a:pt x="0" y="8677"/>
                  </a:cubicBezTo>
                  <a:cubicBezTo>
                    <a:pt x="0" y="3882"/>
                    <a:pt x="3881" y="0"/>
                    <a:pt x="8677"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550" name="Freeform: Shape 549"/>
            <p:cNvSpPr/>
            <p:nvPr/>
          </p:nvSpPr>
          <p:spPr>
            <a:xfrm>
              <a:off x="6705684" y="1227513"/>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551" name="Freeform: Shape 550"/>
            <p:cNvSpPr/>
            <p:nvPr/>
          </p:nvSpPr>
          <p:spPr>
            <a:xfrm>
              <a:off x="6543406" y="1292668"/>
              <a:ext cx="11949" cy="11873"/>
            </a:xfrm>
            <a:custGeom>
              <a:avLst/>
              <a:gdLst>
                <a:gd name="connsiteX0" fmla="*/ 11950 w 11949"/>
                <a:gd name="connsiteY0" fmla="*/ 5937 h 11873"/>
                <a:gd name="connsiteX1" fmla="*/ 6013 w 11949"/>
                <a:gd name="connsiteY1" fmla="*/ 11874 h 11873"/>
                <a:gd name="connsiteX2" fmla="*/ 0 w 11949"/>
                <a:gd name="connsiteY2" fmla="*/ 5937 h 11873"/>
                <a:gd name="connsiteX3" fmla="*/ 6013 w 11949"/>
                <a:gd name="connsiteY3" fmla="*/ 0 h 11873"/>
                <a:gd name="connsiteX4" fmla="*/ 11950 w 11949"/>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3">
                  <a:moveTo>
                    <a:pt x="11950" y="5937"/>
                  </a:moveTo>
                  <a:cubicBezTo>
                    <a:pt x="11950" y="9210"/>
                    <a:pt x="9286" y="11874"/>
                    <a:pt x="6013" y="11874"/>
                  </a:cubicBezTo>
                  <a:cubicBezTo>
                    <a:pt x="2740" y="11874"/>
                    <a:pt x="0" y="9210"/>
                    <a:pt x="0" y="5937"/>
                  </a:cubicBezTo>
                  <a:cubicBezTo>
                    <a:pt x="0" y="2664"/>
                    <a:pt x="2664" y="0"/>
                    <a:pt x="6013"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552" name="Freeform: Shape 551"/>
            <p:cNvSpPr/>
            <p:nvPr/>
          </p:nvSpPr>
          <p:spPr>
            <a:xfrm>
              <a:off x="6384249" y="1365815"/>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131" y="9743"/>
                    <a:pt x="0" y="7535"/>
                    <a:pt x="0" y="4871"/>
                  </a:cubicBezTo>
                  <a:cubicBezTo>
                    <a:pt x="0" y="2207"/>
                    <a:pt x="2207"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553" name="Freeform: Shape 552"/>
            <p:cNvSpPr/>
            <p:nvPr/>
          </p:nvSpPr>
          <p:spPr>
            <a:xfrm>
              <a:off x="6228973" y="1447258"/>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554" name="Freeform: Shape 553"/>
            <p:cNvSpPr/>
            <p:nvPr/>
          </p:nvSpPr>
          <p:spPr>
            <a:xfrm>
              <a:off x="6078188" y="1536922"/>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555" name="Freeform: Shape 554"/>
            <p:cNvSpPr/>
            <p:nvPr/>
          </p:nvSpPr>
          <p:spPr>
            <a:xfrm>
              <a:off x="5931818" y="1633893"/>
              <a:ext cx="4414" cy="4414"/>
            </a:xfrm>
            <a:custGeom>
              <a:avLst/>
              <a:gdLst>
                <a:gd name="connsiteX0" fmla="*/ 4415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7" y="4415"/>
                  </a:cubicBezTo>
                  <a:cubicBezTo>
                    <a:pt x="990" y="4415"/>
                    <a:pt x="0" y="3425"/>
                    <a:pt x="0" y="2207"/>
                  </a:cubicBezTo>
                  <a:cubicBezTo>
                    <a:pt x="0" y="989"/>
                    <a:pt x="990" y="0"/>
                    <a:pt x="2207"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556" name="Freeform: Shape 555"/>
            <p:cNvSpPr/>
            <p:nvPr/>
          </p:nvSpPr>
          <p:spPr>
            <a:xfrm>
              <a:off x="5791385" y="1739085"/>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599" y="0"/>
                    <a:pt x="2131" y="457"/>
                    <a:pt x="2131" y="1066"/>
                  </a:cubicBezTo>
                </a:path>
              </a:pathLst>
            </a:custGeom>
            <a:grpFill/>
            <a:ln w="7608" cap="flat">
              <a:noFill/>
              <a:prstDash val="solid"/>
              <a:miter/>
            </a:ln>
          </p:spPr>
          <p:txBody>
            <a:bodyPr rtlCol="0" anchor="ctr"/>
            <a:lstStyle/>
            <a:p>
              <a:endParaRPr lang="hi-IN"/>
            </a:p>
          </p:txBody>
        </p:sp>
        <p:sp>
          <p:nvSpPr>
            <p:cNvPr id="1557" name="Freeform: Shape 556"/>
            <p:cNvSpPr/>
            <p:nvPr/>
          </p:nvSpPr>
          <p:spPr>
            <a:xfrm>
              <a:off x="10588408" y="6566782"/>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558" name="Freeform: Shape 557"/>
            <p:cNvSpPr/>
            <p:nvPr/>
          </p:nvSpPr>
          <p:spPr>
            <a:xfrm>
              <a:off x="10693904" y="6426121"/>
              <a:ext cx="3273" cy="3272"/>
            </a:xfrm>
            <a:custGeom>
              <a:avLst/>
              <a:gdLst>
                <a:gd name="connsiteX0" fmla="*/ 3273 w 3273"/>
                <a:gd name="connsiteY0" fmla="*/ 1674 h 3272"/>
                <a:gd name="connsiteX1" fmla="*/ 1599 w 3273"/>
                <a:gd name="connsiteY1" fmla="*/ 3273 h 3272"/>
                <a:gd name="connsiteX2" fmla="*/ 0 w 3273"/>
                <a:gd name="connsiteY2" fmla="*/ 1674 h 3272"/>
                <a:gd name="connsiteX3" fmla="*/ 1599 w 3273"/>
                <a:gd name="connsiteY3" fmla="*/ 0 h 3272"/>
                <a:gd name="connsiteX4" fmla="*/ 3273 w 3273"/>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 h="3272">
                  <a:moveTo>
                    <a:pt x="3273" y="1674"/>
                  </a:moveTo>
                  <a:cubicBezTo>
                    <a:pt x="3273" y="2588"/>
                    <a:pt x="2512" y="3273"/>
                    <a:pt x="1599" y="3273"/>
                  </a:cubicBezTo>
                  <a:cubicBezTo>
                    <a:pt x="686" y="3273"/>
                    <a:pt x="0" y="2512"/>
                    <a:pt x="0" y="1674"/>
                  </a:cubicBezTo>
                  <a:cubicBezTo>
                    <a:pt x="0" y="761"/>
                    <a:pt x="762" y="0"/>
                    <a:pt x="1599" y="0"/>
                  </a:cubicBezTo>
                  <a:cubicBezTo>
                    <a:pt x="2512" y="0"/>
                    <a:pt x="3273" y="761"/>
                    <a:pt x="3273" y="1674"/>
                  </a:cubicBezTo>
                </a:path>
              </a:pathLst>
            </a:custGeom>
            <a:grpFill/>
            <a:ln w="7608" cap="flat">
              <a:noFill/>
              <a:prstDash val="solid"/>
              <a:miter/>
            </a:ln>
          </p:spPr>
          <p:txBody>
            <a:bodyPr rtlCol="0" anchor="ctr"/>
            <a:lstStyle/>
            <a:p>
              <a:endParaRPr lang="hi-IN"/>
            </a:p>
          </p:txBody>
        </p:sp>
        <p:sp>
          <p:nvSpPr>
            <p:cNvPr id="1559" name="Freeform: Shape 558"/>
            <p:cNvSpPr/>
            <p:nvPr/>
          </p:nvSpPr>
          <p:spPr>
            <a:xfrm>
              <a:off x="10791789" y="6279827"/>
              <a:ext cx="5480" cy="5480"/>
            </a:xfrm>
            <a:custGeom>
              <a:avLst/>
              <a:gdLst>
                <a:gd name="connsiteX0" fmla="*/ 5480 w 5480"/>
                <a:gd name="connsiteY0" fmla="*/ 2741 h 5480"/>
                <a:gd name="connsiteX1" fmla="*/ 2740 w 5480"/>
                <a:gd name="connsiteY1" fmla="*/ 5481 h 5480"/>
                <a:gd name="connsiteX2" fmla="*/ 0 w 5480"/>
                <a:gd name="connsiteY2" fmla="*/ 2741 h 5480"/>
                <a:gd name="connsiteX3" fmla="*/ 2740 w 5480"/>
                <a:gd name="connsiteY3" fmla="*/ 0 h 5480"/>
                <a:gd name="connsiteX4" fmla="*/ 5480 w 5480"/>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1"/>
                  </a:moveTo>
                  <a:cubicBezTo>
                    <a:pt x="5480" y="4262"/>
                    <a:pt x="4262" y="5481"/>
                    <a:pt x="2740" y="5481"/>
                  </a:cubicBezTo>
                  <a:cubicBezTo>
                    <a:pt x="1217" y="5481"/>
                    <a:pt x="0" y="4262"/>
                    <a:pt x="0" y="2741"/>
                  </a:cubicBezTo>
                  <a:cubicBezTo>
                    <a:pt x="0" y="1218"/>
                    <a:pt x="1217" y="0"/>
                    <a:pt x="2740" y="0"/>
                  </a:cubicBezTo>
                  <a:cubicBezTo>
                    <a:pt x="4262" y="0"/>
                    <a:pt x="5480" y="1218"/>
                    <a:pt x="5480" y="2741"/>
                  </a:cubicBezTo>
                </a:path>
              </a:pathLst>
            </a:custGeom>
            <a:grpFill/>
            <a:ln w="7608" cap="flat">
              <a:noFill/>
              <a:prstDash val="solid"/>
              <a:miter/>
            </a:ln>
          </p:spPr>
          <p:txBody>
            <a:bodyPr rtlCol="0" anchor="ctr"/>
            <a:lstStyle/>
            <a:p>
              <a:endParaRPr lang="hi-IN"/>
            </a:p>
          </p:txBody>
        </p:sp>
        <p:sp>
          <p:nvSpPr>
            <p:cNvPr id="1560" name="Freeform: Shape 559"/>
            <p:cNvSpPr/>
            <p:nvPr/>
          </p:nvSpPr>
          <p:spPr>
            <a:xfrm>
              <a:off x="10882365" y="6128738"/>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4"/>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561" name="Freeform: Shape 560"/>
            <p:cNvSpPr/>
            <p:nvPr/>
          </p:nvSpPr>
          <p:spPr>
            <a:xfrm>
              <a:off x="10965408" y="5973310"/>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208" y="9743"/>
                    <a:pt x="0" y="7535"/>
                    <a:pt x="0" y="4871"/>
                  </a:cubicBezTo>
                  <a:cubicBezTo>
                    <a:pt x="0" y="2207"/>
                    <a:pt x="2208"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562" name="Freeform: Shape 561"/>
            <p:cNvSpPr/>
            <p:nvPr/>
          </p:nvSpPr>
          <p:spPr>
            <a:xfrm>
              <a:off x="11040534" y="5813923"/>
              <a:ext cx="11950" cy="11875"/>
            </a:xfrm>
            <a:custGeom>
              <a:avLst/>
              <a:gdLst>
                <a:gd name="connsiteX0" fmla="*/ 11951 w 11950"/>
                <a:gd name="connsiteY0" fmla="*/ 5938 h 11875"/>
                <a:gd name="connsiteX1" fmla="*/ 5937 w 11950"/>
                <a:gd name="connsiteY1" fmla="*/ 11876 h 11875"/>
                <a:gd name="connsiteX2" fmla="*/ 0 w 11950"/>
                <a:gd name="connsiteY2" fmla="*/ 5938 h 11875"/>
                <a:gd name="connsiteX3" fmla="*/ 5937 w 11950"/>
                <a:gd name="connsiteY3" fmla="*/ 2 h 11875"/>
                <a:gd name="connsiteX4" fmla="*/ 11951 w 11950"/>
                <a:gd name="connsiteY4" fmla="*/ 5938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5">
                  <a:moveTo>
                    <a:pt x="11951" y="5938"/>
                  </a:moveTo>
                  <a:cubicBezTo>
                    <a:pt x="11951" y="9211"/>
                    <a:pt x="9286" y="11876"/>
                    <a:pt x="5937" y="11876"/>
                  </a:cubicBezTo>
                  <a:cubicBezTo>
                    <a:pt x="2664" y="11876"/>
                    <a:pt x="0" y="9211"/>
                    <a:pt x="0" y="5938"/>
                  </a:cubicBezTo>
                  <a:cubicBezTo>
                    <a:pt x="0" y="2665"/>
                    <a:pt x="2664" y="2"/>
                    <a:pt x="5937" y="2"/>
                  </a:cubicBezTo>
                  <a:cubicBezTo>
                    <a:pt x="9286" y="-75"/>
                    <a:pt x="11951" y="2665"/>
                    <a:pt x="11951" y="5938"/>
                  </a:cubicBezTo>
                </a:path>
              </a:pathLst>
            </a:custGeom>
            <a:grpFill/>
            <a:ln w="7608" cap="flat">
              <a:noFill/>
              <a:prstDash val="solid"/>
              <a:miter/>
            </a:ln>
          </p:spPr>
          <p:txBody>
            <a:bodyPr rtlCol="0" anchor="ctr"/>
            <a:lstStyle/>
            <a:p>
              <a:endParaRPr lang="hi-IN"/>
            </a:p>
          </p:txBody>
        </p:sp>
        <p:sp>
          <p:nvSpPr>
            <p:cNvPr id="1563" name="Freeform: Shape 562"/>
            <p:cNvSpPr/>
            <p:nvPr/>
          </p:nvSpPr>
          <p:spPr>
            <a:xfrm>
              <a:off x="11107135" y="5650276"/>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6" y="15223"/>
                    <a:pt x="0" y="11798"/>
                    <a:pt x="0" y="7612"/>
                  </a:cubicBezTo>
                  <a:cubicBezTo>
                    <a:pt x="0" y="3425"/>
                    <a:pt x="3426"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564" name="Freeform: Shape 563"/>
            <p:cNvSpPr/>
            <p:nvPr/>
          </p:nvSpPr>
          <p:spPr>
            <a:xfrm>
              <a:off x="11166200" y="5484040"/>
              <a:ext cx="17354" cy="17354"/>
            </a:xfrm>
            <a:custGeom>
              <a:avLst/>
              <a:gdLst>
                <a:gd name="connsiteX0" fmla="*/ 17355 w 17354"/>
                <a:gd name="connsiteY0" fmla="*/ 8677 h 17354"/>
                <a:gd name="connsiteX1" fmla="*/ 8677 w 17354"/>
                <a:gd name="connsiteY1" fmla="*/ 17355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5"/>
                    <a:pt x="8677" y="17355"/>
                  </a:cubicBezTo>
                  <a:cubicBezTo>
                    <a:pt x="3882" y="17355"/>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565" name="Freeform: Shape 564"/>
            <p:cNvSpPr/>
            <p:nvPr/>
          </p:nvSpPr>
          <p:spPr>
            <a:xfrm>
              <a:off x="11216360" y="5314455"/>
              <a:ext cx="20627" cy="20703"/>
            </a:xfrm>
            <a:custGeom>
              <a:avLst/>
              <a:gdLst>
                <a:gd name="connsiteX0" fmla="*/ 20628 w 20627"/>
                <a:gd name="connsiteY0" fmla="*/ 10352 h 20703"/>
                <a:gd name="connsiteX1" fmla="*/ 10352 w 20627"/>
                <a:gd name="connsiteY1" fmla="*/ 20703 h 20703"/>
                <a:gd name="connsiteX2" fmla="*/ 0 w 20627"/>
                <a:gd name="connsiteY2" fmla="*/ 10352 h 20703"/>
                <a:gd name="connsiteX3" fmla="*/ 10352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0"/>
                    <a:pt x="15985" y="20703"/>
                    <a:pt x="10352" y="20703"/>
                  </a:cubicBezTo>
                  <a:cubicBezTo>
                    <a:pt x="4643" y="20703"/>
                    <a:pt x="0" y="16060"/>
                    <a:pt x="0" y="10352"/>
                  </a:cubicBezTo>
                  <a:cubicBezTo>
                    <a:pt x="0" y="4643"/>
                    <a:pt x="4643" y="0"/>
                    <a:pt x="10352" y="0"/>
                  </a:cubicBezTo>
                  <a:cubicBezTo>
                    <a:pt x="16060" y="0"/>
                    <a:pt x="20628" y="4643"/>
                    <a:pt x="20628" y="10352"/>
                  </a:cubicBezTo>
                </a:path>
              </a:pathLst>
            </a:custGeom>
            <a:grpFill/>
            <a:ln w="7608" cap="flat">
              <a:noFill/>
              <a:prstDash val="solid"/>
              <a:miter/>
            </a:ln>
          </p:spPr>
          <p:txBody>
            <a:bodyPr rtlCol="0" anchor="ctr"/>
            <a:lstStyle/>
            <a:p>
              <a:endParaRPr lang="hi-IN"/>
            </a:p>
          </p:txBody>
        </p:sp>
        <p:sp>
          <p:nvSpPr>
            <p:cNvPr id="1566" name="Freeform: Shape 565"/>
            <p:cNvSpPr/>
            <p:nvPr/>
          </p:nvSpPr>
          <p:spPr>
            <a:xfrm>
              <a:off x="11258147" y="5142510"/>
              <a:ext cx="23900" cy="23900"/>
            </a:xfrm>
            <a:custGeom>
              <a:avLst/>
              <a:gdLst>
                <a:gd name="connsiteX0" fmla="*/ 23900 w 23900"/>
                <a:gd name="connsiteY0" fmla="*/ 11950 h 23900"/>
                <a:gd name="connsiteX1" fmla="*/ 11951 w 23900"/>
                <a:gd name="connsiteY1" fmla="*/ 23900 h 23900"/>
                <a:gd name="connsiteX2" fmla="*/ 0 w 23900"/>
                <a:gd name="connsiteY2" fmla="*/ 11950 h 23900"/>
                <a:gd name="connsiteX3" fmla="*/ 11951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3" y="23900"/>
                    <a:pt x="11951" y="23900"/>
                  </a:cubicBezTo>
                  <a:cubicBezTo>
                    <a:pt x="5329" y="23900"/>
                    <a:pt x="0" y="18572"/>
                    <a:pt x="0" y="11950"/>
                  </a:cubicBezTo>
                  <a:cubicBezTo>
                    <a:pt x="0" y="5328"/>
                    <a:pt x="5329" y="0"/>
                    <a:pt x="11951" y="0"/>
                  </a:cubicBezTo>
                  <a:cubicBezTo>
                    <a:pt x="18496" y="0"/>
                    <a:pt x="23900" y="5404"/>
                    <a:pt x="23900" y="11950"/>
                  </a:cubicBezTo>
                </a:path>
              </a:pathLst>
            </a:custGeom>
            <a:grpFill/>
            <a:ln w="7608" cap="flat">
              <a:noFill/>
              <a:prstDash val="solid"/>
              <a:miter/>
            </a:ln>
          </p:spPr>
          <p:txBody>
            <a:bodyPr rtlCol="0" anchor="ctr"/>
            <a:lstStyle/>
            <a:p>
              <a:endParaRPr lang="hi-IN"/>
            </a:p>
          </p:txBody>
        </p:sp>
        <p:sp>
          <p:nvSpPr>
            <p:cNvPr id="1567" name="Freeform: Shape 566"/>
            <p:cNvSpPr/>
            <p:nvPr/>
          </p:nvSpPr>
          <p:spPr>
            <a:xfrm>
              <a:off x="11290877" y="4968129"/>
              <a:ext cx="28162" cy="28163"/>
            </a:xfrm>
            <a:custGeom>
              <a:avLst/>
              <a:gdLst>
                <a:gd name="connsiteX0" fmla="*/ 28162 w 28162"/>
                <a:gd name="connsiteY0" fmla="*/ 14082 h 28163"/>
                <a:gd name="connsiteX1" fmla="*/ 14081 w 28162"/>
                <a:gd name="connsiteY1" fmla="*/ 28163 h 28163"/>
                <a:gd name="connsiteX2" fmla="*/ 0 w 28162"/>
                <a:gd name="connsiteY2" fmla="*/ 14082 h 28163"/>
                <a:gd name="connsiteX3" fmla="*/ 14081 w 28162"/>
                <a:gd name="connsiteY3" fmla="*/ 1 h 28163"/>
                <a:gd name="connsiteX4" fmla="*/ 28162 w 28162"/>
                <a:gd name="connsiteY4" fmla="*/ 14082 h 28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163">
                  <a:moveTo>
                    <a:pt x="28162" y="14082"/>
                  </a:moveTo>
                  <a:cubicBezTo>
                    <a:pt x="28162" y="21846"/>
                    <a:pt x="21845" y="28163"/>
                    <a:pt x="14081" y="28163"/>
                  </a:cubicBezTo>
                  <a:cubicBezTo>
                    <a:pt x="6317" y="28163"/>
                    <a:pt x="0" y="21846"/>
                    <a:pt x="0" y="14082"/>
                  </a:cubicBezTo>
                  <a:cubicBezTo>
                    <a:pt x="0" y="6318"/>
                    <a:pt x="6317" y="1"/>
                    <a:pt x="14081" y="1"/>
                  </a:cubicBezTo>
                  <a:cubicBezTo>
                    <a:pt x="21845" y="-76"/>
                    <a:pt x="28162" y="6242"/>
                    <a:pt x="28162" y="14082"/>
                  </a:cubicBezTo>
                </a:path>
              </a:pathLst>
            </a:custGeom>
            <a:grpFill/>
            <a:ln w="7608" cap="flat">
              <a:noFill/>
              <a:prstDash val="solid"/>
              <a:miter/>
            </a:ln>
          </p:spPr>
          <p:txBody>
            <a:bodyPr rtlCol="0" anchor="ctr"/>
            <a:lstStyle/>
            <a:p>
              <a:endParaRPr lang="hi-IN"/>
            </a:p>
          </p:txBody>
        </p:sp>
        <p:sp>
          <p:nvSpPr>
            <p:cNvPr id="1568" name="Freeform: Shape 567"/>
            <p:cNvSpPr/>
            <p:nvPr/>
          </p:nvSpPr>
          <p:spPr>
            <a:xfrm>
              <a:off x="11315310" y="4792683"/>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4" y="31512"/>
                    <a:pt x="15756" y="31512"/>
                  </a:cubicBezTo>
                  <a:cubicBezTo>
                    <a:pt x="7079" y="31512"/>
                    <a:pt x="0" y="24433"/>
                    <a:pt x="0" y="15756"/>
                  </a:cubicBezTo>
                  <a:cubicBezTo>
                    <a:pt x="0" y="7079"/>
                    <a:pt x="7079" y="0"/>
                    <a:pt x="15756" y="0"/>
                  </a:cubicBezTo>
                  <a:cubicBezTo>
                    <a:pt x="24510" y="0"/>
                    <a:pt x="31512" y="7003"/>
                    <a:pt x="31512" y="15756"/>
                  </a:cubicBezTo>
                </a:path>
              </a:pathLst>
            </a:custGeom>
            <a:grpFill/>
            <a:ln w="7608" cap="flat">
              <a:noFill/>
              <a:prstDash val="solid"/>
              <a:miter/>
            </a:ln>
          </p:spPr>
          <p:txBody>
            <a:bodyPr rtlCol="0" anchor="ctr"/>
            <a:lstStyle/>
            <a:p>
              <a:endParaRPr lang="hi-IN"/>
            </a:p>
          </p:txBody>
        </p:sp>
        <p:sp>
          <p:nvSpPr>
            <p:cNvPr id="1569" name="Freeform: Shape 568"/>
            <p:cNvSpPr/>
            <p:nvPr/>
          </p:nvSpPr>
          <p:spPr>
            <a:xfrm>
              <a:off x="11331295" y="4616172"/>
              <a:ext cx="34708" cy="34709"/>
            </a:xfrm>
            <a:custGeom>
              <a:avLst/>
              <a:gdLst>
                <a:gd name="connsiteX0" fmla="*/ 34708 w 34708"/>
                <a:gd name="connsiteY0" fmla="*/ 17355 h 34709"/>
                <a:gd name="connsiteX1" fmla="*/ 17354 w 34708"/>
                <a:gd name="connsiteY1" fmla="*/ 34709 h 34709"/>
                <a:gd name="connsiteX2" fmla="*/ 0 w 34708"/>
                <a:gd name="connsiteY2" fmla="*/ 17355 h 34709"/>
                <a:gd name="connsiteX3" fmla="*/ 17354 w 34708"/>
                <a:gd name="connsiteY3" fmla="*/ 0 h 34709"/>
                <a:gd name="connsiteX4" fmla="*/ 34708 w 34708"/>
                <a:gd name="connsiteY4" fmla="*/ 17355 h 3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9">
                  <a:moveTo>
                    <a:pt x="34708" y="17355"/>
                  </a:moveTo>
                  <a:cubicBezTo>
                    <a:pt x="34708" y="26945"/>
                    <a:pt x="26944" y="34709"/>
                    <a:pt x="17354" y="34709"/>
                  </a:cubicBezTo>
                  <a:cubicBezTo>
                    <a:pt x="7763" y="34709"/>
                    <a:pt x="0" y="26945"/>
                    <a:pt x="0" y="17355"/>
                  </a:cubicBezTo>
                  <a:cubicBezTo>
                    <a:pt x="0" y="7764"/>
                    <a:pt x="7763" y="0"/>
                    <a:pt x="17354" y="0"/>
                  </a:cubicBezTo>
                  <a:cubicBezTo>
                    <a:pt x="26868" y="0"/>
                    <a:pt x="34708" y="7764"/>
                    <a:pt x="34708" y="17355"/>
                  </a:cubicBezTo>
                </a:path>
              </a:pathLst>
            </a:custGeom>
            <a:grpFill/>
            <a:ln w="7608" cap="flat">
              <a:noFill/>
              <a:prstDash val="solid"/>
              <a:miter/>
            </a:ln>
          </p:spPr>
          <p:txBody>
            <a:bodyPr rtlCol="0" anchor="ctr"/>
            <a:lstStyle/>
            <a:p>
              <a:endParaRPr lang="hi-IN"/>
            </a:p>
          </p:txBody>
        </p:sp>
        <p:sp>
          <p:nvSpPr>
            <p:cNvPr id="1570" name="Freeform: Shape 569"/>
            <p:cNvSpPr/>
            <p:nvPr/>
          </p:nvSpPr>
          <p:spPr>
            <a:xfrm>
              <a:off x="11337765" y="4438442"/>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571" name="Freeform: Shape 570"/>
            <p:cNvSpPr/>
            <p:nvPr/>
          </p:nvSpPr>
          <p:spPr>
            <a:xfrm>
              <a:off x="11336242" y="4261093"/>
              <a:ext cx="42320" cy="42320"/>
            </a:xfrm>
            <a:custGeom>
              <a:avLst/>
              <a:gdLst>
                <a:gd name="connsiteX0" fmla="*/ 42321 w 42320"/>
                <a:gd name="connsiteY0" fmla="*/ 21160 h 42320"/>
                <a:gd name="connsiteX1" fmla="*/ 21160 w 42320"/>
                <a:gd name="connsiteY1" fmla="*/ 42321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1"/>
                    <a:pt x="21160" y="42321"/>
                  </a:cubicBezTo>
                  <a:cubicBezTo>
                    <a:pt x="9438" y="42321"/>
                    <a:pt x="0" y="32806"/>
                    <a:pt x="0" y="21160"/>
                  </a:cubicBezTo>
                  <a:cubicBezTo>
                    <a:pt x="0" y="9439"/>
                    <a:pt x="9514" y="0"/>
                    <a:pt x="21160" y="0"/>
                  </a:cubicBezTo>
                  <a:cubicBezTo>
                    <a:pt x="32806" y="-76"/>
                    <a:pt x="42321" y="9439"/>
                    <a:pt x="42321" y="21160"/>
                  </a:cubicBezTo>
                </a:path>
              </a:pathLst>
            </a:custGeom>
            <a:grpFill/>
            <a:ln w="7608" cap="flat">
              <a:noFill/>
              <a:prstDash val="solid"/>
              <a:miter/>
            </a:ln>
          </p:spPr>
          <p:txBody>
            <a:bodyPr rtlCol="0" anchor="ctr"/>
            <a:lstStyle/>
            <a:p>
              <a:endParaRPr lang="hi-IN"/>
            </a:p>
          </p:txBody>
        </p:sp>
        <p:sp>
          <p:nvSpPr>
            <p:cNvPr id="1572" name="Freeform: Shape 571"/>
            <p:cNvSpPr/>
            <p:nvPr/>
          </p:nvSpPr>
          <p:spPr>
            <a:xfrm>
              <a:off x="11325738" y="4083821"/>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76"/>
                    <a:pt x="45669" y="10275"/>
                    <a:pt x="45669" y="22835"/>
                  </a:cubicBezTo>
                </a:path>
              </a:pathLst>
            </a:custGeom>
            <a:grpFill/>
            <a:ln w="7608" cap="flat">
              <a:noFill/>
              <a:prstDash val="solid"/>
              <a:miter/>
            </a:ln>
          </p:spPr>
          <p:txBody>
            <a:bodyPr rtlCol="0" anchor="ctr"/>
            <a:lstStyle/>
            <a:p>
              <a:endParaRPr lang="hi-IN"/>
            </a:p>
          </p:txBody>
        </p:sp>
        <p:sp>
          <p:nvSpPr>
            <p:cNvPr id="1573" name="Freeform: Shape 572"/>
            <p:cNvSpPr/>
            <p:nvPr/>
          </p:nvSpPr>
          <p:spPr>
            <a:xfrm>
              <a:off x="11306177" y="3906852"/>
              <a:ext cx="49931" cy="49931"/>
            </a:xfrm>
            <a:custGeom>
              <a:avLst/>
              <a:gdLst>
                <a:gd name="connsiteX0" fmla="*/ 49931 w 49931"/>
                <a:gd name="connsiteY0" fmla="*/ 24966 h 49931"/>
                <a:gd name="connsiteX1" fmla="*/ 24966 w 49931"/>
                <a:gd name="connsiteY1" fmla="*/ 49932 h 49931"/>
                <a:gd name="connsiteX2" fmla="*/ 0 w 49931"/>
                <a:gd name="connsiteY2" fmla="*/ 24966 h 49931"/>
                <a:gd name="connsiteX3" fmla="*/ 24966 w 49931"/>
                <a:gd name="connsiteY3" fmla="*/ 0 h 49931"/>
                <a:gd name="connsiteX4" fmla="*/ 49931 w 49931"/>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1" h="49931">
                  <a:moveTo>
                    <a:pt x="49931" y="24966"/>
                  </a:moveTo>
                  <a:cubicBezTo>
                    <a:pt x="49931" y="38742"/>
                    <a:pt x="38742" y="49932"/>
                    <a:pt x="24966" y="49932"/>
                  </a:cubicBezTo>
                  <a:cubicBezTo>
                    <a:pt x="11189" y="49932"/>
                    <a:pt x="0" y="38742"/>
                    <a:pt x="0" y="24966"/>
                  </a:cubicBezTo>
                  <a:cubicBezTo>
                    <a:pt x="0" y="11189"/>
                    <a:pt x="11189" y="0"/>
                    <a:pt x="24966" y="0"/>
                  </a:cubicBezTo>
                  <a:cubicBezTo>
                    <a:pt x="38742" y="0"/>
                    <a:pt x="49931" y="11113"/>
                    <a:pt x="49931" y="24966"/>
                  </a:cubicBezTo>
                </a:path>
              </a:pathLst>
            </a:custGeom>
            <a:grpFill/>
            <a:ln w="7608" cap="flat">
              <a:noFill/>
              <a:prstDash val="solid"/>
              <a:miter/>
            </a:ln>
          </p:spPr>
          <p:txBody>
            <a:bodyPr rtlCol="0" anchor="ctr"/>
            <a:lstStyle/>
            <a:p>
              <a:endParaRPr lang="hi-IN"/>
            </a:p>
          </p:txBody>
        </p:sp>
        <p:sp>
          <p:nvSpPr>
            <p:cNvPr id="1574" name="Freeform: Shape 573"/>
            <p:cNvSpPr/>
            <p:nvPr/>
          </p:nvSpPr>
          <p:spPr>
            <a:xfrm>
              <a:off x="11278242" y="3731330"/>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7" y="53281"/>
                    <a:pt x="26640" y="53281"/>
                  </a:cubicBezTo>
                  <a:cubicBezTo>
                    <a:pt x="11951" y="53281"/>
                    <a:pt x="0" y="41407"/>
                    <a:pt x="0" y="26640"/>
                  </a:cubicBezTo>
                  <a:cubicBezTo>
                    <a:pt x="0" y="11950"/>
                    <a:pt x="11951" y="0"/>
                    <a:pt x="26640" y="0"/>
                  </a:cubicBezTo>
                  <a:cubicBezTo>
                    <a:pt x="41331" y="76"/>
                    <a:pt x="53281" y="11950"/>
                    <a:pt x="53281" y="26640"/>
                  </a:cubicBezTo>
                </a:path>
              </a:pathLst>
            </a:custGeom>
            <a:grpFill/>
            <a:ln w="7608" cap="flat">
              <a:noFill/>
              <a:prstDash val="solid"/>
              <a:miter/>
            </a:ln>
          </p:spPr>
          <p:txBody>
            <a:bodyPr rtlCol="0" anchor="ctr"/>
            <a:lstStyle/>
            <a:p>
              <a:endParaRPr lang="hi-IN"/>
            </a:p>
          </p:txBody>
        </p:sp>
        <p:sp>
          <p:nvSpPr>
            <p:cNvPr id="1575" name="Freeform: Shape 574"/>
            <p:cNvSpPr/>
            <p:nvPr/>
          </p:nvSpPr>
          <p:spPr>
            <a:xfrm>
              <a:off x="11241859" y="3557482"/>
              <a:ext cx="56477" cy="56477"/>
            </a:xfrm>
            <a:custGeom>
              <a:avLst/>
              <a:gdLst>
                <a:gd name="connsiteX0" fmla="*/ 56477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7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7" y="28239"/>
                  </a:moveTo>
                  <a:cubicBezTo>
                    <a:pt x="56477" y="43843"/>
                    <a:pt x="43842" y="56478"/>
                    <a:pt x="28239" y="56478"/>
                  </a:cubicBezTo>
                  <a:cubicBezTo>
                    <a:pt x="12634" y="56478"/>
                    <a:pt x="0" y="43843"/>
                    <a:pt x="0" y="28239"/>
                  </a:cubicBezTo>
                  <a:cubicBezTo>
                    <a:pt x="0" y="12635"/>
                    <a:pt x="12634" y="0"/>
                    <a:pt x="28239" y="0"/>
                  </a:cubicBezTo>
                  <a:cubicBezTo>
                    <a:pt x="43842" y="0"/>
                    <a:pt x="56477" y="12635"/>
                    <a:pt x="56477" y="28239"/>
                  </a:cubicBezTo>
                </a:path>
              </a:pathLst>
            </a:custGeom>
            <a:grpFill/>
            <a:ln w="7608" cap="flat">
              <a:noFill/>
              <a:prstDash val="solid"/>
              <a:miter/>
            </a:ln>
          </p:spPr>
          <p:txBody>
            <a:bodyPr rtlCol="0" anchor="ctr"/>
            <a:lstStyle/>
            <a:p>
              <a:endParaRPr lang="hi-IN"/>
            </a:p>
          </p:txBody>
        </p:sp>
        <p:sp>
          <p:nvSpPr>
            <p:cNvPr id="1576" name="Freeform: Shape 575"/>
            <p:cNvSpPr/>
            <p:nvPr/>
          </p:nvSpPr>
          <p:spPr>
            <a:xfrm>
              <a:off x="11196875" y="3385538"/>
              <a:ext cx="59674" cy="59674"/>
            </a:xfrm>
            <a:custGeom>
              <a:avLst/>
              <a:gdLst>
                <a:gd name="connsiteX0" fmla="*/ 59674 w 59674"/>
                <a:gd name="connsiteY0" fmla="*/ 29837 h 59674"/>
                <a:gd name="connsiteX1" fmla="*/ 29837 w 59674"/>
                <a:gd name="connsiteY1" fmla="*/ 59674 h 59674"/>
                <a:gd name="connsiteX2" fmla="*/ 0 w 59674"/>
                <a:gd name="connsiteY2" fmla="*/ 29837 h 59674"/>
                <a:gd name="connsiteX3" fmla="*/ 29837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7" y="59674"/>
                  </a:cubicBezTo>
                  <a:cubicBezTo>
                    <a:pt x="13320" y="59674"/>
                    <a:pt x="0" y="46278"/>
                    <a:pt x="0" y="29837"/>
                  </a:cubicBezTo>
                  <a:cubicBezTo>
                    <a:pt x="0" y="13320"/>
                    <a:pt x="13396" y="0"/>
                    <a:pt x="29837" y="0"/>
                  </a:cubicBezTo>
                  <a:cubicBezTo>
                    <a:pt x="46354" y="0"/>
                    <a:pt x="59674" y="13396"/>
                    <a:pt x="59674" y="29837"/>
                  </a:cubicBezTo>
                </a:path>
              </a:pathLst>
            </a:custGeom>
            <a:grpFill/>
            <a:ln w="7608" cap="flat">
              <a:noFill/>
              <a:prstDash val="solid"/>
              <a:miter/>
            </a:ln>
          </p:spPr>
          <p:txBody>
            <a:bodyPr rtlCol="0" anchor="ctr"/>
            <a:lstStyle/>
            <a:p>
              <a:endParaRPr lang="hi-IN"/>
            </a:p>
          </p:txBody>
        </p:sp>
        <p:sp>
          <p:nvSpPr>
            <p:cNvPr id="1577" name="Freeform: Shape 576"/>
            <p:cNvSpPr/>
            <p:nvPr/>
          </p:nvSpPr>
          <p:spPr>
            <a:xfrm>
              <a:off x="11143366" y="3215952"/>
              <a:ext cx="63023" cy="63023"/>
            </a:xfrm>
            <a:custGeom>
              <a:avLst/>
              <a:gdLst>
                <a:gd name="connsiteX0" fmla="*/ 63024 w 63023"/>
                <a:gd name="connsiteY0" fmla="*/ 31512 h 63023"/>
                <a:gd name="connsiteX1" fmla="*/ 31512 w 63023"/>
                <a:gd name="connsiteY1" fmla="*/ 63024 h 63023"/>
                <a:gd name="connsiteX2" fmla="*/ 0 w 63023"/>
                <a:gd name="connsiteY2" fmla="*/ 31512 h 63023"/>
                <a:gd name="connsiteX3" fmla="*/ 31512 w 63023"/>
                <a:gd name="connsiteY3" fmla="*/ 0 h 63023"/>
                <a:gd name="connsiteX4" fmla="*/ 63024 w 63023"/>
                <a:gd name="connsiteY4" fmla="*/ 31512 h 63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23" h="63023">
                  <a:moveTo>
                    <a:pt x="63024" y="31512"/>
                  </a:moveTo>
                  <a:cubicBezTo>
                    <a:pt x="63024" y="48942"/>
                    <a:pt x="48943" y="63024"/>
                    <a:pt x="31512" y="63024"/>
                  </a:cubicBezTo>
                  <a:cubicBezTo>
                    <a:pt x="14157" y="63024"/>
                    <a:pt x="0" y="48942"/>
                    <a:pt x="0" y="31512"/>
                  </a:cubicBezTo>
                  <a:cubicBezTo>
                    <a:pt x="0" y="14157"/>
                    <a:pt x="14081" y="0"/>
                    <a:pt x="31512" y="0"/>
                  </a:cubicBezTo>
                  <a:cubicBezTo>
                    <a:pt x="48943" y="0"/>
                    <a:pt x="63024" y="14081"/>
                    <a:pt x="63024" y="31512"/>
                  </a:cubicBezTo>
                </a:path>
              </a:pathLst>
            </a:custGeom>
            <a:grpFill/>
            <a:ln w="7608" cap="flat">
              <a:noFill/>
              <a:prstDash val="solid"/>
              <a:miter/>
            </a:ln>
          </p:spPr>
          <p:txBody>
            <a:bodyPr rtlCol="0" anchor="ctr"/>
            <a:lstStyle/>
            <a:p>
              <a:endParaRPr lang="hi-IN"/>
            </a:p>
          </p:txBody>
        </p:sp>
        <p:sp>
          <p:nvSpPr>
            <p:cNvPr id="1578" name="Freeform: Shape 577"/>
            <p:cNvSpPr/>
            <p:nvPr/>
          </p:nvSpPr>
          <p:spPr>
            <a:xfrm>
              <a:off x="11081712" y="3049184"/>
              <a:ext cx="66220" cy="66220"/>
            </a:xfrm>
            <a:custGeom>
              <a:avLst/>
              <a:gdLst>
                <a:gd name="connsiteX0" fmla="*/ 66220 w 66220"/>
                <a:gd name="connsiteY0" fmla="*/ 33110 h 66220"/>
                <a:gd name="connsiteX1" fmla="*/ 33110 w 66220"/>
                <a:gd name="connsiteY1" fmla="*/ 66220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0"/>
                    <a:pt x="33110" y="66220"/>
                  </a:cubicBezTo>
                  <a:cubicBezTo>
                    <a:pt x="14842" y="66220"/>
                    <a:pt x="0" y="51378"/>
                    <a:pt x="0" y="33110"/>
                  </a:cubicBezTo>
                  <a:cubicBezTo>
                    <a:pt x="0" y="14842"/>
                    <a:pt x="14842" y="0"/>
                    <a:pt x="33110" y="0"/>
                  </a:cubicBezTo>
                  <a:cubicBezTo>
                    <a:pt x="51378" y="0"/>
                    <a:pt x="66220" y="14842"/>
                    <a:pt x="66220" y="33110"/>
                  </a:cubicBezTo>
                </a:path>
              </a:pathLst>
            </a:custGeom>
            <a:grpFill/>
            <a:ln w="7608" cap="flat">
              <a:noFill/>
              <a:prstDash val="solid"/>
              <a:miter/>
            </a:ln>
          </p:spPr>
          <p:txBody>
            <a:bodyPr rtlCol="0" anchor="ctr"/>
            <a:lstStyle/>
            <a:p>
              <a:endParaRPr lang="hi-IN"/>
            </a:p>
          </p:txBody>
        </p:sp>
        <p:sp>
          <p:nvSpPr>
            <p:cNvPr id="1579" name="Freeform: Shape 578"/>
            <p:cNvSpPr/>
            <p:nvPr/>
          </p:nvSpPr>
          <p:spPr>
            <a:xfrm>
              <a:off x="11012295" y="2886144"/>
              <a:ext cx="68427" cy="68427"/>
            </a:xfrm>
            <a:custGeom>
              <a:avLst/>
              <a:gdLst>
                <a:gd name="connsiteX0" fmla="*/ 68428 w 68427"/>
                <a:gd name="connsiteY0" fmla="*/ 34176 h 68427"/>
                <a:gd name="connsiteX1" fmla="*/ 34176 w 68427"/>
                <a:gd name="connsiteY1" fmla="*/ 68428 h 68427"/>
                <a:gd name="connsiteX2" fmla="*/ 0 w 68427"/>
                <a:gd name="connsiteY2" fmla="*/ 34176 h 68427"/>
                <a:gd name="connsiteX3" fmla="*/ 34176 w 68427"/>
                <a:gd name="connsiteY3" fmla="*/ 0 h 68427"/>
                <a:gd name="connsiteX4" fmla="*/ 68428 w 68427"/>
                <a:gd name="connsiteY4" fmla="*/ 34176 h 6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427">
                  <a:moveTo>
                    <a:pt x="68428" y="34176"/>
                  </a:moveTo>
                  <a:cubicBezTo>
                    <a:pt x="68428" y="53052"/>
                    <a:pt x="53128" y="68428"/>
                    <a:pt x="34176" y="68428"/>
                  </a:cubicBezTo>
                  <a:cubicBezTo>
                    <a:pt x="15299" y="68428"/>
                    <a:pt x="0" y="53129"/>
                    <a:pt x="0" y="34176"/>
                  </a:cubicBezTo>
                  <a:cubicBezTo>
                    <a:pt x="0" y="15299"/>
                    <a:pt x="15299" y="0"/>
                    <a:pt x="34176" y="0"/>
                  </a:cubicBezTo>
                  <a:cubicBezTo>
                    <a:pt x="53128" y="0"/>
                    <a:pt x="68428" y="15299"/>
                    <a:pt x="68428" y="34176"/>
                  </a:cubicBezTo>
                </a:path>
              </a:pathLst>
            </a:custGeom>
            <a:grpFill/>
            <a:ln w="7608" cap="flat">
              <a:noFill/>
              <a:prstDash val="solid"/>
              <a:miter/>
            </a:ln>
          </p:spPr>
          <p:txBody>
            <a:bodyPr rtlCol="0" anchor="ctr"/>
            <a:lstStyle/>
            <a:p>
              <a:endParaRPr lang="hi-IN"/>
            </a:p>
          </p:txBody>
        </p:sp>
        <p:sp>
          <p:nvSpPr>
            <p:cNvPr id="1580" name="Freeform: Shape 579"/>
            <p:cNvSpPr/>
            <p:nvPr/>
          </p:nvSpPr>
          <p:spPr>
            <a:xfrm>
              <a:off x="10934429" y="2726150"/>
              <a:ext cx="71700" cy="71700"/>
            </a:xfrm>
            <a:custGeom>
              <a:avLst/>
              <a:gdLst>
                <a:gd name="connsiteX0" fmla="*/ 71700 w 71700"/>
                <a:gd name="connsiteY0" fmla="*/ 35850 h 71700"/>
                <a:gd name="connsiteX1" fmla="*/ 35850 w 71700"/>
                <a:gd name="connsiteY1" fmla="*/ 71701 h 71700"/>
                <a:gd name="connsiteX2" fmla="*/ 0 w 71700"/>
                <a:gd name="connsiteY2" fmla="*/ 35850 h 71700"/>
                <a:gd name="connsiteX3" fmla="*/ 35850 w 71700"/>
                <a:gd name="connsiteY3" fmla="*/ 0 h 71700"/>
                <a:gd name="connsiteX4" fmla="*/ 71700 w 71700"/>
                <a:gd name="connsiteY4" fmla="*/ 35850 h 7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00" h="71700">
                  <a:moveTo>
                    <a:pt x="71700" y="35850"/>
                  </a:moveTo>
                  <a:cubicBezTo>
                    <a:pt x="71700" y="55640"/>
                    <a:pt x="55640" y="71701"/>
                    <a:pt x="35850" y="71701"/>
                  </a:cubicBezTo>
                  <a:cubicBezTo>
                    <a:pt x="16060" y="71701"/>
                    <a:pt x="0" y="55640"/>
                    <a:pt x="0" y="35850"/>
                  </a:cubicBezTo>
                  <a:cubicBezTo>
                    <a:pt x="0" y="16060"/>
                    <a:pt x="16060" y="0"/>
                    <a:pt x="35850" y="0"/>
                  </a:cubicBezTo>
                  <a:cubicBezTo>
                    <a:pt x="55640" y="0"/>
                    <a:pt x="71700" y="16060"/>
                    <a:pt x="71700" y="35850"/>
                  </a:cubicBezTo>
                </a:path>
              </a:pathLst>
            </a:custGeom>
            <a:grpFill/>
            <a:ln w="7608" cap="flat">
              <a:noFill/>
              <a:prstDash val="solid"/>
              <a:miter/>
            </a:ln>
          </p:spPr>
          <p:txBody>
            <a:bodyPr rtlCol="0" anchor="ctr"/>
            <a:lstStyle/>
            <a:p>
              <a:endParaRPr lang="hi-IN"/>
            </a:p>
          </p:txBody>
        </p:sp>
        <p:sp>
          <p:nvSpPr>
            <p:cNvPr id="1581" name="Freeform: Shape 580"/>
            <p:cNvSpPr/>
            <p:nvPr/>
          </p:nvSpPr>
          <p:spPr>
            <a:xfrm>
              <a:off x="10849789" y="2571255"/>
              <a:ext cx="72765" cy="72766"/>
            </a:xfrm>
            <a:custGeom>
              <a:avLst/>
              <a:gdLst>
                <a:gd name="connsiteX0" fmla="*/ 72766 w 72765"/>
                <a:gd name="connsiteY0" fmla="*/ 36383 h 72766"/>
                <a:gd name="connsiteX1" fmla="*/ 36382 w 72765"/>
                <a:gd name="connsiteY1" fmla="*/ 72766 h 72766"/>
                <a:gd name="connsiteX2" fmla="*/ 0 w 72765"/>
                <a:gd name="connsiteY2" fmla="*/ 36383 h 72766"/>
                <a:gd name="connsiteX3" fmla="*/ 36382 w 72765"/>
                <a:gd name="connsiteY3" fmla="*/ 0 h 72766"/>
                <a:gd name="connsiteX4" fmla="*/ 72766 w 72765"/>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5" h="72766">
                  <a:moveTo>
                    <a:pt x="72766" y="36383"/>
                  </a:moveTo>
                  <a:cubicBezTo>
                    <a:pt x="72766" y="56478"/>
                    <a:pt x="56477" y="72766"/>
                    <a:pt x="36382" y="72766"/>
                  </a:cubicBezTo>
                  <a:cubicBezTo>
                    <a:pt x="16288" y="72766"/>
                    <a:pt x="0" y="56478"/>
                    <a:pt x="0" y="36383"/>
                  </a:cubicBezTo>
                  <a:cubicBezTo>
                    <a:pt x="0" y="16289"/>
                    <a:pt x="16288" y="0"/>
                    <a:pt x="36382" y="0"/>
                  </a:cubicBezTo>
                  <a:cubicBezTo>
                    <a:pt x="56477" y="0"/>
                    <a:pt x="72766" y="16289"/>
                    <a:pt x="72766" y="36383"/>
                  </a:cubicBezTo>
                </a:path>
              </a:pathLst>
            </a:custGeom>
            <a:grpFill/>
            <a:ln w="7608" cap="flat">
              <a:noFill/>
              <a:prstDash val="solid"/>
              <a:miter/>
            </a:ln>
          </p:spPr>
          <p:txBody>
            <a:bodyPr rtlCol="0" anchor="ctr"/>
            <a:lstStyle/>
            <a:p>
              <a:endParaRPr lang="hi-IN"/>
            </a:p>
          </p:txBody>
        </p:sp>
        <p:sp>
          <p:nvSpPr>
            <p:cNvPr id="1582" name="Freeform: Shape 581"/>
            <p:cNvSpPr/>
            <p:nvPr/>
          </p:nvSpPr>
          <p:spPr>
            <a:xfrm>
              <a:off x="10757156" y="2420242"/>
              <a:ext cx="74897" cy="74897"/>
            </a:xfrm>
            <a:custGeom>
              <a:avLst/>
              <a:gdLst>
                <a:gd name="connsiteX0" fmla="*/ 74897 w 74897"/>
                <a:gd name="connsiteY0" fmla="*/ 37449 h 74897"/>
                <a:gd name="connsiteX1" fmla="*/ 37449 w 74897"/>
                <a:gd name="connsiteY1" fmla="*/ 74898 h 74897"/>
                <a:gd name="connsiteX2" fmla="*/ 0 w 74897"/>
                <a:gd name="connsiteY2" fmla="*/ 37449 h 74897"/>
                <a:gd name="connsiteX3" fmla="*/ 37449 w 74897"/>
                <a:gd name="connsiteY3" fmla="*/ 0 h 74897"/>
                <a:gd name="connsiteX4" fmla="*/ 74897 w 74897"/>
                <a:gd name="connsiteY4" fmla="*/ 37449 h 7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97" h="74897">
                  <a:moveTo>
                    <a:pt x="74897" y="37449"/>
                  </a:moveTo>
                  <a:cubicBezTo>
                    <a:pt x="74897" y="58152"/>
                    <a:pt x="58152" y="74898"/>
                    <a:pt x="37449" y="74898"/>
                  </a:cubicBezTo>
                  <a:cubicBezTo>
                    <a:pt x="16745" y="74898"/>
                    <a:pt x="0" y="58152"/>
                    <a:pt x="0" y="37449"/>
                  </a:cubicBezTo>
                  <a:cubicBezTo>
                    <a:pt x="0" y="16745"/>
                    <a:pt x="16745" y="0"/>
                    <a:pt x="37449" y="0"/>
                  </a:cubicBezTo>
                  <a:cubicBezTo>
                    <a:pt x="58152" y="0"/>
                    <a:pt x="74897" y="16745"/>
                    <a:pt x="74897" y="37449"/>
                  </a:cubicBezTo>
                </a:path>
              </a:pathLst>
            </a:custGeom>
            <a:grpFill/>
            <a:ln w="7608" cap="flat">
              <a:noFill/>
              <a:prstDash val="solid"/>
              <a:miter/>
            </a:ln>
          </p:spPr>
          <p:txBody>
            <a:bodyPr rtlCol="0" anchor="ctr"/>
            <a:lstStyle/>
            <a:p>
              <a:endParaRPr lang="hi-IN"/>
            </a:p>
          </p:txBody>
        </p:sp>
        <p:sp>
          <p:nvSpPr>
            <p:cNvPr id="1583" name="Freeform: Shape 582"/>
            <p:cNvSpPr/>
            <p:nvPr/>
          </p:nvSpPr>
          <p:spPr>
            <a:xfrm>
              <a:off x="10657597" y="2274481"/>
              <a:ext cx="75963" cy="75963"/>
            </a:xfrm>
            <a:custGeom>
              <a:avLst/>
              <a:gdLst>
                <a:gd name="connsiteX0" fmla="*/ 75963 w 75963"/>
                <a:gd name="connsiteY0" fmla="*/ 37982 h 75963"/>
                <a:gd name="connsiteX1" fmla="*/ 37982 w 75963"/>
                <a:gd name="connsiteY1" fmla="*/ 75963 h 75963"/>
                <a:gd name="connsiteX2" fmla="*/ 0 w 75963"/>
                <a:gd name="connsiteY2" fmla="*/ 37982 h 75963"/>
                <a:gd name="connsiteX3" fmla="*/ 37982 w 75963"/>
                <a:gd name="connsiteY3" fmla="*/ 0 h 75963"/>
                <a:gd name="connsiteX4" fmla="*/ 75963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3" y="37982"/>
                  </a:moveTo>
                  <a:cubicBezTo>
                    <a:pt x="75963" y="58990"/>
                    <a:pt x="58913" y="75963"/>
                    <a:pt x="37982" y="75963"/>
                  </a:cubicBezTo>
                  <a:cubicBezTo>
                    <a:pt x="16974" y="75963"/>
                    <a:pt x="0" y="58914"/>
                    <a:pt x="0" y="37982"/>
                  </a:cubicBezTo>
                  <a:cubicBezTo>
                    <a:pt x="0" y="16974"/>
                    <a:pt x="17050" y="0"/>
                    <a:pt x="37982" y="0"/>
                  </a:cubicBezTo>
                  <a:cubicBezTo>
                    <a:pt x="58913" y="-76"/>
                    <a:pt x="75963" y="16974"/>
                    <a:pt x="75963" y="37982"/>
                  </a:cubicBezTo>
                </a:path>
              </a:pathLst>
            </a:custGeom>
            <a:grpFill/>
            <a:ln w="7608" cap="flat">
              <a:noFill/>
              <a:prstDash val="solid"/>
              <a:miter/>
            </a:ln>
          </p:spPr>
          <p:txBody>
            <a:bodyPr rtlCol="0" anchor="ctr"/>
            <a:lstStyle/>
            <a:p>
              <a:endParaRPr lang="hi-IN"/>
            </a:p>
          </p:txBody>
        </p:sp>
        <p:sp>
          <p:nvSpPr>
            <p:cNvPr id="1584" name="Freeform: Shape 583"/>
            <p:cNvSpPr/>
            <p:nvPr/>
          </p:nvSpPr>
          <p:spPr>
            <a:xfrm>
              <a:off x="10550883" y="2133819"/>
              <a:ext cx="77104" cy="77104"/>
            </a:xfrm>
            <a:custGeom>
              <a:avLst/>
              <a:gdLst>
                <a:gd name="connsiteX0" fmla="*/ 77105 w 77104"/>
                <a:gd name="connsiteY0" fmla="*/ 38514 h 77104"/>
                <a:gd name="connsiteX1" fmla="*/ 38590 w 77104"/>
                <a:gd name="connsiteY1" fmla="*/ 77105 h 77104"/>
                <a:gd name="connsiteX2" fmla="*/ 0 w 77104"/>
                <a:gd name="connsiteY2" fmla="*/ 38514 h 77104"/>
                <a:gd name="connsiteX3" fmla="*/ 38590 w 77104"/>
                <a:gd name="connsiteY3" fmla="*/ 0 h 77104"/>
                <a:gd name="connsiteX4" fmla="*/ 77105 w 77104"/>
                <a:gd name="connsiteY4" fmla="*/ 38514 h 77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04" h="77104">
                  <a:moveTo>
                    <a:pt x="77105" y="38514"/>
                  </a:moveTo>
                  <a:cubicBezTo>
                    <a:pt x="77105" y="59827"/>
                    <a:pt x="59827" y="77105"/>
                    <a:pt x="38590" y="77105"/>
                  </a:cubicBezTo>
                  <a:cubicBezTo>
                    <a:pt x="17278" y="77105"/>
                    <a:pt x="0" y="59827"/>
                    <a:pt x="0" y="38514"/>
                  </a:cubicBezTo>
                  <a:cubicBezTo>
                    <a:pt x="0" y="17202"/>
                    <a:pt x="17278" y="0"/>
                    <a:pt x="38590" y="0"/>
                  </a:cubicBezTo>
                  <a:cubicBezTo>
                    <a:pt x="59827" y="0"/>
                    <a:pt x="77105" y="17202"/>
                    <a:pt x="77105" y="38514"/>
                  </a:cubicBezTo>
                </a:path>
              </a:pathLst>
            </a:custGeom>
            <a:grpFill/>
            <a:ln w="7608" cap="flat">
              <a:noFill/>
              <a:prstDash val="solid"/>
              <a:miter/>
            </a:ln>
          </p:spPr>
          <p:txBody>
            <a:bodyPr rtlCol="0" anchor="ctr"/>
            <a:lstStyle/>
            <a:p>
              <a:endParaRPr lang="hi-IN"/>
            </a:p>
          </p:txBody>
        </p:sp>
        <p:sp>
          <p:nvSpPr>
            <p:cNvPr id="1585" name="Freeform: Shape 584"/>
            <p:cNvSpPr/>
            <p:nvPr/>
          </p:nvSpPr>
          <p:spPr>
            <a:xfrm>
              <a:off x="10437319" y="1998562"/>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7" y="78247"/>
                    <a:pt x="0" y="60740"/>
                    <a:pt x="0" y="39123"/>
                  </a:cubicBezTo>
                  <a:cubicBezTo>
                    <a:pt x="0" y="17506"/>
                    <a:pt x="17507" y="0"/>
                    <a:pt x="39123" y="0"/>
                  </a:cubicBezTo>
                  <a:cubicBezTo>
                    <a:pt x="60740" y="76"/>
                    <a:pt x="78247" y="17583"/>
                    <a:pt x="78247" y="39123"/>
                  </a:cubicBezTo>
                </a:path>
              </a:pathLst>
            </a:custGeom>
            <a:grpFill/>
            <a:ln w="7608" cap="flat">
              <a:noFill/>
              <a:prstDash val="solid"/>
              <a:miter/>
            </a:ln>
          </p:spPr>
          <p:txBody>
            <a:bodyPr rtlCol="0" anchor="ctr"/>
            <a:lstStyle/>
            <a:p>
              <a:endParaRPr lang="hi-IN"/>
            </a:p>
          </p:txBody>
        </p:sp>
        <p:sp>
          <p:nvSpPr>
            <p:cNvPr id="1586" name="Freeform: Shape 585"/>
            <p:cNvSpPr/>
            <p:nvPr/>
          </p:nvSpPr>
          <p:spPr>
            <a:xfrm>
              <a:off x="10317742" y="1869775"/>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6" y="78247"/>
                    <a:pt x="0" y="60740"/>
                    <a:pt x="0" y="39123"/>
                  </a:cubicBezTo>
                  <a:cubicBezTo>
                    <a:pt x="0" y="17507"/>
                    <a:pt x="17506" y="0"/>
                    <a:pt x="39123" y="0"/>
                  </a:cubicBezTo>
                  <a:cubicBezTo>
                    <a:pt x="60740" y="0"/>
                    <a:pt x="78247" y="17507"/>
                    <a:pt x="78247" y="39123"/>
                  </a:cubicBezTo>
                </a:path>
              </a:pathLst>
            </a:custGeom>
            <a:grpFill/>
            <a:ln w="7608" cap="flat">
              <a:noFill/>
              <a:prstDash val="solid"/>
              <a:miter/>
            </a:ln>
          </p:spPr>
          <p:txBody>
            <a:bodyPr rtlCol="0" anchor="ctr"/>
            <a:lstStyle/>
            <a:p>
              <a:endParaRPr lang="hi-IN"/>
            </a:p>
          </p:txBody>
        </p:sp>
        <p:sp>
          <p:nvSpPr>
            <p:cNvPr id="1587" name="Freeform: Shape 586"/>
            <p:cNvSpPr/>
            <p:nvPr/>
          </p:nvSpPr>
          <p:spPr>
            <a:xfrm>
              <a:off x="10191923" y="1747001"/>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7" y="78247"/>
                    <a:pt x="0" y="60740"/>
                    <a:pt x="0" y="39123"/>
                  </a:cubicBezTo>
                  <a:cubicBezTo>
                    <a:pt x="0" y="17507"/>
                    <a:pt x="17507" y="0"/>
                    <a:pt x="39123" y="0"/>
                  </a:cubicBezTo>
                  <a:cubicBezTo>
                    <a:pt x="60740" y="76"/>
                    <a:pt x="78247" y="17583"/>
                    <a:pt x="78247" y="39123"/>
                  </a:cubicBezTo>
                </a:path>
              </a:pathLst>
            </a:custGeom>
            <a:grpFill/>
            <a:ln w="7608" cap="flat">
              <a:noFill/>
              <a:prstDash val="solid"/>
              <a:miter/>
            </a:ln>
          </p:spPr>
          <p:txBody>
            <a:bodyPr rtlCol="0" anchor="ctr"/>
            <a:lstStyle/>
            <a:p>
              <a:endParaRPr lang="hi-IN"/>
            </a:p>
          </p:txBody>
        </p:sp>
        <p:sp>
          <p:nvSpPr>
            <p:cNvPr id="1588" name="Freeform: Shape 587"/>
            <p:cNvSpPr/>
            <p:nvPr/>
          </p:nvSpPr>
          <p:spPr>
            <a:xfrm>
              <a:off x="10060167" y="1630696"/>
              <a:ext cx="78245" cy="78246"/>
            </a:xfrm>
            <a:custGeom>
              <a:avLst/>
              <a:gdLst>
                <a:gd name="connsiteX0" fmla="*/ 78246 w 78245"/>
                <a:gd name="connsiteY0" fmla="*/ 39123 h 78246"/>
                <a:gd name="connsiteX1" fmla="*/ 39123 w 78245"/>
                <a:gd name="connsiteY1" fmla="*/ 78247 h 78246"/>
                <a:gd name="connsiteX2" fmla="*/ 0 w 78245"/>
                <a:gd name="connsiteY2" fmla="*/ 39123 h 78246"/>
                <a:gd name="connsiteX3" fmla="*/ 39123 w 78245"/>
                <a:gd name="connsiteY3" fmla="*/ 0 h 78246"/>
                <a:gd name="connsiteX4" fmla="*/ 78246 w 78245"/>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5" h="78246">
                  <a:moveTo>
                    <a:pt x="78246" y="39123"/>
                  </a:moveTo>
                  <a:cubicBezTo>
                    <a:pt x="78246" y="60740"/>
                    <a:pt x="60740" y="78247"/>
                    <a:pt x="39123" y="78247"/>
                  </a:cubicBezTo>
                  <a:cubicBezTo>
                    <a:pt x="17506" y="78247"/>
                    <a:pt x="0" y="60740"/>
                    <a:pt x="0" y="39123"/>
                  </a:cubicBezTo>
                  <a:cubicBezTo>
                    <a:pt x="0" y="17506"/>
                    <a:pt x="17506" y="0"/>
                    <a:pt x="39123" y="0"/>
                  </a:cubicBezTo>
                  <a:cubicBezTo>
                    <a:pt x="60740" y="76"/>
                    <a:pt x="78246" y="17583"/>
                    <a:pt x="78246" y="39123"/>
                  </a:cubicBezTo>
                </a:path>
              </a:pathLst>
            </a:custGeom>
            <a:grpFill/>
            <a:ln w="7608" cap="flat">
              <a:noFill/>
              <a:prstDash val="solid"/>
              <a:miter/>
            </a:ln>
          </p:spPr>
          <p:txBody>
            <a:bodyPr rtlCol="0" anchor="ctr"/>
            <a:lstStyle/>
            <a:p>
              <a:endParaRPr lang="hi-IN"/>
            </a:p>
          </p:txBody>
        </p:sp>
        <p:sp>
          <p:nvSpPr>
            <p:cNvPr id="1589" name="Freeform: Shape 588"/>
            <p:cNvSpPr/>
            <p:nvPr/>
          </p:nvSpPr>
          <p:spPr>
            <a:xfrm>
              <a:off x="9923235" y="1521699"/>
              <a:ext cx="77181" cy="77181"/>
            </a:xfrm>
            <a:custGeom>
              <a:avLst/>
              <a:gdLst>
                <a:gd name="connsiteX0" fmla="*/ 77181 w 77181"/>
                <a:gd name="connsiteY0" fmla="*/ 38591 h 77181"/>
                <a:gd name="connsiteX1" fmla="*/ 38591 w 77181"/>
                <a:gd name="connsiteY1" fmla="*/ 77181 h 77181"/>
                <a:gd name="connsiteX2" fmla="*/ 0 w 77181"/>
                <a:gd name="connsiteY2" fmla="*/ 38591 h 77181"/>
                <a:gd name="connsiteX3" fmla="*/ 38591 w 77181"/>
                <a:gd name="connsiteY3" fmla="*/ 0 h 77181"/>
                <a:gd name="connsiteX4" fmla="*/ 77181 w 77181"/>
                <a:gd name="connsiteY4" fmla="*/ 38591 h 77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81" h="77181">
                  <a:moveTo>
                    <a:pt x="77181" y="38591"/>
                  </a:moveTo>
                  <a:cubicBezTo>
                    <a:pt x="77181" y="59903"/>
                    <a:pt x="59903" y="77181"/>
                    <a:pt x="38591" y="77181"/>
                  </a:cubicBezTo>
                  <a:cubicBezTo>
                    <a:pt x="17278" y="77181"/>
                    <a:pt x="0" y="59903"/>
                    <a:pt x="0" y="38591"/>
                  </a:cubicBezTo>
                  <a:cubicBezTo>
                    <a:pt x="0" y="17278"/>
                    <a:pt x="17278" y="0"/>
                    <a:pt x="38591" y="0"/>
                  </a:cubicBezTo>
                  <a:cubicBezTo>
                    <a:pt x="59903" y="0"/>
                    <a:pt x="77181" y="17278"/>
                    <a:pt x="77181" y="38591"/>
                  </a:cubicBezTo>
                </a:path>
              </a:pathLst>
            </a:custGeom>
            <a:grpFill/>
            <a:ln w="7608" cap="flat">
              <a:noFill/>
              <a:prstDash val="solid"/>
              <a:miter/>
            </a:ln>
          </p:spPr>
          <p:txBody>
            <a:bodyPr rtlCol="0" anchor="ctr"/>
            <a:lstStyle/>
            <a:p>
              <a:endParaRPr lang="hi-IN"/>
            </a:p>
          </p:txBody>
        </p:sp>
        <p:sp>
          <p:nvSpPr>
            <p:cNvPr id="1590" name="Freeform: Shape 589"/>
            <p:cNvSpPr/>
            <p:nvPr/>
          </p:nvSpPr>
          <p:spPr>
            <a:xfrm>
              <a:off x="9781204" y="1419704"/>
              <a:ext cx="75963" cy="75963"/>
            </a:xfrm>
            <a:custGeom>
              <a:avLst/>
              <a:gdLst>
                <a:gd name="connsiteX0" fmla="*/ 75963 w 75963"/>
                <a:gd name="connsiteY0" fmla="*/ 37982 h 75963"/>
                <a:gd name="connsiteX1" fmla="*/ 37982 w 75963"/>
                <a:gd name="connsiteY1" fmla="*/ 75963 h 75963"/>
                <a:gd name="connsiteX2" fmla="*/ 0 w 75963"/>
                <a:gd name="connsiteY2" fmla="*/ 37982 h 75963"/>
                <a:gd name="connsiteX3" fmla="*/ 37982 w 75963"/>
                <a:gd name="connsiteY3" fmla="*/ 0 h 75963"/>
                <a:gd name="connsiteX4" fmla="*/ 75963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3" y="37982"/>
                  </a:moveTo>
                  <a:cubicBezTo>
                    <a:pt x="75963" y="58990"/>
                    <a:pt x="58989" y="75963"/>
                    <a:pt x="37982" y="75963"/>
                  </a:cubicBezTo>
                  <a:cubicBezTo>
                    <a:pt x="16974" y="75963"/>
                    <a:pt x="0" y="58914"/>
                    <a:pt x="0" y="37982"/>
                  </a:cubicBezTo>
                  <a:cubicBezTo>
                    <a:pt x="0" y="16974"/>
                    <a:pt x="17050" y="0"/>
                    <a:pt x="37982" y="0"/>
                  </a:cubicBezTo>
                  <a:cubicBezTo>
                    <a:pt x="58989" y="-76"/>
                    <a:pt x="75963" y="16974"/>
                    <a:pt x="75963" y="37982"/>
                  </a:cubicBezTo>
                </a:path>
              </a:pathLst>
            </a:custGeom>
            <a:grpFill/>
            <a:ln w="7608" cap="flat">
              <a:noFill/>
              <a:prstDash val="solid"/>
              <a:miter/>
            </a:ln>
          </p:spPr>
          <p:txBody>
            <a:bodyPr rtlCol="0" anchor="ctr"/>
            <a:lstStyle/>
            <a:p>
              <a:endParaRPr lang="hi-IN"/>
            </a:p>
          </p:txBody>
        </p:sp>
        <p:sp>
          <p:nvSpPr>
            <p:cNvPr id="1591" name="Freeform: Shape 590"/>
            <p:cNvSpPr/>
            <p:nvPr/>
          </p:nvSpPr>
          <p:spPr>
            <a:xfrm>
              <a:off x="9634606" y="1325397"/>
              <a:ext cx="73831" cy="73831"/>
            </a:xfrm>
            <a:custGeom>
              <a:avLst/>
              <a:gdLst>
                <a:gd name="connsiteX0" fmla="*/ 73832 w 73831"/>
                <a:gd name="connsiteY0" fmla="*/ 36916 h 73831"/>
                <a:gd name="connsiteX1" fmla="*/ 36916 w 73831"/>
                <a:gd name="connsiteY1" fmla="*/ 73832 h 73831"/>
                <a:gd name="connsiteX2" fmla="*/ 0 w 73831"/>
                <a:gd name="connsiteY2" fmla="*/ 36916 h 73831"/>
                <a:gd name="connsiteX3" fmla="*/ 36916 w 73831"/>
                <a:gd name="connsiteY3" fmla="*/ 0 h 73831"/>
                <a:gd name="connsiteX4" fmla="*/ 73832 w 73831"/>
                <a:gd name="connsiteY4" fmla="*/ 36916 h 7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1" h="73831">
                  <a:moveTo>
                    <a:pt x="73832" y="36916"/>
                  </a:moveTo>
                  <a:cubicBezTo>
                    <a:pt x="73832" y="57315"/>
                    <a:pt x="57315" y="73832"/>
                    <a:pt x="36916" y="73832"/>
                  </a:cubicBezTo>
                  <a:cubicBezTo>
                    <a:pt x="16516" y="73832"/>
                    <a:pt x="0" y="57315"/>
                    <a:pt x="0" y="36916"/>
                  </a:cubicBezTo>
                  <a:cubicBezTo>
                    <a:pt x="0" y="16517"/>
                    <a:pt x="16516" y="0"/>
                    <a:pt x="36916" y="0"/>
                  </a:cubicBezTo>
                  <a:cubicBezTo>
                    <a:pt x="57315" y="0"/>
                    <a:pt x="73832" y="16517"/>
                    <a:pt x="73832" y="36916"/>
                  </a:cubicBezTo>
                </a:path>
              </a:pathLst>
            </a:custGeom>
            <a:grpFill/>
            <a:ln w="7608" cap="flat">
              <a:noFill/>
              <a:prstDash val="solid"/>
              <a:miter/>
            </a:ln>
          </p:spPr>
          <p:txBody>
            <a:bodyPr rtlCol="0" anchor="ctr"/>
            <a:lstStyle/>
            <a:p>
              <a:endParaRPr lang="hi-IN"/>
            </a:p>
          </p:txBody>
        </p:sp>
        <p:sp>
          <p:nvSpPr>
            <p:cNvPr id="1592" name="Freeform: Shape 591"/>
            <p:cNvSpPr/>
            <p:nvPr/>
          </p:nvSpPr>
          <p:spPr>
            <a:xfrm>
              <a:off x="9482984" y="1238017"/>
              <a:ext cx="72766" cy="72766"/>
            </a:xfrm>
            <a:custGeom>
              <a:avLst/>
              <a:gdLst>
                <a:gd name="connsiteX0" fmla="*/ 72767 w 72766"/>
                <a:gd name="connsiteY0" fmla="*/ 36383 h 72766"/>
                <a:gd name="connsiteX1" fmla="*/ 36383 w 72766"/>
                <a:gd name="connsiteY1" fmla="*/ 72766 h 72766"/>
                <a:gd name="connsiteX2" fmla="*/ 0 w 72766"/>
                <a:gd name="connsiteY2" fmla="*/ 36383 h 72766"/>
                <a:gd name="connsiteX3" fmla="*/ 36383 w 72766"/>
                <a:gd name="connsiteY3" fmla="*/ 0 h 72766"/>
                <a:gd name="connsiteX4" fmla="*/ 72767 w 72766"/>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6" h="72766">
                  <a:moveTo>
                    <a:pt x="72767" y="36383"/>
                  </a:moveTo>
                  <a:cubicBezTo>
                    <a:pt x="72767" y="56478"/>
                    <a:pt x="56478" y="72766"/>
                    <a:pt x="36383" y="72766"/>
                  </a:cubicBezTo>
                  <a:cubicBezTo>
                    <a:pt x="16289" y="72766"/>
                    <a:pt x="0" y="56478"/>
                    <a:pt x="0" y="36383"/>
                  </a:cubicBezTo>
                  <a:cubicBezTo>
                    <a:pt x="0" y="16289"/>
                    <a:pt x="16289" y="0"/>
                    <a:pt x="36383" y="0"/>
                  </a:cubicBezTo>
                  <a:cubicBezTo>
                    <a:pt x="56478" y="0"/>
                    <a:pt x="72767" y="16289"/>
                    <a:pt x="72767" y="36383"/>
                  </a:cubicBezTo>
                </a:path>
              </a:pathLst>
            </a:custGeom>
            <a:grpFill/>
            <a:ln w="7608" cap="flat">
              <a:noFill/>
              <a:prstDash val="solid"/>
              <a:miter/>
            </a:ln>
          </p:spPr>
          <p:txBody>
            <a:bodyPr rtlCol="0" anchor="ctr"/>
            <a:lstStyle/>
            <a:p>
              <a:endParaRPr lang="hi-IN"/>
            </a:p>
          </p:txBody>
        </p:sp>
        <p:sp>
          <p:nvSpPr>
            <p:cNvPr id="1593" name="Freeform: Shape 592"/>
            <p:cNvSpPr/>
            <p:nvPr/>
          </p:nvSpPr>
          <p:spPr>
            <a:xfrm>
              <a:off x="9327556" y="1158933"/>
              <a:ext cx="70634" cy="70635"/>
            </a:xfrm>
            <a:custGeom>
              <a:avLst/>
              <a:gdLst>
                <a:gd name="connsiteX0" fmla="*/ 70634 w 70634"/>
                <a:gd name="connsiteY0" fmla="*/ 35318 h 70635"/>
                <a:gd name="connsiteX1" fmla="*/ 35317 w 70634"/>
                <a:gd name="connsiteY1" fmla="*/ 70635 h 70635"/>
                <a:gd name="connsiteX2" fmla="*/ 0 w 70634"/>
                <a:gd name="connsiteY2" fmla="*/ 35318 h 70635"/>
                <a:gd name="connsiteX3" fmla="*/ 35317 w 70634"/>
                <a:gd name="connsiteY3" fmla="*/ 0 h 70635"/>
                <a:gd name="connsiteX4" fmla="*/ 70634 w 70634"/>
                <a:gd name="connsiteY4" fmla="*/ 35318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4" h="70635">
                  <a:moveTo>
                    <a:pt x="70634" y="35318"/>
                  </a:moveTo>
                  <a:cubicBezTo>
                    <a:pt x="70634" y="54803"/>
                    <a:pt x="54803" y="70635"/>
                    <a:pt x="35317" y="70635"/>
                  </a:cubicBezTo>
                  <a:cubicBezTo>
                    <a:pt x="15832" y="70635"/>
                    <a:pt x="0" y="54803"/>
                    <a:pt x="0" y="35318"/>
                  </a:cubicBezTo>
                  <a:cubicBezTo>
                    <a:pt x="0" y="15832"/>
                    <a:pt x="15832" y="0"/>
                    <a:pt x="35317" y="0"/>
                  </a:cubicBezTo>
                  <a:cubicBezTo>
                    <a:pt x="54879" y="0"/>
                    <a:pt x="70634" y="15832"/>
                    <a:pt x="70634" y="35318"/>
                  </a:cubicBezTo>
                </a:path>
              </a:pathLst>
            </a:custGeom>
            <a:grpFill/>
            <a:ln w="7608" cap="flat">
              <a:noFill/>
              <a:prstDash val="solid"/>
              <a:miter/>
            </a:ln>
          </p:spPr>
          <p:txBody>
            <a:bodyPr rtlCol="0" anchor="ctr"/>
            <a:lstStyle/>
            <a:p>
              <a:endParaRPr lang="hi-IN"/>
            </a:p>
          </p:txBody>
        </p:sp>
        <p:sp>
          <p:nvSpPr>
            <p:cNvPr id="1594" name="Freeform: Shape 593"/>
            <p:cNvSpPr/>
            <p:nvPr/>
          </p:nvSpPr>
          <p:spPr>
            <a:xfrm>
              <a:off x="9169084" y="1088298"/>
              <a:ext cx="67285" cy="67286"/>
            </a:xfrm>
            <a:custGeom>
              <a:avLst/>
              <a:gdLst>
                <a:gd name="connsiteX0" fmla="*/ 67286 w 67285"/>
                <a:gd name="connsiteY0" fmla="*/ 33643 h 67286"/>
                <a:gd name="connsiteX1" fmla="*/ 33643 w 67285"/>
                <a:gd name="connsiteY1" fmla="*/ 67286 h 67286"/>
                <a:gd name="connsiteX2" fmla="*/ 0 w 67285"/>
                <a:gd name="connsiteY2" fmla="*/ 33643 h 67286"/>
                <a:gd name="connsiteX3" fmla="*/ 33643 w 67285"/>
                <a:gd name="connsiteY3" fmla="*/ 0 h 67286"/>
                <a:gd name="connsiteX4" fmla="*/ 67286 w 67285"/>
                <a:gd name="connsiteY4" fmla="*/ 33643 h 67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5" h="67286">
                  <a:moveTo>
                    <a:pt x="67286" y="33643"/>
                  </a:moveTo>
                  <a:cubicBezTo>
                    <a:pt x="67286" y="52215"/>
                    <a:pt x="52215" y="67286"/>
                    <a:pt x="33643" y="67286"/>
                  </a:cubicBezTo>
                  <a:cubicBezTo>
                    <a:pt x="15071" y="67286"/>
                    <a:pt x="0" y="52215"/>
                    <a:pt x="0" y="33643"/>
                  </a:cubicBezTo>
                  <a:cubicBezTo>
                    <a:pt x="0" y="15071"/>
                    <a:pt x="15071" y="0"/>
                    <a:pt x="33643" y="0"/>
                  </a:cubicBezTo>
                  <a:cubicBezTo>
                    <a:pt x="52215" y="0"/>
                    <a:pt x="67286" y="15071"/>
                    <a:pt x="67286" y="33643"/>
                  </a:cubicBezTo>
                </a:path>
              </a:pathLst>
            </a:custGeom>
            <a:grpFill/>
            <a:ln w="7608" cap="flat">
              <a:noFill/>
              <a:prstDash val="solid"/>
              <a:miter/>
            </a:ln>
          </p:spPr>
          <p:txBody>
            <a:bodyPr rtlCol="0" anchor="ctr"/>
            <a:lstStyle/>
            <a:p>
              <a:endParaRPr lang="hi-IN"/>
            </a:p>
          </p:txBody>
        </p:sp>
        <p:sp>
          <p:nvSpPr>
            <p:cNvPr id="1595" name="Freeform: Shape 594"/>
            <p:cNvSpPr/>
            <p:nvPr/>
          </p:nvSpPr>
          <p:spPr>
            <a:xfrm>
              <a:off x="9007034" y="1025731"/>
              <a:ext cx="64089" cy="64089"/>
            </a:xfrm>
            <a:custGeom>
              <a:avLst/>
              <a:gdLst>
                <a:gd name="connsiteX0" fmla="*/ 64090 w 64089"/>
                <a:gd name="connsiteY0" fmla="*/ 32045 h 64089"/>
                <a:gd name="connsiteX1" fmla="*/ 32045 w 64089"/>
                <a:gd name="connsiteY1" fmla="*/ 64089 h 64089"/>
                <a:gd name="connsiteX2" fmla="*/ 0 w 64089"/>
                <a:gd name="connsiteY2" fmla="*/ 32045 h 64089"/>
                <a:gd name="connsiteX3" fmla="*/ 32045 w 64089"/>
                <a:gd name="connsiteY3" fmla="*/ 0 h 64089"/>
                <a:gd name="connsiteX4" fmla="*/ 64090 w 64089"/>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9" h="64089">
                  <a:moveTo>
                    <a:pt x="64090" y="32045"/>
                  </a:moveTo>
                  <a:cubicBezTo>
                    <a:pt x="64090" y="49703"/>
                    <a:pt x="49780" y="64089"/>
                    <a:pt x="32045" y="64089"/>
                  </a:cubicBezTo>
                  <a:cubicBezTo>
                    <a:pt x="14310" y="64089"/>
                    <a:pt x="0" y="49780"/>
                    <a:pt x="0" y="32045"/>
                  </a:cubicBezTo>
                  <a:cubicBezTo>
                    <a:pt x="0" y="14310"/>
                    <a:pt x="14310" y="0"/>
                    <a:pt x="32045" y="0"/>
                  </a:cubicBezTo>
                  <a:cubicBezTo>
                    <a:pt x="49780" y="0"/>
                    <a:pt x="64090" y="14310"/>
                    <a:pt x="64090" y="32045"/>
                  </a:cubicBezTo>
                </a:path>
              </a:pathLst>
            </a:custGeom>
            <a:grpFill/>
            <a:ln w="7608" cap="flat">
              <a:noFill/>
              <a:prstDash val="solid"/>
              <a:miter/>
            </a:ln>
          </p:spPr>
          <p:txBody>
            <a:bodyPr rtlCol="0" anchor="ctr"/>
            <a:lstStyle/>
            <a:p>
              <a:endParaRPr lang="hi-IN"/>
            </a:p>
          </p:txBody>
        </p:sp>
        <p:sp>
          <p:nvSpPr>
            <p:cNvPr id="1596" name="Freeform: Shape 595"/>
            <p:cNvSpPr/>
            <p:nvPr/>
          </p:nvSpPr>
          <p:spPr>
            <a:xfrm>
              <a:off x="8841483" y="970776"/>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597" name="Freeform: Shape 596"/>
            <p:cNvSpPr/>
            <p:nvPr/>
          </p:nvSpPr>
          <p:spPr>
            <a:xfrm>
              <a:off x="8674029" y="924878"/>
              <a:ext cx="58609" cy="58608"/>
            </a:xfrm>
            <a:custGeom>
              <a:avLst/>
              <a:gdLst>
                <a:gd name="connsiteX0" fmla="*/ 58609 w 58609"/>
                <a:gd name="connsiteY0" fmla="*/ 29304 h 58608"/>
                <a:gd name="connsiteX1" fmla="*/ 29305 w 58609"/>
                <a:gd name="connsiteY1" fmla="*/ 58609 h 58608"/>
                <a:gd name="connsiteX2" fmla="*/ 0 w 58609"/>
                <a:gd name="connsiteY2" fmla="*/ 29304 h 58608"/>
                <a:gd name="connsiteX3" fmla="*/ 29305 w 58609"/>
                <a:gd name="connsiteY3" fmla="*/ 0 h 58608"/>
                <a:gd name="connsiteX4" fmla="*/ 58609 w 58609"/>
                <a:gd name="connsiteY4" fmla="*/ 29304 h 58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09" h="58608">
                  <a:moveTo>
                    <a:pt x="58609" y="29304"/>
                  </a:moveTo>
                  <a:cubicBezTo>
                    <a:pt x="58609" y="45517"/>
                    <a:pt x="45518" y="58609"/>
                    <a:pt x="29305" y="58609"/>
                  </a:cubicBezTo>
                  <a:cubicBezTo>
                    <a:pt x="13093" y="58609"/>
                    <a:pt x="0" y="45441"/>
                    <a:pt x="0" y="29304"/>
                  </a:cubicBezTo>
                  <a:cubicBezTo>
                    <a:pt x="0" y="13092"/>
                    <a:pt x="13093" y="0"/>
                    <a:pt x="29305" y="0"/>
                  </a:cubicBezTo>
                  <a:cubicBezTo>
                    <a:pt x="45518" y="0"/>
                    <a:pt x="58609" y="13092"/>
                    <a:pt x="58609" y="29304"/>
                  </a:cubicBezTo>
                </a:path>
              </a:pathLst>
            </a:custGeom>
            <a:grpFill/>
            <a:ln w="7608" cap="flat">
              <a:noFill/>
              <a:prstDash val="solid"/>
              <a:miter/>
            </a:ln>
          </p:spPr>
          <p:txBody>
            <a:bodyPr rtlCol="0" anchor="ctr"/>
            <a:lstStyle/>
            <a:p>
              <a:endParaRPr lang="hi-IN"/>
            </a:p>
          </p:txBody>
        </p:sp>
        <p:sp>
          <p:nvSpPr>
            <p:cNvPr id="1598" name="Freeform: Shape 597"/>
            <p:cNvSpPr/>
            <p:nvPr/>
          </p:nvSpPr>
          <p:spPr>
            <a:xfrm>
              <a:off x="8504216" y="887353"/>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0"/>
                    <a:pt x="55412" y="12407"/>
                    <a:pt x="55412" y="27706"/>
                  </a:cubicBezTo>
                </a:path>
              </a:pathLst>
            </a:custGeom>
            <a:grpFill/>
            <a:ln w="7608" cap="flat">
              <a:noFill/>
              <a:prstDash val="solid"/>
              <a:miter/>
            </a:ln>
          </p:spPr>
          <p:txBody>
            <a:bodyPr rtlCol="0" anchor="ctr"/>
            <a:lstStyle/>
            <a:p>
              <a:endParaRPr lang="hi-IN"/>
            </a:p>
          </p:txBody>
        </p:sp>
        <p:sp>
          <p:nvSpPr>
            <p:cNvPr id="1599" name="Freeform: Shape 598"/>
            <p:cNvSpPr/>
            <p:nvPr/>
          </p:nvSpPr>
          <p:spPr>
            <a:xfrm>
              <a:off x="8332880" y="858505"/>
              <a:ext cx="52062" cy="52062"/>
            </a:xfrm>
            <a:custGeom>
              <a:avLst/>
              <a:gdLst>
                <a:gd name="connsiteX0" fmla="*/ 52063 w 52062"/>
                <a:gd name="connsiteY0" fmla="*/ 26031 h 52062"/>
                <a:gd name="connsiteX1" fmla="*/ 26032 w 52062"/>
                <a:gd name="connsiteY1" fmla="*/ 52063 h 52062"/>
                <a:gd name="connsiteX2" fmla="*/ 0 w 52062"/>
                <a:gd name="connsiteY2" fmla="*/ 26031 h 52062"/>
                <a:gd name="connsiteX3" fmla="*/ 26032 w 52062"/>
                <a:gd name="connsiteY3" fmla="*/ 0 h 52062"/>
                <a:gd name="connsiteX4" fmla="*/ 52063 w 52062"/>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62" h="52062">
                  <a:moveTo>
                    <a:pt x="52063" y="26031"/>
                  </a:moveTo>
                  <a:cubicBezTo>
                    <a:pt x="52063" y="40417"/>
                    <a:pt x="40417" y="52063"/>
                    <a:pt x="26032" y="52063"/>
                  </a:cubicBezTo>
                  <a:cubicBezTo>
                    <a:pt x="11646" y="52063"/>
                    <a:pt x="0" y="40417"/>
                    <a:pt x="0" y="26031"/>
                  </a:cubicBezTo>
                  <a:cubicBezTo>
                    <a:pt x="0" y="11646"/>
                    <a:pt x="11646" y="0"/>
                    <a:pt x="26032" y="0"/>
                  </a:cubicBezTo>
                  <a:cubicBezTo>
                    <a:pt x="40417" y="0"/>
                    <a:pt x="52063" y="11646"/>
                    <a:pt x="52063" y="26031"/>
                  </a:cubicBezTo>
                </a:path>
              </a:pathLst>
            </a:custGeom>
            <a:grpFill/>
            <a:ln w="7608" cap="flat">
              <a:noFill/>
              <a:prstDash val="solid"/>
              <a:miter/>
            </a:ln>
          </p:spPr>
          <p:txBody>
            <a:bodyPr rtlCol="0" anchor="ctr"/>
            <a:lstStyle/>
            <a:p>
              <a:endParaRPr lang="hi-IN"/>
            </a:p>
          </p:txBody>
        </p:sp>
        <p:sp>
          <p:nvSpPr>
            <p:cNvPr id="1600" name="Freeform: Shape 599"/>
            <p:cNvSpPr/>
            <p:nvPr/>
          </p:nvSpPr>
          <p:spPr>
            <a:xfrm>
              <a:off x="8160554" y="838791"/>
              <a:ext cx="47800" cy="47800"/>
            </a:xfrm>
            <a:custGeom>
              <a:avLst/>
              <a:gdLst>
                <a:gd name="connsiteX0" fmla="*/ 47801 w 47800"/>
                <a:gd name="connsiteY0" fmla="*/ 23900 h 47800"/>
                <a:gd name="connsiteX1" fmla="*/ 23900 w 47800"/>
                <a:gd name="connsiteY1" fmla="*/ 47801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1"/>
                    <a:pt x="23900" y="47801"/>
                  </a:cubicBezTo>
                  <a:cubicBezTo>
                    <a:pt x="10733" y="47801"/>
                    <a:pt x="0" y="37068"/>
                    <a:pt x="0" y="23900"/>
                  </a:cubicBezTo>
                  <a:cubicBezTo>
                    <a:pt x="0" y="10732"/>
                    <a:pt x="10733" y="0"/>
                    <a:pt x="23900" y="0"/>
                  </a:cubicBezTo>
                  <a:cubicBezTo>
                    <a:pt x="37144" y="0"/>
                    <a:pt x="47801" y="10732"/>
                    <a:pt x="47801" y="23900"/>
                  </a:cubicBezTo>
                </a:path>
              </a:pathLst>
            </a:custGeom>
            <a:grpFill/>
            <a:ln w="7608" cap="flat">
              <a:noFill/>
              <a:prstDash val="solid"/>
              <a:miter/>
            </a:ln>
          </p:spPr>
          <p:txBody>
            <a:bodyPr rtlCol="0" anchor="ctr"/>
            <a:lstStyle/>
            <a:p>
              <a:endParaRPr lang="hi-IN"/>
            </a:p>
          </p:txBody>
        </p:sp>
        <p:sp>
          <p:nvSpPr>
            <p:cNvPr id="1601" name="Freeform: Shape 600"/>
            <p:cNvSpPr/>
            <p:nvPr/>
          </p:nvSpPr>
          <p:spPr>
            <a:xfrm>
              <a:off x="7986859" y="827222"/>
              <a:ext cx="44603" cy="44603"/>
            </a:xfrm>
            <a:custGeom>
              <a:avLst/>
              <a:gdLst>
                <a:gd name="connsiteX0" fmla="*/ 44604 w 44603"/>
                <a:gd name="connsiteY0" fmla="*/ 22302 h 44603"/>
                <a:gd name="connsiteX1" fmla="*/ 22301 w 44603"/>
                <a:gd name="connsiteY1" fmla="*/ 44604 h 44603"/>
                <a:gd name="connsiteX2" fmla="*/ 0 w 44603"/>
                <a:gd name="connsiteY2" fmla="*/ 22302 h 44603"/>
                <a:gd name="connsiteX3" fmla="*/ 22301 w 44603"/>
                <a:gd name="connsiteY3" fmla="*/ 0 h 44603"/>
                <a:gd name="connsiteX4" fmla="*/ 44604 w 44603"/>
                <a:gd name="connsiteY4" fmla="*/ 22302 h 44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03" h="44603">
                  <a:moveTo>
                    <a:pt x="44604" y="22302"/>
                  </a:moveTo>
                  <a:cubicBezTo>
                    <a:pt x="44604" y="34633"/>
                    <a:pt x="34632" y="44604"/>
                    <a:pt x="22301" y="44604"/>
                  </a:cubicBezTo>
                  <a:cubicBezTo>
                    <a:pt x="10047" y="44604"/>
                    <a:pt x="0" y="34633"/>
                    <a:pt x="0" y="22302"/>
                  </a:cubicBezTo>
                  <a:cubicBezTo>
                    <a:pt x="0" y="9971"/>
                    <a:pt x="9971" y="0"/>
                    <a:pt x="22301" y="0"/>
                  </a:cubicBezTo>
                  <a:cubicBezTo>
                    <a:pt x="34632" y="76"/>
                    <a:pt x="44604" y="10047"/>
                    <a:pt x="44604" y="22302"/>
                  </a:cubicBezTo>
                </a:path>
              </a:pathLst>
            </a:custGeom>
            <a:grpFill/>
            <a:ln w="7608" cap="flat">
              <a:noFill/>
              <a:prstDash val="solid"/>
              <a:miter/>
            </a:ln>
          </p:spPr>
          <p:txBody>
            <a:bodyPr rtlCol="0" anchor="ctr"/>
            <a:lstStyle/>
            <a:p>
              <a:endParaRPr lang="hi-IN"/>
            </a:p>
          </p:txBody>
        </p:sp>
        <p:sp>
          <p:nvSpPr>
            <p:cNvPr id="1602" name="Freeform: Shape 601"/>
            <p:cNvSpPr/>
            <p:nvPr/>
          </p:nvSpPr>
          <p:spPr>
            <a:xfrm>
              <a:off x="7813392" y="825091"/>
              <a:ext cx="40189" cy="40188"/>
            </a:xfrm>
            <a:custGeom>
              <a:avLst/>
              <a:gdLst>
                <a:gd name="connsiteX0" fmla="*/ 40189 w 40189"/>
                <a:gd name="connsiteY0" fmla="*/ 20094 h 40188"/>
                <a:gd name="connsiteX1" fmla="*/ 20095 w 40189"/>
                <a:gd name="connsiteY1" fmla="*/ 40189 h 40188"/>
                <a:gd name="connsiteX2" fmla="*/ 0 w 40189"/>
                <a:gd name="connsiteY2" fmla="*/ 20094 h 40188"/>
                <a:gd name="connsiteX3" fmla="*/ 20095 w 40189"/>
                <a:gd name="connsiteY3" fmla="*/ 0 h 40188"/>
                <a:gd name="connsiteX4" fmla="*/ 40189 w 40189"/>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4"/>
                  </a:moveTo>
                  <a:cubicBezTo>
                    <a:pt x="40189" y="31207"/>
                    <a:pt x="31207" y="40189"/>
                    <a:pt x="20095" y="40189"/>
                  </a:cubicBezTo>
                  <a:cubicBezTo>
                    <a:pt x="8982" y="40189"/>
                    <a:pt x="0" y="31207"/>
                    <a:pt x="0" y="20094"/>
                  </a:cubicBezTo>
                  <a:cubicBezTo>
                    <a:pt x="0" y="8982"/>
                    <a:pt x="8982" y="0"/>
                    <a:pt x="20095" y="0"/>
                  </a:cubicBezTo>
                  <a:cubicBezTo>
                    <a:pt x="31207" y="0"/>
                    <a:pt x="40189" y="8982"/>
                    <a:pt x="40189" y="20094"/>
                  </a:cubicBezTo>
                </a:path>
              </a:pathLst>
            </a:custGeom>
            <a:grpFill/>
            <a:ln w="7608" cap="flat">
              <a:noFill/>
              <a:prstDash val="solid"/>
              <a:miter/>
            </a:ln>
          </p:spPr>
          <p:txBody>
            <a:bodyPr rtlCol="0" anchor="ctr"/>
            <a:lstStyle/>
            <a:p>
              <a:endParaRPr lang="hi-IN"/>
            </a:p>
          </p:txBody>
        </p:sp>
        <p:sp>
          <p:nvSpPr>
            <p:cNvPr id="1603" name="Freeform: Shape 602"/>
            <p:cNvSpPr/>
            <p:nvPr/>
          </p:nvSpPr>
          <p:spPr>
            <a:xfrm>
              <a:off x="7639316" y="831028"/>
              <a:ext cx="36991" cy="36992"/>
            </a:xfrm>
            <a:custGeom>
              <a:avLst/>
              <a:gdLst>
                <a:gd name="connsiteX0" fmla="*/ 36992 w 36991"/>
                <a:gd name="connsiteY0" fmla="*/ 18496 h 36992"/>
                <a:gd name="connsiteX1" fmla="*/ 18496 w 36991"/>
                <a:gd name="connsiteY1" fmla="*/ 36992 h 36992"/>
                <a:gd name="connsiteX2" fmla="*/ 0 w 36991"/>
                <a:gd name="connsiteY2" fmla="*/ 18496 h 36992"/>
                <a:gd name="connsiteX3" fmla="*/ 18496 w 36991"/>
                <a:gd name="connsiteY3" fmla="*/ 0 h 36992"/>
                <a:gd name="connsiteX4" fmla="*/ 36992 w 36991"/>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2">
                  <a:moveTo>
                    <a:pt x="36992" y="18496"/>
                  </a:moveTo>
                  <a:cubicBezTo>
                    <a:pt x="36992" y="28695"/>
                    <a:pt x="28696" y="36992"/>
                    <a:pt x="18496" y="36992"/>
                  </a:cubicBezTo>
                  <a:cubicBezTo>
                    <a:pt x="8296" y="36992"/>
                    <a:pt x="0" y="28772"/>
                    <a:pt x="0" y="18496"/>
                  </a:cubicBezTo>
                  <a:cubicBezTo>
                    <a:pt x="0" y="8297"/>
                    <a:pt x="8296" y="0"/>
                    <a:pt x="18496" y="0"/>
                  </a:cubicBezTo>
                  <a:cubicBezTo>
                    <a:pt x="28696" y="76"/>
                    <a:pt x="36992" y="8297"/>
                    <a:pt x="36992" y="18496"/>
                  </a:cubicBezTo>
                </a:path>
              </a:pathLst>
            </a:custGeom>
            <a:grpFill/>
            <a:ln w="7608" cap="flat">
              <a:noFill/>
              <a:prstDash val="solid"/>
              <a:miter/>
            </a:ln>
          </p:spPr>
          <p:txBody>
            <a:bodyPr rtlCol="0" anchor="ctr"/>
            <a:lstStyle/>
            <a:p>
              <a:endParaRPr lang="hi-IN"/>
            </a:p>
          </p:txBody>
        </p:sp>
        <p:sp>
          <p:nvSpPr>
            <p:cNvPr id="1604" name="Freeform: Shape 603"/>
            <p:cNvSpPr/>
            <p:nvPr/>
          </p:nvSpPr>
          <p:spPr>
            <a:xfrm>
              <a:off x="7466230" y="846403"/>
              <a:ext cx="32577" cy="32577"/>
            </a:xfrm>
            <a:custGeom>
              <a:avLst/>
              <a:gdLst>
                <a:gd name="connsiteX0" fmla="*/ 32577 w 32577"/>
                <a:gd name="connsiteY0" fmla="*/ 16289 h 32577"/>
                <a:gd name="connsiteX1" fmla="*/ 16288 w 32577"/>
                <a:gd name="connsiteY1" fmla="*/ 32577 h 32577"/>
                <a:gd name="connsiteX2" fmla="*/ 0 w 32577"/>
                <a:gd name="connsiteY2" fmla="*/ 16289 h 32577"/>
                <a:gd name="connsiteX3" fmla="*/ 16288 w 32577"/>
                <a:gd name="connsiteY3" fmla="*/ 0 h 32577"/>
                <a:gd name="connsiteX4" fmla="*/ 32577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7" y="16289"/>
                  </a:moveTo>
                  <a:cubicBezTo>
                    <a:pt x="32577" y="25270"/>
                    <a:pt x="25270" y="32577"/>
                    <a:pt x="16288" y="32577"/>
                  </a:cubicBezTo>
                  <a:cubicBezTo>
                    <a:pt x="7307" y="32577"/>
                    <a:pt x="0" y="25270"/>
                    <a:pt x="0" y="16289"/>
                  </a:cubicBezTo>
                  <a:cubicBezTo>
                    <a:pt x="0" y="7307"/>
                    <a:pt x="7307" y="0"/>
                    <a:pt x="16288" y="0"/>
                  </a:cubicBezTo>
                  <a:cubicBezTo>
                    <a:pt x="25346" y="0"/>
                    <a:pt x="32577" y="7307"/>
                    <a:pt x="32577" y="16289"/>
                  </a:cubicBezTo>
                </a:path>
              </a:pathLst>
            </a:custGeom>
            <a:grpFill/>
            <a:ln w="7608" cap="flat">
              <a:noFill/>
              <a:prstDash val="solid"/>
              <a:miter/>
            </a:ln>
          </p:spPr>
          <p:txBody>
            <a:bodyPr rtlCol="0" anchor="ctr"/>
            <a:lstStyle/>
            <a:p>
              <a:endParaRPr lang="hi-IN"/>
            </a:p>
          </p:txBody>
        </p:sp>
        <p:sp>
          <p:nvSpPr>
            <p:cNvPr id="1605" name="Freeform: Shape 604"/>
            <p:cNvSpPr/>
            <p:nvPr/>
          </p:nvSpPr>
          <p:spPr>
            <a:xfrm>
              <a:off x="7293447" y="869847"/>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622" y="29381"/>
                    <a:pt x="0" y="22835"/>
                    <a:pt x="0" y="14690"/>
                  </a:cubicBezTo>
                  <a:cubicBezTo>
                    <a:pt x="0" y="6622"/>
                    <a:pt x="6546" y="0"/>
                    <a:pt x="14690" y="0"/>
                  </a:cubicBezTo>
                  <a:cubicBezTo>
                    <a:pt x="22835" y="0"/>
                    <a:pt x="29380" y="6622"/>
                    <a:pt x="29380" y="14690"/>
                  </a:cubicBezTo>
                </a:path>
              </a:pathLst>
            </a:custGeom>
            <a:grpFill/>
            <a:ln w="7608" cap="flat">
              <a:noFill/>
              <a:prstDash val="solid"/>
              <a:miter/>
            </a:ln>
          </p:spPr>
          <p:txBody>
            <a:bodyPr rtlCol="0" anchor="ctr"/>
            <a:lstStyle/>
            <a:p>
              <a:endParaRPr lang="hi-IN"/>
            </a:p>
          </p:txBody>
        </p:sp>
        <p:sp>
          <p:nvSpPr>
            <p:cNvPr id="1606" name="Freeform: Shape 605"/>
            <p:cNvSpPr/>
            <p:nvPr/>
          </p:nvSpPr>
          <p:spPr>
            <a:xfrm>
              <a:off x="7122035" y="902043"/>
              <a:ext cx="26031" cy="26031"/>
            </a:xfrm>
            <a:custGeom>
              <a:avLst/>
              <a:gdLst>
                <a:gd name="connsiteX0" fmla="*/ 26031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1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1" y="13016"/>
                  </a:moveTo>
                  <a:cubicBezTo>
                    <a:pt x="26031" y="20171"/>
                    <a:pt x="20171" y="26031"/>
                    <a:pt x="13016" y="26031"/>
                  </a:cubicBezTo>
                  <a:cubicBezTo>
                    <a:pt x="5861" y="26031"/>
                    <a:pt x="0" y="20171"/>
                    <a:pt x="0" y="13016"/>
                  </a:cubicBezTo>
                  <a:cubicBezTo>
                    <a:pt x="0" y="5785"/>
                    <a:pt x="5861" y="0"/>
                    <a:pt x="13016" y="0"/>
                  </a:cubicBezTo>
                  <a:cubicBezTo>
                    <a:pt x="20171" y="0"/>
                    <a:pt x="26031" y="5861"/>
                    <a:pt x="26031" y="13016"/>
                  </a:cubicBezTo>
                </a:path>
              </a:pathLst>
            </a:custGeom>
            <a:grpFill/>
            <a:ln w="7608" cap="flat">
              <a:noFill/>
              <a:prstDash val="solid"/>
              <a:miter/>
            </a:ln>
          </p:spPr>
          <p:txBody>
            <a:bodyPr rtlCol="0" anchor="ctr"/>
            <a:lstStyle/>
            <a:p>
              <a:endParaRPr lang="hi-IN"/>
            </a:p>
          </p:txBody>
        </p:sp>
        <p:sp>
          <p:nvSpPr>
            <p:cNvPr id="1607" name="Freeform: Shape 606"/>
            <p:cNvSpPr/>
            <p:nvPr/>
          </p:nvSpPr>
          <p:spPr>
            <a:xfrm>
              <a:off x="6952298" y="942765"/>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608" name="Freeform: Shape 607"/>
            <p:cNvSpPr/>
            <p:nvPr/>
          </p:nvSpPr>
          <p:spPr>
            <a:xfrm>
              <a:off x="6784844" y="992012"/>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415" y="0"/>
                    <a:pt x="9743" y="0"/>
                  </a:cubicBezTo>
                  <a:cubicBezTo>
                    <a:pt x="15071" y="0"/>
                    <a:pt x="19486" y="4339"/>
                    <a:pt x="19486" y="9743"/>
                  </a:cubicBezTo>
                </a:path>
              </a:pathLst>
            </a:custGeom>
            <a:grpFill/>
            <a:ln w="7608" cap="flat">
              <a:noFill/>
              <a:prstDash val="solid"/>
              <a:miter/>
            </a:ln>
          </p:spPr>
          <p:txBody>
            <a:bodyPr rtlCol="0" anchor="ctr"/>
            <a:lstStyle/>
            <a:p>
              <a:endParaRPr lang="hi-IN"/>
            </a:p>
          </p:txBody>
        </p:sp>
        <p:sp>
          <p:nvSpPr>
            <p:cNvPr id="1609" name="Freeform: Shape 608"/>
            <p:cNvSpPr/>
            <p:nvPr/>
          </p:nvSpPr>
          <p:spPr>
            <a:xfrm>
              <a:off x="6619750" y="1049631"/>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610" name="Freeform: Shape 609"/>
            <p:cNvSpPr/>
            <p:nvPr/>
          </p:nvSpPr>
          <p:spPr>
            <a:xfrm>
              <a:off x="6457700" y="1115395"/>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200"/>
                    <a:pt x="0" y="6546"/>
                  </a:cubicBezTo>
                  <a:cubicBezTo>
                    <a:pt x="0" y="2968"/>
                    <a:pt x="2892" y="0"/>
                    <a:pt x="6546" y="0"/>
                  </a:cubicBezTo>
                  <a:cubicBezTo>
                    <a:pt x="10199" y="76"/>
                    <a:pt x="13092" y="2968"/>
                    <a:pt x="13092" y="6546"/>
                  </a:cubicBezTo>
                </a:path>
              </a:pathLst>
            </a:custGeom>
            <a:grpFill/>
            <a:ln w="7608" cap="flat">
              <a:noFill/>
              <a:prstDash val="solid"/>
              <a:miter/>
            </a:ln>
          </p:spPr>
          <p:txBody>
            <a:bodyPr rtlCol="0" anchor="ctr"/>
            <a:lstStyle/>
            <a:p>
              <a:endParaRPr lang="hi-IN"/>
            </a:p>
          </p:txBody>
        </p:sp>
        <p:sp>
          <p:nvSpPr>
            <p:cNvPr id="1611" name="Freeform: Shape 610"/>
            <p:cNvSpPr/>
            <p:nvPr/>
          </p:nvSpPr>
          <p:spPr>
            <a:xfrm>
              <a:off x="6298771" y="1188846"/>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6" y="10808"/>
                    <a:pt x="0" y="8373"/>
                    <a:pt x="0" y="5404"/>
                  </a:cubicBezTo>
                  <a:cubicBezTo>
                    <a:pt x="0" y="2436"/>
                    <a:pt x="2436"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612" name="Freeform: Shape 611"/>
            <p:cNvSpPr/>
            <p:nvPr/>
          </p:nvSpPr>
          <p:spPr>
            <a:xfrm>
              <a:off x="6143343" y="1270062"/>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03" y="8677"/>
                    <a:pt x="0" y="6698"/>
                    <a:pt x="0" y="4339"/>
                  </a:cubicBezTo>
                  <a:cubicBezTo>
                    <a:pt x="0" y="1979"/>
                    <a:pt x="1979" y="0"/>
                    <a:pt x="4339" y="0"/>
                  </a:cubicBezTo>
                  <a:cubicBezTo>
                    <a:pt x="6774" y="0"/>
                    <a:pt x="8677" y="1979"/>
                    <a:pt x="8677" y="4339"/>
                  </a:cubicBezTo>
                </a:path>
              </a:pathLst>
            </a:custGeom>
            <a:grpFill/>
            <a:ln w="7608" cap="flat">
              <a:noFill/>
              <a:prstDash val="solid"/>
              <a:miter/>
            </a:ln>
          </p:spPr>
          <p:txBody>
            <a:bodyPr rtlCol="0" anchor="ctr"/>
            <a:lstStyle/>
            <a:p>
              <a:endParaRPr lang="hi-IN"/>
            </a:p>
          </p:txBody>
        </p:sp>
        <p:sp>
          <p:nvSpPr>
            <p:cNvPr id="1613" name="Freeform: Shape 612"/>
            <p:cNvSpPr/>
            <p:nvPr/>
          </p:nvSpPr>
          <p:spPr>
            <a:xfrm>
              <a:off x="5992178" y="1359040"/>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614" name="Freeform: Shape 613"/>
            <p:cNvSpPr/>
            <p:nvPr/>
          </p:nvSpPr>
          <p:spPr>
            <a:xfrm>
              <a:off x="5845580" y="1455479"/>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501" y="0"/>
                    <a:pt x="4415" y="990"/>
                    <a:pt x="4415" y="2207"/>
                  </a:cubicBezTo>
                </a:path>
              </a:pathLst>
            </a:custGeom>
            <a:grpFill/>
            <a:ln w="7608" cap="flat">
              <a:noFill/>
              <a:prstDash val="solid"/>
              <a:miter/>
            </a:ln>
          </p:spPr>
          <p:txBody>
            <a:bodyPr rtlCol="0" anchor="ctr"/>
            <a:lstStyle/>
            <a:p>
              <a:endParaRPr lang="hi-IN"/>
            </a:p>
          </p:txBody>
        </p:sp>
        <p:sp>
          <p:nvSpPr>
            <p:cNvPr id="1615" name="Freeform: Shape 614"/>
            <p:cNvSpPr/>
            <p:nvPr/>
          </p:nvSpPr>
          <p:spPr>
            <a:xfrm>
              <a:off x="10846592" y="6547753"/>
              <a:ext cx="4414" cy="4414"/>
            </a:xfrm>
            <a:custGeom>
              <a:avLst/>
              <a:gdLst>
                <a:gd name="connsiteX0" fmla="*/ 4414 w 4414"/>
                <a:gd name="connsiteY0" fmla="*/ 2208 h 4414"/>
                <a:gd name="connsiteX1" fmla="*/ 2208 w 4414"/>
                <a:gd name="connsiteY1" fmla="*/ 4415 h 4414"/>
                <a:gd name="connsiteX2" fmla="*/ 0 w 4414"/>
                <a:gd name="connsiteY2" fmla="*/ 2208 h 4414"/>
                <a:gd name="connsiteX3" fmla="*/ 2208 w 4414"/>
                <a:gd name="connsiteY3" fmla="*/ 0 h 4414"/>
                <a:gd name="connsiteX4" fmla="*/ 4414 w 4414"/>
                <a:gd name="connsiteY4" fmla="*/ 2208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8"/>
                  </a:moveTo>
                  <a:cubicBezTo>
                    <a:pt x="4414" y="3425"/>
                    <a:pt x="3425" y="4415"/>
                    <a:pt x="2208" y="4415"/>
                  </a:cubicBezTo>
                  <a:cubicBezTo>
                    <a:pt x="990" y="4415"/>
                    <a:pt x="0" y="3425"/>
                    <a:pt x="0" y="2208"/>
                  </a:cubicBezTo>
                  <a:cubicBezTo>
                    <a:pt x="0" y="990"/>
                    <a:pt x="990" y="0"/>
                    <a:pt x="2208" y="0"/>
                  </a:cubicBezTo>
                  <a:cubicBezTo>
                    <a:pt x="3425" y="76"/>
                    <a:pt x="4414" y="1066"/>
                    <a:pt x="4414" y="2208"/>
                  </a:cubicBezTo>
                </a:path>
              </a:pathLst>
            </a:custGeom>
            <a:grpFill/>
            <a:ln w="7608" cap="flat">
              <a:noFill/>
              <a:prstDash val="solid"/>
              <a:miter/>
            </a:ln>
          </p:spPr>
          <p:txBody>
            <a:bodyPr rtlCol="0" anchor="ctr"/>
            <a:lstStyle/>
            <a:p>
              <a:endParaRPr lang="hi-IN"/>
            </a:p>
          </p:txBody>
        </p:sp>
        <p:sp>
          <p:nvSpPr>
            <p:cNvPr id="1616" name="Freeform: Shape 615"/>
            <p:cNvSpPr/>
            <p:nvPr/>
          </p:nvSpPr>
          <p:spPr>
            <a:xfrm>
              <a:off x="10945618" y="6402449"/>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617" name="Freeform: Shape 616"/>
            <p:cNvSpPr/>
            <p:nvPr/>
          </p:nvSpPr>
          <p:spPr>
            <a:xfrm>
              <a:off x="11037261" y="625196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4"/>
                    <a:pt x="1674" y="0"/>
                    <a:pt x="3806" y="0"/>
                  </a:cubicBezTo>
                  <a:cubicBezTo>
                    <a:pt x="5860" y="0"/>
                    <a:pt x="7612" y="1751"/>
                    <a:pt x="7612" y="3806"/>
                  </a:cubicBezTo>
                </a:path>
              </a:pathLst>
            </a:custGeom>
            <a:grpFill/>
            <a:ln w="7608" cap="flat">
              <a:noFill/>
              <a:prstDash val="solid"/>
              <a:miter/>
            </a:ln>
          </p:spPr>
          <p:txBody>
            <a:bodyPr rtlCol="0" anchor="ctr"/>
            <a:lstStyle/>
            <a:p>
              <a:endParaRPr lang="hi-IN"/>
            </a:p>
          </p:txBody>
        </p:sp>
        <p:sp>
          <p:nvSpPr>
            <p:cNvPr id="1618" name="Freeform: Shape 617"/>
            <p:cNvSpPr/>
            <p:nvPr/>
          </p:nvSpPr>
          <p:spPr>
            <a:xfrm>
              <a:off x="11121673" y="6097378"/>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208" y="9743"/>
                    <a:pt x="0" y="7535"/>
                    <a:pt x="0" y="4871"/>
                  </a:cubicBezTo>
                  <a:cubicBezTo>
                    <a:pt x="0" y="2207"/>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619" name="Freeform: Shape 618"/>
            <p:cNvSpPr/>
            <p:nvPr/>
          </p:nvSpPr>
          <p:spPr>
            <a:xfrm>
              <a:off x="11198093" y="5938220"/>
              <a:ext cx="13091" cy="13092"/>
            </a:xfrm>
            <a:custGeom>
              <a:avLst/>
              <a:gdLst>
                <a:gd name="connsiteX0" fmla="*/ 13092 w 13091"/>
                <a:gd name="connsiteY0" fmla="*/ 6546 h 13092"/>
                <a:gd name="connsiteX1" fmla="*/ 6546 w 13091"/>
                <a:gd name="connsiteY1" fmla="*/ 13092 h 13092"/>
                <a:gd name="connsiteX2" fmla="*/ 0 w 13091"/>
                <a:gd name="connsiteY2" fmla="*/ 6546 h 13092"/>
                <a:gd name="connsiteX3" fmla="*/ 6546 w 13091"/>
                <a:gd name="connsiteY3" fmla="*/ 0 h 13092"/>
                <a:gd name="connsiteX4" fmla="*/ 13092 w 13091"/>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2">
                  <a:moveTo>
                    <a:pt x="13092" y="6546"/>
                  </a:moveTo>
                  <a:cubicBezTo>
                    <a:pt x="13092" y="10123"/>
                    <a:pt x="10199" y="13092"/>
                    <a:pt x="6546" y="13092"/>
                  </a:cubicBezTo>
                  <a:cubicBezTo>
                    <a:pt x="2968" y="13092"/>
                    <a:pt x="0" y="10200"/>
                    <a:pt x="0" y="6546"/>
                  </a:cubicBezTo>
                  <a:cubicBezTo>
                    <a:pt x="0" y="2892"/>
                    <a:pt x="2891" y="0"/>
                    <a:pt x="6546" y="0"/>
                  </a:cubicBezTo>
                  <a:cubicBezTo>
                    <a:pt x="10123" y="0"/>
                    <a:pt x="13092" y="2969"/>
                    <a:pt x="13092" y="6546"/>
                  </a:cubicBezTo>
                </a:path>
              </a:pathLst>
            </a:custGeom>
            <a:grpFill/>
            <a:ln w="7608" cap="flat">
              <a:noFill/>
              <a:prstDash val="solid"/>
              <a:miter/>
            </a:ln>
          </p:spPr>
          <p:txBody>
            <a:bodyPr rtlCol="0" anchor="ctr"/>
            <a:lstStyle/>
            <a:p>
              <a:endParaRPr lang="hi-IN"/>
            </a:p>
          </p:txBody>
        </p:sp>
        <p:sp>
          <p:nvSpPr>
            <p:cNvPr id="1620" name="Freeform: Shape 619"/>
            <p:cNvSpPr/>
            <p:nvPr/>
          </p:nvSpPr>
          <p:spPr>
            <a:xfrm>
              <a:off x="11267585" y="5776171"/>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6" y="15223"/>
                    <a:pt x="0" y="11798"/>
                    <a:pt x="0" y="7612"/>
                  </a:cubicBezTo>
                  <a:cubicBezTo>
                    <a:pt x="0" y="3425"/>
                    <a:pt x="3426" y="0"/>
                    <a:pt x="7612" y="0"/>
                  </a:cubicBezTo>
                  <a:cubicBezTo>
                    <a:pt x="11874" y="76"/>
                    <a:pt x="15223" y="3425"/>
                    <a:pt x="15223" y="7612"/>
                  </a:cubicBezTo>
                </a:path>
              </a:pathLst>
            </a:custGeom>
            <a:grpFill/>
            <a:ln w="7608" cap="flat">
              <a:noFill/>
              <a:prstDash val="solid"/>
              <a:miter/>
            </a:ln>
          </p:spPr>
          <p:txBody>
            <a:bodyPr rtlCol="0" anchor="ctr"/>
            <a:lstStyle/>
            <a:p>
              <a:endParaRPr lang="hi-IN"/>
            </a:p>
          </p:txBody>
        </p:sp>
        <p:sp>
          <p:nvSpPr>
            <p:cNvPr id="1621" name="Freeform: Shape 620"/>
            <p:cNvSpPr/>
            <p:nvPr/>
          </p:nvSpPr>
          <p:spPr>
            <a:xfrm>
              <a:off x="11329011" y="5610467"/>
              <a:ext cx="18420" cy="18420"/>
            </a:xfrm>
            <a:custGeom>
              <a:avLst/>
              <a:gdLst>
                <a:gd name="connsiteX0" fmla="*/ 18420 w 18420"/>
                <a:gd name="connsiteY0" fmla="*/ 9210 h 18420"/>
                <a:gd name="connsiteX1" fmla="*/ 9210 w 18420"/>
                <a:gd name="connsiteY1" fmla="*/ 18420 h 18420"/>
                <a:gd name="connsiteX2" fmla="*/ 0 w 18420"/>
                <a:gd name="connsiteY2" fmla="*/ 9210 h 18420"/>
                <a:gd name="connsiteX3" fmla="*/ 9210 w 18420"/>
                <a:gd name="connsiteY3" fmla="*/ 0 h 18420"/>
                <a:gd name="connsiteX4" fmla="*/ 18420 w 18420"/>
                <a:gd name="connsiteY4" fmla="*/ 921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0">
                  <a:moveTo>
                    <a:pt x="18420" y="9210"/>
                  </a:moveTo>
                  <a:cubicBezTo>
                    <a:pt x="18420" y="14310"/>
                    <a:pt x="14310" y="18420"/>
                    <a:pt x="9210" y="18420"/>
                  </a:cubicBezTo>
                  <a:cubicBezTo>
                    <a:pt x="4111" y="18420"/>
                    <a:pt x="0" y="14310"/>
                    <a:pt x="0" y="9210"/>
                  </a:cubicBezTo>
                  <a:cubicBezTo>
                    <a:pt x="0" y="4111"/>
                    <a:pt x="4111" y="0"/>
                    <a:pt x="9210" y="0"/>
                  </a:cubicBezTo>
                  <a:cubicBezTo>
                    <a:pt x="14234" y="0"/>
                    <a:pt x="18420" y="4111"/>
                    <a:pt x="18420" y="9210"/>
                  </a:cubicBezTo>
                </a:path>
              </a:pathLst>
            </a:custGeom>
            <a:grpFill/>
            <a:ln w="7608" cap="flat">
              <a:noFill/>
              <a:prstDash val="solid"/>
              <a:miter/>
            </a:ln>
          </p:spPr>
          <p:txBody>
            <a:bodyPr rtlCol="0" anchor="ctr"/>
            <a:lstStyle/>
            <a:p>
              <a:endParaRPr lang="hi-IN"/>
            </a:p>
          </p:txBody>
        </p:sp>
        <p:sp>
          <p:nvSpPr>
            <p:cNvPr id="1622" name="Freeform: Shape 621"/>
            <p:cNvSpPr/>
            <p:nvPr/>
          </p:nvSpPr>
          <p:spPr>
            <a:xfrm>
              <a:off x="11382368" y="5441948"/>
              <a:ext cx="21768" cy="21768"/>
            </a:xfrm>
            <a:custGeom>
              <a:avLst/>
              <a:gdLst>
                <a:gd name="connsiteX0" fmla="*/ 21769 w 21768"/>
                <a:gd name="connsiteY0" fmla="*/ 10884 h 21768"/>
                <a:gd name="connsiteX1" fmla="*/ 10884 w 21768"/>
                <a:gd name="connsiteY1" fmla="*/ 21769 h 21768"/>
                <a:gd name="connsiteX2" fmla="*/ 0 w 21768"/>
                <a:gd name="connsiteY2" fmla="*/ 10884 h 21768"/>
                <a:gd name="connsiteX3" fmla="*/ 10884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7"/>
                    <a:pt x="16897" y="21769"/>
                    <a:pt x="10884" y="21769"/>
                  </a:cubicBezTo>
                  <a:cubicBezTo>
                    <a:pt x="4871" y="21769"/>
                    <a:pt x="0" y="16897"/>
                    <a:pt x="0" y="10884"/>
                  </a:cubicBezTo>
                  <a:cubicBezTo>
                    <a:pt x="0" y="4871"/>
                    <a:pt x="4871" y="0"/>
                    <a:pt x="10884"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623" name="Freeform: Shape 622"/>
            <p:cNvSpPr/>
            <p:nvPr/>
          </p:nvSpPr>
          <p:spPr>
            <a:xfrm>
              <a:off x="11427961" y="5270993"/>
              <a:ext cx="24966" cy="24966"/>
            </a:xfrm>
            <a:custGeom>
              <a:avLst/>
              <a:gdLst>
                <a:gd name="connsiteX0" fmla="*/ 24966 w 24966"/>
                <a:gd name="connsiteY0" fmla="*/ 12483 h 24966"/>
                <a:gd name="connsiteX1" fmla="*/ 12483 w 24966"/>
                <a:gd name="connsiteY1" fmla="*/ 24966 h 24966"/>
                <a:gd name="connsiteX2" fmla="*/ 0 w 24966"/>
                <a:gd name="connsiteY2" fmla="*/ 12483 h 24966"/>
                <a:gd name="connsiteX3" fmla="*/ 12483 w 24966"/>
                <a:gd name="connsiteY3" fmla="*/ 0 h 24966"/>
                <a:gd name="connsiteX4" fmla="*/ 24966 w 24966"/>
                <a:gd name="connsiteY4" fmla="*/ 12483 h 24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6">
                  <a:moveTo>
                    <a:pt x="24966" y="12483"/>
                  </a:moveTo>
                  <a:cubicBezTo>
                    <a:pt x="24966" y="19409"/>
                    <a:pt x="19334" y="24966"/>
                    <a:pt x="12483" y="24966"/>
                  </a:cubicBezTo>
                  <a:cubicBezTo>
                    <a:pt x="5556" y="24966"/>
                    <a:pt x="0" y="19333"/>
                    <a:pt x="0" y="12483"/>
                  </a:cubicBezTo>
                  <a:cubicBezTo>
                    <a:pt x="0" y="5556"/>
                    <a:pt x="5556" y="0"/>
                    <a:pt x="12483" y="0"/>
                  </a:cubicBezTo>
                  <a:cubicBezTo>
                    <a:pt x="19334" y="0"/>
                    <a:pt x="24966" y="5632"/>
                    <a:pt x="24966" y="12483"/>
                  </a:cubicBezTo>
                </a:path>
              </a:pathLst>
            </a:custGeom>
            <a:grpFill/>
            <a:ln w="7608" cap="flat">
              <a:noFill/>
              <a:prstDash val="solid"/>
              <a:miter/>
            </a:ln>
          </p:spPr>
          <p:txBody>
            <a:bodyPr rtlCol="0" anchor="ctr"/>
            <a:lstStyle/>
            <a:p>
              <a:endParaRPr lang="hi-IN"/>
            </a:p>
          </p:txBody>
        </p:sp>
        <p:sp>
          <p:nvSpPr>
            <p:cNvPr id="1624" name="Freeform: Shape 623"/>
            <p:cNvSpPr/>
            <p:nvPr/>
          </p:nvSpPr>
          <p:spPr>
            <a:xfrm>
              <a:off x="11465410" y="5098058"/>
              <a:ext cx="28238" cy="28239"/>
            </a:xfrm>
            <a:custGeom>
              <a:avLst/>
              <a:gdLst>
                <a:gd name="connsiteX0" fmla="*/ 28239 w 28238"/>
                <a:gd name="connsiteY0" fmla="*/ 14082 h 28239"/>
                <a:gd name="connsiteX1" fmla="*/ 14081 w 28238"/>
                <a:gd name="connsiteY1" fmla="*/ 28239 h 28239"/>
                <a:gd name="connsiteX2" fmla="*/ 0 w 28238"/>
                <a:gd name="connsiteY2" fmla="*/ 14082 h 28239"/>
                <a:gd name="connsiteX3" fmla="*/ 14081 w 28238"/>
                <a:gd name="connsiteY3" fmla="*/ 1 h 28239"/>
                <a:gd name="connsiteX4" fmla="*/ 28239 w 28238"/>
                <a:gd name="connsiteY4" fmla="*/ 14082 h 28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239">
                  <a:moveTo>
                    <a:pt x="28239" y="14082"/>
                  </a:moveTo>
                  <a:cubicBezTo>
                    <a:pt x="28239" y="21846"/>
                    <a:pt x="21921" y="28239"/>
                    <a:pt x="14081" y="28239"/>
                  </a:cubicBezTo>
                  <a:cubicBezTo>
                    <a:pt x="6317" y="28239"/>
                    <a:pt x="0" y="21921"/>
                    <a:pt x="0" y="14082"/>
                  </a:cubicBezTo>
                  <a:cubicBezTo>
                    <a:pt x="0" y="6318"/>
                    <a:pt x="6317" y="1"/>
                    <a:pt x="14081" y="1"/>
                  </a:cubicBezTo>
                  <a:cubicBezTo>
                    <a:pt x="21921" y="-76"/>
                    <a:pt x="28239" y="6318"/>
                    <a:pt x="28239" y="14082"/>
                  </a:cubicBezTo>
                </a:path>
              </a:pathLst>
            </a:custGeom>
            <a:grpFill/>
            <a:ln w="7608" cap="flat">
              <a:noFill/>
              <a:prstDash val="solid"/>
              <a:miter/>
            </a:ln>
          </p:spPr>
          <p:txBody>
            <a:bodyPr rtlCol="0" anchor="ctr"/>
            <a:lstStyle/>
            <a:p>
              <a:endParaRPr lang="hi-IN"/>
            </a:p>
          </p:txBody>
        </p:sp>
        <p:sp>
          <p:nvSpPr>
            <p:cNvPr id="1625" name="Freeform: Shape 624"/>
            <p:cNvSpPr/>
            <p:nvPr/>
          </p:nvSpPr>
          <p:spPr>
            <a:xfrm>
              <a:off x="11494257" y="4922841"/>
              <a:ext cx="32577" cy="32577"/>
            </a:xfrm>
            <a:custGeom>
              <a:avLst/>
              <a:gdLst>
                <a:gd name="connsiteX0" fmla="*/ 32578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1" y="32577"/>
                    <a:pt x="16289" y="32577"/>
                  </a:cubicBezTo>
                  <a:cubicBezTo>
                    <a:pt x="7308" y="32577"/>
                    <a:pt x="0" y="25270"/>
                    <a:pt x="0" y="16289"/>
                  </a:cubicBezTo>
                  <a:cubicBezTo>
                    <a:pt x="0" y="7307"/>
                    <a:pt x="7308" y="0"/>
                    <a:pt x="16289" y="0"/>
                  </a:cubicBezTo>
                  <a:cubicBezTo>
                    <a:pt x="25271" y="0"/>
                    <a:pt x="32578" y="7307"/>
                    <a:pt x="32578" y="16289"/>
                  </a:cubicBezTo>
                </a:path>
              </a:pathLst>
            </a:custGeom>
            <a:grpFill/>
            <a:ln w="7608" cap="flat">
              <a:noFill/>
              <a:prstDash val="solid"/>
              <a:miter/>
            </a:ln>
          </p:spPr>
          <p:txBody>
            <a:bodyPr rtlCol="0" anchor="ctr"/>
            <a:lstStyle/>
            <a:p>
              <a:endParaRPr lang="hi-IN"/>
            </a:p>
          </p:txBody>
        </p:sp>
        <p:sp>
          <p:nvSpPr>
            <p:cNvPr id="1626" name="Freeform: Shape 625"/>
            <p:cNvSpPr/>
            <p:nvPr/>
          </p:nvSpPr>
          <p:spPr>
            <a:xfrm>
              <a:off x="11515418" y="4746938"/>
              <a:ext cx="35773" cy="35773"/>
            </a:xfrm>
            <a:custGeom>
              <a:avLst/>
              <a:gdLst>
                <a:gd name="connsiteX0" fmla="*/ 35774 w 35773"/>
                <a:gd name="connsiteY0" fmla="*/ 17887 h 35773"/>
                <a:gd name="connsiteX1" fmla="*/ 17887 w 35773"/>
                <a:gd name="connsiteY1" fmla="*/ 35774 h 35773"/>
                <a:gd name="connsiteX2" fmla="*/ 0 w 35773"/>
                <a:gd name="connsiteY2" fmla="*/ 17887 h 35773"/>
                <a:gd name="connsiteX3" fmla="*/ 17887 w 35773"/>
                <a:gd name="connsiteY3" fmla="*/ 0 h 35773"/>
                <a:gd name="connsiteX4" fmla="*/ 35774 w 35773"/>
                <a:gd name="connsiteY4" fmla="*/ 17887 h 35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3">
                  <a:moveTo>
                    <a:pt x="35774" y="17887"/>
                  </a:moveTo>
                  <a:cubicBezTo>
                    <a:pt x="35774" y="27782"/>
                    <a:pt x="27782" y="35774"/>
                    <a:pt x="17887" y="35774"/>
                  </a:cubicBezTo>
                  <a:cubicBezTo>
                    <a:pt x="7992" y="35774"/>
                    <a:pt x="0" y="27782"/>
                    <a:pt x="0" y="17887"/>
                  </a:cubicBezTo>
                  <a:cubicBezTo>
                    <a:pt x="0" y="7992"/>
                    <a:pt x="7992" y="0"/>
                    <a:pt x="17887" y="0"/>
                  </a:cubicBezTo>
                  <a:cubicBezTo>
                    <a:pt x="27782" y="0"/>
                    <a:pt x="35774" y="7992"/>
                    <a:pt x="35774" y="17887"/>
                  </a:cubicBezTo>
                </a:path>
              </a:pathLst>
            </a:custGeom>
            <a:grpFill/>
            <a:ln w="7608" cap="flat">
              <a:noFill/>
              <a:prstDash val="solid"/>
              <a:miter/>
            </a:ln>
          </p:spPr>
          <p:txBody>
            <a:bodyPr rtlCol="0" anchor="ctr"/>
            <a:lstStyle/>
            <a:p>
              <a:endParaRPr lang="hi-IN"/>
            </a:p>
          </p:txBody>
        </p:sp>
        <p:sp>
          <p:nvSpPr>
            <p:cNvPr id="1627" name="Freeform: Shape 626"/>
            <p:cNvSpPr/>
            <p:nvPr/>
          </p:nvSpPr>
          <p:spPr>
            <a:xfrm>
              <a:off x="11527672" y="4569589"/>
              <a:ext cx="40189" cy="40189"/>
            </a:xfrm>
            <a:custGeom>
              <a:avLst/>
              <a:gdLst>
                <a:gd name="connsiteX0" fmla="*/ 40189 w 40189"/>
                <a:gd name="connsiteY0" fmla="*/ 20095 h 40189"/>
                <a:gd name="connsiteX1" fmla="*/ 20095 w 40189"/>
                <a:gd name="connsiteY1" fmla="*/ 40189 h 40189"/>
                <a:gd name="connsiteX2" fmla="*/ 0 w 40189"/>
                <a:gd name="connsiteY2" fmla="*/ 20095 h 40189"/>
                <a:gd name="connsiteX3" fmla="*/ 20095 w 40189"/>
                <a:gd name="connsiteY3" fmla="*/ 0 h 40189"/>
                <a:gd name="connsiteX4" fmla="*/ 40189 w 40189"/>
                <a:gd name="connsiteY4" fmla="*/ 20095 h 40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9">
                  <a:moveTo>
                    <a:pt x="40189" y="20095"/>
                  </a:moveTo>
                  <a:cubicBezTo>
                    <a:pt x="40189" y="31208"/>
                    <a:pt x="31207" y="40189"/>
                    <a:pt x="20095" y="40189"/>
                  </a:cubicBezTo>
                  <a:cubicBezTo>
                    <a:pt x="8982" y="40189"/>
                    <a:pt x="0" y="31208"/>
                    <a:pt x="0" y="20095"/>
                  </a:cubicBezTo>
                  <a:cubicBezTo>
                    <a:pt x="0" y="8982"/>
                    <a:pt x="8982" y="0"/>
                    <a:pt x="20095" y="0"/>
                  </a:cubicBezTo>
                  <a:cubicBezTo>
                    <a:pt x="31207" y="0"/>
                    <a:pt x="40189" y="8982"/>
                    <a:pt x="40189" y="20095"/>
                  </a:cubicBezTo>
                </a:path>
              </a:pathLst>
            </a:custGeom>
            <a:grpFill/>
            <a:ln w="7608" cap="flat">
              <a:noFill/>
              <a:prstDash val="solid"/>
              <a:miter/>
            </a:ln>
          </p:spPr>
          <p:txBody>
            <a:bodyPr rtlCol="0" anchor="ctr"/>
            <a:lstStyle/>
            <a:p>
              <a:endParaRPr lang="hi-IN"/>
            </a:p>
          </p:txBody>
        </p:sp>
        <p:sp>
          <p:nvSpPr>
            <p:cNvPr id="1628" name="Freeform: Shape 627"/>
            <p:cNvSpPr/>
            <p:nvPr/>
          </p:nvSpPr>
          <p:spPr>
            <a:xfrm>
              <a:off x="11532391" y="4392316"/>
              <a:ext cx="43386" cy="43385"/>
            </a:xfrm>
            <a:custGeom>
              <a:avLst/>
              <a:gdLst>
                <a:gd name="connsiteX0" fmla="*/ 43386 w 43386"/>
                <a:gd name="connsiteY0" fmla="*/ 21693 h 43385"/>
                <a:gd name="connsiteX1" fmla="*/ 21693 w 43386"/>
                <a:gd name="connsiteY1" fmla="*/ 43386 h 43385"/>
                <a:gd name="connsiteX2" fmla="*/ 0 w 43386"/>
                <a:gd name="connsiteY2" fmla="*/ 21693 h 43385"/>
                <a:gd name="connsiteX3" fmla="*/ 21693 w 43386"/>
                <a:gd name="connsiteY3" fmla="*/ 0 h 43385"/>
                <a:gd name="connsiteX4" fmla="*/ 43386 w 43386"/>
                <a:gd name="connsiteY4" fmla="*/ 21693 h 43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6" h="43385">
                  <a:moveTo>
                    <a:pt x="43386" y="21693"/>
                  </a:moveTo>
                  <a:cubicBezTo>
                    <a:pt x="43386" y="33719"/>
                    <a:pt x="33643" y="43386"/>
                    <a:pt x="21693" y="43386"/>
                  </a:cubicBezTo>
                  <a:cubicBezTo>
                    <a:pt x="9667" y="43386"/>
                    <a:pt x="0" y="33643"/>
                    <a:pt x="0" y="21693"/>
                  </a:cubicBezTo>
                  <a:cubicBezTo>
                    <a:pt x="0" y="9743"/>
                    <a:pt x="9743" y="0"/>
                    <a:pt x="21693" y="0"/>
                  </a:cubicBezTo>
                  <a:cubicBezTo>
                    <a:pt x="33643" y="0"/>
                    <a:pt x="43386" y="9743"/>
                    <a:pt x="43386" y="21693"/>
                  </a:cubicBezTo>
                </a:path>
              </a:pathLst>
            </a:custGeom>
            <a:grpFill/>
            <a:ln w="7608" cap="flat">
              <a:noFill/>
              <a:prstDash val="solid"/>
              <a:miter/>
            </a:ln>
          </p:spPr>
          <p:txBody>
            <a:bodyPr rtlCol="0" anchor="ctr"/>
            <a:lstStyle/>
            <a:p>
              <a:endParaRPr lang="hi-IN"/>
            </a:p>
          </p:txBody>
        </p:sp>
        <p:sp>
          <p:nvSpPr>
            <p:cNvPr id="1629" name="Freeform: Shape 628"/>
            <p:cNvSpPr/>
            <p:nvPr/>
          </p:nvSpPr>
          <p:spPr>
            <a:xfrm>
              <a:off x="11528053" y="4214358"/>
              <a:ext cx="47799" cy="47800"/>
            </a:xfrm>
            <a:custGeom>
              <a:avLst/>
              <a:gdLst>
                <a:gd name="connsiteX0" fmla="*/ 47800 w 47799"/>
                <a:gd name="connsiteY0" fmla="*/ 23900 h 47800"/>
                <a:gd name="connsiteX1" fmla="*/ 23900 w 47799"/>
                <a:gd name="connsiteY1" fmla="*/ 47801 h 47800"/>
                <a:gd name="connsiteX2" fmla="*/ 0 w 47799"/>
                <a:gd name="connsiteY2" fmla="*/ 23900 h 47800"/>
                <a:gd name="connsiteX3" fmla="*/ 23900 w 47799"/>
                <a:gd name="connsiteY3" fmla="*/ 0 h 47800"/>
                <a:gd name="connsiteX4" fmla="*/ 47800 w 47799"/>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99" h="47800">
                  <a:moveTo>
                    <a:pt x="47800" y="23900"/>
                  </a:moveTo>
                  <a:cubicBezTo>
                    <a:pt x="47800" y="37068"/>
                    <a:pt x="37068" y="47801"/>
                    <a:pt x="23900" y="47801"/>
                  </a:cubicBezTo>
                  <a:cubicBezTo>
                    <a:pt x="10732" y="47801"/>
                    <a:pt x="0" y="37068"/>
                    <a:pt x="0" y="23900"/>
                  </a:cubicBezTo>
                  <a:cubicBezTo>
                    <a:pt x="0" y="10733"/>
                    <a:pt x="10732" y="0"/>
                    <a:pt x="23900" y="0"/>
                  </a:cubicBezTo>
                  <a:cubicBezTo>
                    <a:pt x="37068" y="76"/>
                    <a:pt x="47800" y="10733"/>
                    <a:pt x="47800" y="23900"/>
                  </a:cubicBezTo>
                </a:path>
              </a:pathLst>
            </a:custGeom>
            <a:grpFill/>
            <a:ln w="7608" cap="flat">
              <a:noFill/>
              <a:prstDash val="solid"/>
              <a:miter/>
            </a:ln>
          </p:spPr>
          <p:txBody>
            <a:bodyPr rtlCol="0" anchor="ctr"/>
            <a:lstStyle/>
            <a:p>
              <a:endParaRPr lang="hi-IN"/>
            </a:p>
          </p:txBody>
        </p:sp>
        <p:sp>
          <p:nvSpPr>
            <p:cNvPr id="1630" name="Freeform: Shape 629"/>
            <p:cNvSpPr/>
            <p:nvPr/>
          </p:nvSpPr>
          <p:spPr>
            <a:xfrm>
              <a:off x="11515494" y="4036781"/>
              <a:ext cx="52138" cy="52063"/>
            </a:xfrm>
            <a:custGeom>
              <a:avLst/>
              <a:gdLst>
                <a:gd name="connsiteX0" fmla="*/ 52139 w 52138"/>
                <a:gd name="connsiteY0" fmla="*/ 26032 h 52063"/>
                <a:gd name="connsiteX1" fmla="*/ 26107 w 52138"/>
                <a:gd name="connsiteY1" fmla="*/ 52063 h 52063"/>
                <a:gd name="connsiteX2" fmla="*/ 0 w 52138"/>
                <a:gd name="connsiteY2" fmla="*/ 26032 h 52063"/>
                <a:gd name="connsiteX3" fmla="*/ 26107 w 52138"/>
                <a:gd name="connsiteY3" fmla="*/ 0 h 52063"/>
                <a:gd name="connsiteX4" fmla="*/ 52139 w 52138"/>
                <a:gd name="connsiteY4" fmla="*/ 26032 h 52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8" h="52063">
                  <a:moveTo>
                    <a:pt x="52139" y="26032"/>
                  </a:moveTo>
                  <a:cubicBezTo>
                    <a:pt x="52139" y="40417"/>
                    <a:pt x="40493" y="52063"/>
                    <a:pt x="26107" y="52063"/>
                  </a:cubicBezTo>
                  <a:cubicBezTo>
                    <a:pt x="11722" y="52063"/>
                    <a:pt x="0" y="40417"/>
                    <a:pt x="0" y="26032"/>
                  </a:cubicBezTo>
                  <a:cubicBezTo>
                    <a:pt x="0" y="11646"/>
                    <a:pt x="11646" y="0"/>
                    <a:pt x="26107" y="0"/>
                  </a:cubicBezTo>
                  <a:cubicBezTo>
                    <a:pt x="40493" y="0"/>
                    <a:pt x="52139" y="11646"/>
                    <a:pt x="52139" y="26032"/>
                  </a:cubicBezTo>
                </a:path>
              </a:pathLst>
            </a:custGeom>
            <a:grpFill/>
            <a:ln w="7608" cap="flat">
              <a:noFill/>
              <a:prstDash val="solid"/>
              <a:miter/>
            </a:ln>
          </p:spPr>
          <p:txBody>
            <a:bodyPr rtlCol="0" anchor="ctr"/>
            <a:lstStyle/>
            <a:p>
              <a:endParaRPr lang="hi-IN"/>
            </a:p>
          </p:txBody>
        </p:sp>
        <p:sp>
          <p:nvSpPr>
            <p:cNvPr id="1631" name="Freeform: Shape 630"/>
            <p:cNvSpPr/>
            <p:nvPr/>
          </p:nvSpPr>
          <p:spPr>
            <a:xfrm>
              <a:off x="11495171" y="3860346"/>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0"/>
                    <a:pt x="55412" y="12407"/>
                    <a:pt x="55412" y="27706"/>
                  </a:cubicBezTo>
                </a:path>
              </a:pathLst>
            </a:custGeom>
            <a:grpFill/>
            <a:ln w="7608" cap="flat">
              <a:noFill/>
              <a:prstDash val="solid"/>
              <a:miter/>
            </a:ln>
          </p:spPr>
          <p:txBody>
            <a:bodyPr rtlCol="0" anchor="ctr"/>
            <a:lstStyle/>
            <a:p>
              <a:endParaRPr lang="hi-IN"/>
            </a:p>
          </p:txBody>
        </p:sp>
        <p:sp>
          <p:nvSpPr>
            <p:cNvPr id="1632" name="Freeform: Shape 631"/>
            <p:cNvSpPr/>
            <p:nvPr/>
          </p:nvSpPr>
          <p:spPr>
            <a:xfrm>
              <a:off x="11466247" y="3684519"/>
              <a:ext cx="59674" cy="59674"/>
            </a:xfrm>
            <a:custGeom>
              <a:avLst/>
              <a:gdLst>
                <a:gd name="connsiteX0" fmla="*/ 59674 w 59674"/>
                <a:gd name="connsiteY0" fmla="*/ 29837 h 59674"/>
                <a:gd name="connsiteX1" fmla="*/ 29837 w 59674"/>
                <a:gd name="connsiteY1" fmla="*/ 59674 h 59674"/>
                <a:gd name="connsiteX2" fmla="*/ 0 w 59674"/>
                <a:gd name="connsiteY2" fmla="*/ 29837 h 59674"/>
                <a:gd name="connsiteX3" fmla="*/ 29837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7" y="59674"/>
                  </a:cubicBezTo>
                  <a:cubicBezTo>
                    <a:pt x="13320" y="59674"/>
                    <a:pt x="0" y="46278"/>
                    <a:pt x="0" y="29837"/>
                  </a:cubicBezTo>
                  <a:cubicBezTo>
                    <a:pt x="0" y="13320"/>
                    <a:pt x="13396" y="0"/>
                    <a:pt x="29837" y="0"/>
                  </a:cubicBezTo>
                  <a:cubicBezTo>
                    <a:pt x="46278" y="0"/>
                    <a:pt x="59674" y="13396"/>
                    <a:pt x="59674" y="29837"/>
                  </a:cubicBezTo>
                </a:path>
              </a:pathLst>
            </a:custGeom>
            <a:grpFill/>
            <a:ln w="7608" cap="flat">
              <a:noFill/>
              <a:prstDash val="solid"/>
              <a:miter/>
            </a:ln>
          </p:spPr>
          <p:txBody>
            <a:bodyPr rtlCol="0" anchor="ctr"/>
            <a:lstStyle/>
            <a:p>
              <a:endParaRPr lang="hi-IN"/>
            </a:p>
          </p:txBody>
        </p:sp>
        <p:sp>
          <p:nvSpPr>
            <p:cNvPr id="1633" name="Freeform: Shape 632"/>
            <p:cNvSpPr/>
            <p:nvPr/>
          </p:nvSpPr>
          <p:spPr>
            <a:xfrm>
              <a:off x="11429483" y="3510671"/>
              <a:ext cx="63023" cy="63023"/>
            </a:xfrm>
            <a:custGeom>
              <a:avLst/>
              <a:gdLst>
                <a:gd name="connsiteX0" fmla="*/ 63024 w 63023"/>
                <a:gd name="connsiteY0" fmla="*/ 31512 h 63023"/>
                <a:gd name="connsiteX1" fmla="*/ 31512 w 63023"/>
                <a:gd name="connsiteY1" fmla="*/ 63024 h 63023"/>
                <a:gd name="connsiteX2" fmla="*/ 0 w 63023"/>
                <a:gd name="connsiteY2" fmla="*/ 31512 h 63023"/>
                <a:gd name="connsiteX3" fmla="*/ 31512 w 63023"/>
                <a:gd name="connsiteY3" fmla="*/ 0 h 63023"/>
                <a:gd name="connsiteX4" fmla="*/ 63024 w 63023"/>
                <a:gd name="connsiteY4" fmla="*/ 31512 h 63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23" h="63023">
                  <a:moveTo>
                    <a:pt x="63024" y="31512"/>
                  </a:moveTo>
                  <a:cubicBezTo>
                    <a:pt x="63024" y="48942"/>
                    <a:pt x="48943" y="63024"/>
                    <a:pt x="31512" y="63024"/>
                  </a:cubicBezTo>
                  <a:cubicBezTo>
                    <a:pt x="14082" y="63024"/>
                    <a:pt x="0" y="48942"/>
                    <a:pt x="0" y="31512"/>
                  </a:cubicBezTo>
                  <a:cubicBezTo>
                    <a:pt x="0" y="14081"/>
                    <a:pt x="14082" y="0"/>
                    <a:pt x="31512" y="0"/>
                  </a:cubicBezTo>
                  <a:cubicBezTo>
                    <a:pt x="48943" y="0"/>
                    <a:pt x="63024" y="14081"/>
                    <a:pt x="63024" y="31512"/>
                  </a:cubicBezTo>
                </a:path>
              </a:pathLst>
            </a:custGeom>
            <a:grpFill/>
            <a:ln w="7608" cap="flat">
              <a:noFill/>
              <a:prstDash val="solid"/>
              <a:miter/>
            </a:ln>
          </p:spPr>
          <p:txBody>
            <a:bodyPr rtlCol="0" anchor="ctr"/>
            <a:lstStyle/>
            <a:p>
              <a:endParaRPr lang="hi-IN"/>
            </a:p>
          </p:txBody>
        </p:sp>
        <p:sp>
          <p:nvSpPr>
            <p:cNvPr id="1634" name="Freeform: Shape 633"/>
            <p:cNvSpPr/>
            <p:nvPr/>
          </p:nvSpPr>
          <p:spPr>
            <a:xfrm>
              <a:off x="11384727" y="3338651"/>
              <a:ext cx="66220" cy="66220"/>
            </a:xfrm>
            <a:custGeom>
              <a:avLst/>
              <a:gdLst>
                <a:gd name="connsiteX0" fmla="*/ 66221 w 66220"/>
                <a:gd name="connsiteY0" fmla="*/ 33110 h 66220"/>
                <a:gd name="connsiteX1" fmla="*/ 33111 w 66220"/>
                <a:gd name="connsiteY1" fmla="*/ 66220 h 66220"/>
                <a:gd name="connsiteX2" fmla="*/ 0 w 66220"/>
                <a:gd name="connsiteY2" fmla="*/ 33110 h 66220"/>
                <a:gd name="connsiteX3" fmla="*/ 33111 w 66220"/>
                <a:gd name="connsiteY3" fmla="*/ 0 h 66220"/>
                <a:gd name="connsiteX4" fmla="*/ 66221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1" y="33110"/>
                  </a:moveTo>
                  <a:cubicBezTo>
                    <a:pt x="66221" y="51378"/>
                    <a:pt x="51378" y="66220"/>
                    <a:pt x="33111" y="66220"/>
                  </a:cubicBezTo>
                  <a:cubicBezTo>
                    <a:pt x="14843" y="66220"/>
                    <a:pt x="0" y="51378"/>
                    <a:pt x="0" y="33110"/>
                  </a:cubicBezTo>
                  <a:cubicBezTo>
                    <a:pt x="0" y="14842"/>
                    <a:pt x="14843" y="0"/>
                    <a:pt x="33111" y="0"/>
                  </a:cubicBezTo>
                  <a:cubicBezTo>
                    <a:pt x="51378" y="0"/>
                    <a:pt x="66221" y="14842"/>
                    <a:pt x="66221" y="33110"/>
                  </a:cubicBezTo>
                </a:path>
              </a:pathLst>
            </a:custGeom>
            <a:grpFill/>
            <a:ln w="7608" cap="flat">
              <a:noFill/>
              <a:prstDash val="solid"/>
              <a:miter/>
            </a:ln>
          </p:spPr>
          <p:txBody>
            <a:bodyPr rtlCol="0" anchor="ctr"/>
            <a:lstStyle/>
            <a:p>
              <a:endParaRPr lang="hi-IN"/>
            </a:p>
          </p:txBody>
        </p:sp>
        <p:sp>
          <p:nvSpPr>
            <p:cNvPr id="1635" name="Freeform: Shape 634"/>
            <p:cNvSpPr/>
            <p:nvPr/>
          </p:nvSpPr>
          <p:spPr>
            <a:xfrm>
              <a:off x="11331904" y="3168837"/>
              <a:ext cx="69569" cy="69569"/>
            </a:xfrm>
            <a:custGeom>
              <a:avLst/>
              <a:gdLst>
                <a:gd name="connsiteX0" fmla="*/ 69570 w 69569"/>
                <a:gd name="connsiteY0" fmla="*/ 34785 h 69569"/>
                <a:gd name="connsiteX1" fmla="*/ 34784 w 69569"/>
                <a:gd name="connsiteY1" fmla="*/ 69569 h 69569"/>
                <a:gd name="connsiteX2" fmla="*/ 0 w 69569"/>
                <a:gd name="connsiteY2" fmla="*/ 34785 h 69569"/>
                <a:gd name="connsiteX3" fmla="*/ 34784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4" y="69569"/>
                  </a:cubicBezTo>
                  <a:cubicBezTo>
                    <a:pt x="15603" y="69569"/>
                    <a:pt x="0" y="54042"/>
                    <a:pt x="0" y="34785"/>
                  </a:cubicBezTo>
                  <a:cubicBezTo>
                    <a:pt x="0" y="15604"/>
                    <a:pt x="15528" y="0"/>
                    <a:pt x="34784" y="0"/>
                  </a:cubicBezTo>
                  <a:cubicBezTo>
                    <a:pt x="53966" y="0"/>
                    <a:pt x="69570" y="15604"/>
                    <a:pt x="69570" y="34785"/>
                  </a:cubicBezTo>
                </a:path>
              </a:pathLst>
            </a:custGeom>
            <a:grpFill/>
            <a:ln w="7608" cap="flat">
              <a:noFill/>
              <a:prstDash val="solid"/>
              <a:miter/>
            </a:ln>
          </p:spPr>
          <p:txBody>
            <a:bodyPr rtlCol="0" anchor="ctr"/>
            <a:lstStyle/>
            <a:p>
              <a:endParaRPr lang="hi-IN"/>
            </a:p>
          </p:txBody>
        </p:sp>
        <p:sp>
          <p:nvSpPr>
            <p:cNvPr id="1636" name="Freeform: Shape 635"/>
            <p:cNvSpPr/>
            <p:nvPr/>
          </p:nvSpPr>
          <p:spPr>
            <a:xfrm>
              <a:off x="11271316" y="3001687"/>
              <a:ext cx="72765" cy="72766"/>
            </a:xfrm>
            <a:custGeom>
              <a:avLst/>
              <a:gdLst>
                <a:gd name="connsiteX0" fmla="*/ 72766 w 72765"/>
                <a:gd name="connsiteY0" fmla="*/ 36383 h 72766"/>
                <a:gd name="connsiteX1" fmla="*/ 36382 w 72765"/>
                <a:gd name="connsiteY1" fmla="*/ 72767 h 72766"/>
                <a:gd name="connsiteX2" fmla="*/ 0 w 72765"/>
                <a:gd name="connsiteY2" fmla="*/ 36383 h 72766"/>
                <a:gd name="connsiteX3" fmla="*/ 36382 w 72765"/>
                <a:gd name="connsiteY3" fmla="*/ 0 h 72766"/>
                <a:gd name="connsiteX4" fmla="*/ 72766 w 72765"/>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5" h="72766">
                  <a:moveTo>
                    <a:pt x="72766" y="36383"/>
                  </a:moveTo>
                  <a:cubicBezTo>
                    <a:pt x="72766" y="56478"/>
                    <a:pt x="56477" y="72767"/>
                    <a:pt x="36382" y="72767"/>
                  </a:cubicBezTo>
                  <a:cubicBezTo>
                    <a:pt x="16288" y="72767"/>
                    <a:pt x="0" y="56478"/>
                    <a:pt x="0" y="36383"/>
                  </a:cubicBezTo>
                  <a:cubicBezTo>
                    <a:pt x="0" y="16289"/>
                    <a:pt x="16288" y="0"/>
                    <a:pt x="36382" y="0"/>
                  </a:cubicBezTo>
                  <a:cubicBezTo>
                    <a:pt x="56477" y="0"/>
                    <a:pt x="72766" y="16289"/>
                    <a:pt x="72766" y="36383"/>
                  </a:cubicBezTo>
                </a:path>
              </a:pathLst>
            </a:custGeom>
            <a:grpFill/>
            <a:ln w="7608" cap="flat">
              <a:noFill/>
              <a:prstDash val="solid"/>
              <a:miter/>
            </a:ln>
          </p:spPr>
          <p:txBody>
            <a:bodyPr rtlCol="0" anchor="ctr"/>
            <a:lstStyle/>
            <a:p>
              <a:endParaRPr lang="hi-IN"/>
            </a:p>
          </p:txBody>
        </p:sp>
        <p:sp>
          <p:nvSpPr>
            <p:cNvPr id="1637" name="Freeform: Shape 636"/>
            <p:cNvSpPr/>
            <p:nvPr/>
          </p:nvSpPr>
          <p:spPr>
            <a:xfrm>
              <a:off x="11202964" y="2837507"/>
              <a:ext cx="75963" cy="75963"/>
            </a:xfrm>
            <a:custGeom>
              <a:avLst/>
              <a:gdLst>
                <a:gd name="connsiteX0" fmla="*/ 75964 w 75963"/>
                <a:gd name="connsiteY0" fmla="*/ 37982 h 75963"/>
                <a:gd name="connsiteX1" fmla="*/ 37982 w 75963"/>
                <a:gd name="connsiteY1" fmla="*/ 75963 h 75963"/>
                <a:gd name="connsiteX2" fmla="*/ 0 w 75963"/>
                <a:gd name="connsiteY2" fmla="*/ 37982 h 75963"/>
                <a:gd name="connsiteX3" fmla="*/ 37982 w 75963"/>
                <a:gd name="connsiteY3" fmla="*/ 0 h 75963"/>
                <a:gd name="connsiteX4" fmla="*/ 75964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4" y="37982"/>
                  </a:moveTo>
                  <a:cubicBezTo>
                    <a:pt x="75964" y="58989"/>
                    <a:pt x="58913" y="75963"/>
                    <a:pt x="37982" y="75963"/>
                  </a:cubicBezTo>
                  <a:cubicBezTo>
                    <a:pt x="16975" y="75963"/>
                    <a:pt x="0" y="58913"/>
                    <a:pt x="0" y="37982"/>
                  </a:cubicBezTo>
                  <a:cubicBezTo>
                    <a:pt x="0" y="16974"/>
                    <a:pt x="17050" y="0"/>
                    <a:pt x="37982" y="0"/>
                  </a:cubicBezTo>
                  <a:cubicBezTo>
                    <a:pt x="58913" y="0"/>
                    <a:pt x="75964" y="16974"/>
                    <a:pt x="75964" y="37982"/>
                  </a:cubicBezTo>
                </a:path>
              </a:pathLst>
            </a:custGeom>
            <a:grpFill/>
            <a:ln w="7608" cap="flat">
              <a:noFill/>
              <a:prstDash val="solid"/>
              <a:miter/>
            </a:ln>
          </p:spPr>
          <p:txBody>
            <a:bodyPr rtlCol="0" anchor="ctr"/>
            <a:lstStyle/>
            <a:p>
              <a:endParaRPr lang="hi-IN"/>
            </a:p>
          </p:txBody>
        </p:sp>
        <p:sp>
          <p:nvSpPr>
            <p:cNvPr id="1638" name="Freeform: Shape 637"/>
            <p:cNvSpPr/>
            <p:nvPr/>
          </p:nvSpPr>
          <p:spPr>
            <a:xfrm>
              <a:off x="11127381" y="2677131"/>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6" y="78247"/>
                    <a:pt x="0" y="60740"/>
                    <a:pt x="0" y="39123"/>
                  </a:cubicBezTo>
                  <a:cubicBezTo>
                    <a:pt x="0" y="17506"/>
                    <a:pt x="17506" y="0"/>
                    <a:pt x="39123" y="0"/>
                  </a:cubicBezTo>
                  <a:cubicBezTo>
                    <a:pt x="60740" y="0"/>
                    <a:pt x="78247" y="17506"/>
                    <a:pt x="78247" y="39123"/>
                  </a:cubicBezTo>
                </a:path>
              </a:pathLst>
            </a:custGeom>
            <a:grpFill/>
            <a:ln w="7608" cap="flat">
              <a:noFill/>
              <a:prstDash val="solid"/>
              <a:miter/>
            </a:ln>
          </p:spPr>
          <p:txBody>
            <a:bodyPr rtlCol="0" anchor="ctr"/>
            <a:lstStyle/>
            <a:p>
              <a:endParaRPr lang="hi-IN"/>
            </a:p>
          </p:txBody>
        </p:sp>
        <p:sp>
          <p:nvSpPr>
            <p:cNvPr id="1639" name="Freeform: Shape 638"/>
            <p:cNvSpPr/>
            <p:nvPr/>
          </p:nvSpPr>
          <p:spPr>
            <a:xfrm>
              <a:off x="11044492" y="2520486"/>
              <a:ext cx="80377" cy="80377"/>
            </a:xfrm>
            <a:custGeom>
              <a:avLst/>
              <a:gdLst>
                <a:gd name="connsiteX0" fmla="*/ 80377 w 80377"/>
                <a:gd name="connsiteY0" fmla="*/ 40189 h 80377"/>
                <a:gd name="connsiteX1" fmla="*/ 40189 w 80377"/>
                <a:gd name="connsiteY1" fmla="*/ 80378 h 80377"/>
                <a:gd name="connsiteX2" fmla="*/ 0 w 80377"/>
                <a:gd name="connsiteY2" fmla="*/ 40189 h 80377"/>
                <a:gd name="connsiteX3" fmla="*/ 40189 w 80377"/>
                <a:gd name="connsiteY3" fmla="*/ 0 h 80377"/>
                <a:gd name="connsiteX4" fmla="*/ 80377 w 80377"/>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7" h="80377">
                  <a:moveTo>
                    <a:pt x="80377" y="40189"/>
                  </a:moveTo>
                  <a:cubicBezTo>
                    <a:pt x="80377" y="62415"/>
                    <a:pt x="62414" y="80378"/>
                    <a:pt x="40189" y="80378"/>
                  </a:cubicBezTo>
                  <a:cubicBezTo>
                    <a:pt x="18039" y="80378"/>
                    <a:pt x="0" y="62415"/>
                    <a:pt x="0" y="40189"/>
                  </a:cubicBezTo>
                  <a:cubicBezTo>
                    <a:pt x="0" y="17963"/>
                    <a:pt x="17963" y="0"/>
                    <a:pt x="40189" y="0"/>
                  </a:cubicBezTo>
                  <a:cubicBezTo>
                    <a:pt x="62414" y="0"/>
                    <a:pt x="80377" y="18039"/>
                    <a:pt x="80377" y="40189"/>
                  </a:cubicBezTo>
                </a:path>
              </a:pathLst>
            </a:custGeom>
            <a:grpFill/>
            <a:ln w="7608" cap="flat">
              <a:noFill/>
              <a:prstDash val="solid"/>
              <a:miter/>
            </a:ln>
          </p:spPr>
          <p:txBody>
            <a:bodyPr rtlCol="0" anchor="ctr"/>
            <a:lstStyle/>
            <a:p>
              <a:endParaRPr lang="hi-IN"/>
            </a:p>
          </p:txBody>
        </p:sp>
        <p:sp>
          <p:nvSpPr>
            <p:cNvPr id="1640" name="Freeform: Shape 639"/>
            <p:cNvSpPr/>
            <p:nvPr/>
          </p:nvSpPr>
          <p:spPr>
            <a:xfrm>
              <a:off x="10954371" y="2367950"/>
              <a:ext cx="82508" cy="82509"/>
            </a:xfrm>
            <a:custGeom>
              <a:avLst/>
              <a:gdLst>
                <a:gd name="connsiteX0" fmla="*/ 82509 w 82508"/>
                <a:gd name="connsiteY0" fmla="*/ 41255 h 82509"/>
                <a:gd name="connsiteX1" fmla="*/ 41254 w 82508"/>
                <a:gd name="connsiteY1" fmla="*/ 82509 h 82509"/>
                <a:gd name="connsiteX2" fmla="*/ 0 w 82508"/>
                <a:gd name="connsiteY2" fmla="*/ 41255 h 82509"/>
                <a:gd name="connsiteX3" fmla="*/ 41254 w 82508"/>
                <a:gd name="connsiteY3" fmla="*/ 0 h 82509"/>
                <a:gd name="connsiteX4" fmla="*/ 82509 w 82508"/>
                <a:gd name="connsiteY4" fmla="*/ 41255 h 82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08" h="82509">
                  <a:moveTo>
                    <a:pt x="82509" y="41255"/>
                  </a:moveTo>
                  <a:cubicBezTo>
                    <a:pt x="82509" y="64013"/>
                    <a:pt x="64012" y="82509"/>
                    <a:pt x="41254" y="82509"/>
                  </a:cubicBezTo>
                  <a:cubicBezTo>
                    <a:pt x="18419" y="82509"/>
                    <a:pt x="0" y="64013"/>
                    <a:pt x="0" y="41255"/>
                  </a:cubicBezTo>
                  <a:cubicBezTo>
                    <a:pt x="0" y="18496"/>
                    <a:pt x="18496" y="0"/>
                    <a:pt x="41254" y="0"/>
                  </a:cubicBezTo>
                  <a:cubicBezTo>
                    <a:pt x="64012" y="-76"/>
                    <a:pt x="82509" y="18420"/>
                    <a:pt x="82509" y="41255"/>
                  </a:cubicBezTo>
                </a:path>
              </a:pathLst>
            </a:custGeom>
            <a:grpFill/>
            <a:ln w="7608" cap="flat">
              <a:noFill/>
              <a:prstDash val="solid"/>
              <a:miter/>
            </a:ln>
          </p:spPr>
          <p:txBody>
            <a:bodyPr rtlCol="0" anchor="ctr"/>
            <a:lstStyle/>
            <a:p>
              <a:endParaRPr lang="hi-IN"/>
            </a:p>
          </p:txBody>
        </p:sp>
        <p:sp>
          <p:nvSpPr>
            <p:cNvPr id="1641" name="Freeform: Shape 640"/>
            <p:cNvSpPr/>
            <p:nvPr/>
          </p:nvSpPr>
          <p:spPr>
            <a:xfrm>
              <a:off x="10857704" y="2220210"/>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5" y="83575"/>
                    <a:pt x="0" y="64850"/>
                    <a:pt x="0" y="41787"/>
                  </a:cubicBezTo>
                  <a:cubicBezTo>
                    <a:pt x="0" y="18724"/>
                    <a:pt x="18725"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642" name="Freeform: Shape 641"/>
            <p:cNvSpPr/>
            <p:nvPr/>
          </p:nvSpPr>
          <p:spPr>
            <a:xfrm>
              <a:off x="10754187" y="2077266"/>
              <a:ext cx="84640" cy="84716"/>
            </a:xfrm>
            <a:custGeom>
              <a:avLst/>
              <a:gdLst>
                <a:gd name="connsiteX0" fmla="*/ 84640 w 84640"/>
                <a:gd name="connsiteY0" fmla="*/ 42320 h 84716"/>
                <a:gd name="connsiteX1" fmla="*/ 42321 w 84640"/>
                <a:gd name="connsiteY1" fmla="*/ 84717 h 84716"/>
                <a:gd name="connsiteX2" fmla="*/ 0 w 84640"/>
                <a:gd name="connsiteY2" fmla="*/ 42320 h 84716"/>
                <a:gd name="connsiteX3" fmla="*/ 42321 w 84640"/>
                <a:gd name="connsiteY3" fmla="*/ 0 h 84716"/>
                <a:gd name="connsiteX4" fmla="*/ 84640 w 84640"/>
                <a:gd name="connsiteY4" fmla="*/ 42320 h 84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40" h="84716">
                  <a:moveTo>
                    <a:pt x="84640" y="42320"/>
                  </a:moveTo>
                  <a:cubicBezTo>
                    <a:pt x="84640" y="65688"/>
                    <a:pt x="65688" y="84717"/>
                    <a:pt x="42321" y="84717"/>
                  </a:cubicBezTo>
                  <a:cubicBezTo>
                    <a:pt x="18953" y="84717"/>
                    <a:pt x="0" y="65764"/>
                    <a:pt x="0" y="42320"/>
                  </a:cubicBezTo>
                  <a:cubicBezTo>
                    <a:pt x="0" y="18953"/>
                    <a:pt x="18953" y="0"/>
                    <a:pt x="42321" y="0"/>
                  </a:cubicBezTo>
                  <a:cubicBezTo>
                    <a:pt x="65688" y="0"/>
                    <a:pt x="84640" y="18953"/>
                    <a:pt x="84640" y="42320"/>
                  </a:cubicBezTo>
                </a:path>
              </a:pathLst>
            </a:custGeom>
            <a:grpFill/>
            <a:ln w="7608" cap="flat">
              <a:noFill/>
              <a:prstDash val="solid"/>
              <a:miter/>
            </a:ln>
          </p:spPr>
          <p:txBody>
            <a:bodyPr rtlCol="0" anchor="ctr"/>
            <a:lstStyle/>
            <a:p>
              <a:endParaRPr lang="hi-IN"/>
            </a:p>
          </p:txBody>
        </p:sp>
        <p:sp>
          <p:nvSpPr>
            <p:cNvPr id="1643" name="Freeform: Shape 642"/>
            <p:cNvSpPr/>
            <p:nvPr/>
          </p:nvSpPr>
          <p:spPr>
            <a:xfrm>
              <a:off x="10643972" y="1939268"/>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257" y="85858"/>
                    <a:pt x="0" y="66677"/>
                    <a:pt x="0" y="42929"/>
                  </a:cubicBezTo>
                  <a:cubicBezTo>
                    <a:pt x="0" y="19257"/>
                    <a:pt x="19181" y="0"/>
                    <a:pt x="42929" y="0"/>
                  </a:cubicBezTo>
                  <a:cubicBezTo>
                    <a:pt x="66601" y="0"/>
                    <a:pt x="85858" y="19257"/>
                    <a:pt x="85858" y="42929"/>
                  </a:cubicBezTo>
                </a:path>
              </a:pathLst>
            </a:custGeom>
            <a:grpFill/>
            <a:ln w="7608" cap="flat">
              <a:noFill/>
              <a:prstDash val="solid"/>
              <a:miter/>
            </a:ln>
          </p:spPr>
          <p:txBody>
            <a:bodyPr rtlCol="0" anchor="ctr"/>
            <a:lstStyle/>
            <a:p>
              <a:endParaRPr lang="hi-IN"/>
            </a:p>
          </p:txBody>
        </p:sp>
        <p:sp>
          <p:nvSpPr>
            <p:cNvPr id="1644" name="Freeform: Shape 643"/>
            <p:cNvSpPr/>
            <p:nvPr/>
          </p:nvSpPr>
          <p:spPr>
            <a:xfrm>
              <a:off x="10527515" y="1806599"/>
              <a:ext cx="86924" cy="86923"/>
            </a:xfrm>
            <a:custGeom>
              <a:avLst/>
              <a:gdLst>
                <a:gd name="connsiteX0" fmla="*/ 86924 w 86924"/>
                <a:gd name="connsiteY0" fmla="*/ 43462 h 86923"/>
                <a:gd name="connsiteX1" fmla="*/ 43463 w 86924"/>
                <a:gd name="connsiteY1" fmla="*/ 86924 h 86923"/>
                <a:gd name="connsiteX2" fmla="*/ 0 w 86924"/>
                <a:gd name="connsiteY2" fmla="*/ 43462 h 86923"/>
                <a:gd name="connsiteX3" fmla="*/ 43463 w 86924"/>
                <a:gd name="connsiteY3" fmla="*/ 0 h 86923"/>
                <a:gd name="connsiteX4" fmla="*/ 86924 w 86924"/>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4" h="86923">
                  <a:moveTo>
                    <a:pt x="86924" y="43462"/>
                  </a:moveTo>
                  <a:cubicBezTo>
                    <a:pt x="86924" y="67438"/>
                    <a:pt x="67514" y="86924"/>
                    <a:pt x="43463" y="86924"/>
                  </a:cubicBezTo>
                  <a:cubicBezTo>
                    <a:pt x="19486" y="86924"/>
                    <a:pt x="0" y="67438"/>
                    <a:pt x="0" y="43462"/>
                  </a:cubicBezTo>
                  <a:cubicBezTo>
                    <a:pt x="0" y="19486"/>
                    <a:pt x="19486" y="0"/>
                    <a:pt x="43463" y="0"/>
                  </a:cubicBezTo>
                  <a:cubicBezTo>
                    <a:pt x="67438" y="76"/>
                    <a:pt x="86924" y="19486"/>
                    <a:pt x="86924" y="43462"/>
                  </a:cubicBezTo>
                </a:path>
              </a:pathLst>
            </a:custGeom>
            <a:grpFill/>
            <a:ln w="7608" cap="flat">
              <a:noFill/>
              <a:prstDash val="solid"/>
              <a:miter/>
            </a:ln>
          </p:spPr>
          <p:txBody>
            <a:bodyPr rtlCol="0" anchor="ctr"/>
            <a:lstStyle/>
            <a:p>
              <a:endParaRPr lang="hi-IN"/>
            </a:p>
          </p:txBody>
        </p:sp>
        <p:sp>
          <p:nvSpPr>
            <p:cNvPr id="1645" name="Freeform: Shape 644"/>
            <p:cNvSpPr/>
            <p:nvPr/>
          </p:nvSpPr>
          <p:spPr>
            <a:xfrm>
              <a:off x="10405427" y="1680171"/>
              <a:ext cx="86923" cy="86923"/>
            </a:xfrm>
            <a:custGeom>
              <a:avLst/>
              <a:gdLst>
                <a:gd name="connsiteX0" fmla="*/ 86923 w 86923"/>
                <a:gd name="connsiteY0" fmla="*/ 43462 h 86923"/>
                <a:gd name="connsiteX1" fmla="*/ 43462 w 86923"/>
                <a:gd name="connsiteY1" fmla="*/ 86924 h 86923"/>
                <a:gd name="connsiteX2" fmla="*/ 0 w 86923"/>
                <a:gd name="connsiteY2" fmla="*/ 43462 h 86923"/>
                <a:gd name="connsiteX3" fmla="*/ 43462 w 86923"/>
                <a:gd name="connsiteY3" fmla="*/ 0 h 86923"/>
                <a:gd name="connsiteX4" fmla="*/ 86923 w 86923"/>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3" h="86923">
                  <a:moveTo>
                    <a:pt x="86923" y="43462"/>
                  </a:moveTo>
                  <a:cubicBezTo>
                    <a:pt x="86923" y="67438"/>
                    <a:pt x="67514" y="86924"/>
                    <a:pt x="43462" y="86924"/>
                  </a:cubicBezTo>
                  <a:cubicBezTo>
                    <a:pt x="19485" y="86924"/>
                    <a:pt x="0" y="67514"/>
                    <a:pt x="0" y="43462"/>
                  </a:cubicBezTo>
                  <a:cubicBezTo>
                    <a:pt x="0" y="19486"/>
                    <a:pt x="19485" y="0"/>
                    <a:pt x="43462" y="0"/>
                  </a:cubicBezTo>
                  <a:cubicBezTo>
                    <a:pt x="67514" y="0"/>
                    <a:pt x="86923" y="19486"/>
                    <a:pt x="86923" y="43462"/>
                  </a:cubicBezTo>
                </a:path>
              </a:pathLst>
            </a:custGeom>
            <a:grpFill/>
            <a:ln w="7608" cap="flat">
              <a:noFill/>
              <a:prstDash val="solid"/>
              <a:miter/>
            </a:ln>
          </p:spPr>
          <p:txBody>
            <a:bodyPr rtlCol="0" anchor="ctr"/>
            <a:lstStyle/>
            <a:p>
              <a:endParaRPr lang="hi-IN"/>
            </a:p>
          </p:txBody>
        </p:sp>
        <p:sp>
          <p:nvSpPr>
            <p:cNvPr id="1646" name="Freeform: Shape 645"/>
            <p:cNvSpPr/>
            <p:nvPr/>
          </p:nvSpPr>
          <p:spPr>
            <a:xfrm>
              <a:off x="10278085" y="1560137"/>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257" y="85858"/>
                    <a:pt x="0" y="66677"/>
                    <a:pt x="0" y="42929"/>
                  </a:cubicBezTo>
                  <a:cubicBezTo>
                    <a:pt x="0" y="19257"/>
                    <a:pt x="19181" y="0"/>
                    <a:pt x="42929" y="0"/>
                  </a:cubicBezTo>
                  <a:cubicBezTo>
                    <a:pt x="66601" y="76"/>
                    <a:pt x="85858" y="19257"/>
                    <a:pt x="85858" y="42929"/>
                  </a:cubicBezTo>
                </a:path>
              </a:pathLst>
            </a:custGeom>
            <a:grpFill/>
            <a:ln w="7608" cap="flat">
              <a:noFill/>
              <a:prstDash val="solid"/>
              <a:miter/>
            </a:ln>
          </p:spPr>
          <p:txBody>
            <a:bodyPr rtlCol="0" anchor="ctr"/>
            <a:lstStyle/>
            <a:p>
              <a:endParaRPr lang="hi-IN"/>
            </a:p>
          </p:txBody>
        </p:sp>
        <p:sp>
          <p:nvSpPr>
            <p:cNvPr id="1647" name="Freeform: Shape 646"/>
            <p:cNvSpPr/>
            <p:nvPr/>
          </p:nvSpPr>
          <p:spPr>
            <a:xfrm>
              <a:off x="10144579" y="1445736"/>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181" y="85858"/>
                    <a:pt x="0" y="66677"/>
                    <a:pt x="0" y="42929"/>
                  </a:cubicBezTo>
                  <a:cubicBezTo>
                    <a:pt x="0" y="19257"/>
                    <a:pt x="19181" y="0"/>
                    <a:pt x="42929" y="0"/>
                  </a:cubicBezTo>
                  <a:cubicBezTo>
                    <a:pt x="66677" y="0"/>
                    <a:pt x="85858" y="19257"/>
                    <a:pt x="85858" y="42929"/>
                  </a:cubicBezTo>
                </a:path>
              </a:pathLst>
            </a:custGeom>
            <a:grpFill/>
            <a:ln w="7608" cap="flat">
              <a:noFill/>
              <a:prstDash val="solid"/>
              <a:miter/>
            </a:ln>
          </p:spPr>
          <p:txBody>
            <a:bodyPr rtlCol="0" anchor="ctr"/>
            <a:lstStyle/>
            <a:p>
              <a:endParaRPr lang="hi-IN"/>
            </a:p>
          </p:txBody>
        </p:sp>
        <p:sp>
          <p:nvSpPr>
            <p:cNvPr id="1648" name="Freeform: Shape 647"/>
            <p:cNvSpPr/>
            <p:nvPr/>
          </p:nvSpPr>
          <p:spPr>
            <a:xfrm>
              <a:off x="10006506" y="1338413"/>
              <a:ext cx="84716" cy="84640"/>
            </a:xfrm>
            <a:custGeom>
              <a:avLst/>
              <a:gdLst>
                <a:gd name="connsiteX0" fmla="*/ 84717 w 84716"/>
                <a:gd name="connsiteY0" fmla="*/ 42320 h 84640"/>
                <a:gd name="connsiteX1" fmla="*/ 42396 w 84716"/>
                <a:gd name="connsiteY1" fmla="*/ 84640 h 84640"/>
                <a:gd name="connsiteX2" fmla="*/ 0 w 84716"/>
                <a:gd name="connsiteY2" fmla="*/ 42320 h 84640"/>
                <a:gd name="connsiteX3" fmla="*/ 42396 w 84716"/>
                <a:gd name="connsiteY3" fmla="*/ 0 h 84640"/>
                <a:gd name="connsiteX4" fmla="*/ 84717 w 84716"/>
                <a:gd name="connsiteY4" fmla="*/ 42320 h 84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16" h="84640">
                  <a:moveTo>
                    <a:pt x="84717" y="42320"/>
                  </a:moveTo>
                  <a:cubicBezTo>
                    <a:pt x="84717" y="65688"/>
                    <a:pt x="65764" y="84640"/>
                    <a:pt x="42396" y="84640"/>
                  </a:cubicBezTo>
                  <a:cubicBezTo>
                    <a:pt x="19029" y="84640"/>
                    <a:pt x="0" y="65688"/>
                    <a:pt x="0" y="42320"/>
                  </a:cubicBezTo>
                  <a:cubicBezTo>
                    <a:pt x="0" y="18953"/>
                    <a:pt x="18953" y="0"/>
                    <a:pt x="42396" y="0"/>
                  </a:cubicBezTo>
                  <a:cubicBezTo>
                    <a:pt x="65764" y="0"/>
                    <a:pt x="84717" y="18953"/>
                    <a:pt x="84717" y="42320"/>
                  </a:cubicBezTo>
                </a:path>
              </a:pathLst>
            </a:custGeom>
            <a:grpFill/>
            <a:ln w="7608" cap="flat">
              <a:noFill/>
              <a:prstDash val="solid"/>
              <a:miter/>
            </a:ln>
          </p:spPr>
          <p:txBody>
            <a:bodyPr rtlCol="0" anchor="ctr"/>
            <a:lstStyle/>
            <a:p>
              <a:endParaRPr lang="hi-IN"/>
            </a:p>
          </p:txBody>
        </p:sp>
        <p:sp>
          <p:nvSpPr>
            <p:cNvPr id="1649" name="Freeform: Shape 648"/>
            <p:cNvSpPr/>
            <p:nvPr/>
          </p:nvSpPr>
          <p:spPr>
            <a:xfrm>
              <a:off x="9863484" y="1237636"/>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5" y="83575"/>
                    <a:pt x="0" y="64850"/>
                    <a:pt x="0" y="41787"/>
                  </a:cubicBezTo>
                  <a:cubicBezTo>
                    <a:pt x="0" y="18724"/>
                    <a:pt x="18725"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650" name="Freeform: Shape 649"/>
            <p:cNvSpPr/>
            <p:nvPr/>
          </p:nvSpPr>
          <p:spPr>
            <a:xfrm>
              <a:off x="9716277" y="1144319"/>
              <a:ext cx="81443" cy="81443"/>
            </a:xfrm>
            <a:custGeom>
              <a:avLst/>
              <a:gdLst>
                <a:gd name="connsiteX0" fmla="*/ 81443 w 81443"/>
                <a:gd name="connsiteY0" fmla="*/ 40722 h 81443"/>
                <a:gd name="connsiteX1" fmla="*/ 40722 w 81443"/>
                <a:gd name="connsiteY1" fmla="*/ 81443 h 81443"/>
                <a:gd name="connsiteX2" fmla="*/ 0 w 81443"/>
                <a:gd name="connsiteY2" fmla="*/ 40722 h 81443"/>
                <a:gd name="connsiteX3" fmla="*/ 40722 w 81443"/>
                <a:gd name="connsiteY3" fmla="*/ 0 h 81443"/>
                <a:gd name="connsiteX4" fmla="*/ 81443 w 81443"/>
                <a:gd name="connsiteY4" fmla="*/ 40722 h 8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3" h="81443">
                  <a:moveTo>
                    <a:pt x="81443" y="40722"/>
                  </a:moveTo>
                  <a:cubicBezTo>
                    <a:pt x="81443" y="63176"/>
                    <a:pt x="63176" y="81443"/>
                    <a:pt x="40722" y="81443"/>
                  </a:cubicBezTo>
                  <a:cubicBezTo>
                    <a:pt x="18268" y="81443"/>
                    <a:pt x="0" y="63176"/>
                    <a:pt x="0" y="40722"/>
                  </a:cubicBezTo>
                  <a:cubicBezTo>
                    <a:pt x="0" y="18192"/>
                    <a:pt x="18268" y="0"/>
                    <a:pt x="40722" y="0"/>
                  </a:cubicBezTo>
                  <a:cubicBezTo>
                    <a:pt x="63176" y="0"/>
                    <a:pt x="81443" y="18268"/>
                    <a:pt x="81443" y="40722"/>
                  </a:cubicBezTo>
                </a:path>
              </a:pathLst>
            </a:custGeom>
            <a:grpFill/>
            <a:ln w="7608" cap="flat">
              <a:noFill/>
              <a:prstDash val="solid"/>
              <a:miter/>
            </a:ln>
          </p:spPr>
          <p:txBody>
            <a:bodyPr rtlCol="0" anchor="ctr"/>
            <a:lstStyle/>
            <a:p>
              <a:endParaRPr lang="hi-IN"/>
            </a:p>
          </p:txBody>
        </p:sp>
        <p:sp>
          <p:nvSpPr>
            <p:cNvPr id="1651" name="Freeform: Shape 650"/>
            <p:cNvSpPr/>
            <p:nvPr/>
          </p:nvSpPr>
          <p:spPr>
            <a:xfrm>
              <a:off x="9564199" y="1057623"/>
              <a:ext cx="80377" cy="80377"/>
            </a:xfrm>
            <a:custGeom>
              <a:avLst/>
              <a:gdLst>
                <a:gd name="connsiteX0" fmla="*/ 80377 w 80377"/>
                <a:gd name="connsiteY0" fmla="*/ 40189 h 80377"/>
                <a:gd name="connsiteX1" fmla="*/ 40189 w 80377"/>
                <a:gd name="connsiteY1" fmla="*/ 80378 h 80377"/>
                <a:gd name="connsiteX2" fmla="*/ 0 w 80377"/>
                <a:gd name="connsiteY2" fmla="*/ 40189 h 80377"/>
                <a:gd name="connsiteX3" fmla="*/ 40189 w 80377"/>
                <a:gd name="connsiteY3" fmla="*/ 0 h 80377"/>
                <a:gd name="connsiteX4" fmla="*/ 80377 w 80377"/>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7" h="80377">
                  <a:moveTo>
                    <a:pt x="80377" y="40189"/>
                  </a:moveTo>
                  <a:cubicBezTo>
                    <a:pt x="80377" y="62339"/>
                    <a:pt x="62414" y="80378"/>
                    <a:pt x="40189" y="80378"/>
                  </a:cubicBezTo>
                  <a:cubicBezTo>
                    <a:pt x="18039" y="80378"/>
                    <a:pt x="0" y="62415"/>
                    <a:pt x="0" y="40189"/>
                  </a:cubicBezTo>
                  <a:cubicBezTo>
                    <a:pt x="0" y="17963"/>
                    <a:pt x="17963" y="0"/>
                    <a:pt x="40189" y="0"/>
                  </a:cubicBezTo>
                  <a:cubicBezTo>
                    <a:pt x="62414" y="0"/>
                    <a:pt x="80377" y="17963"/>
                    <a:pt x="80377" y="40189"/>
                  </a:cubicBezTo>
                </a:path>
              </a:pathLst>
            </a:custGeom>
            <a:grpFill/>
            <a:ln w="7608" cap="flat">
              <a:noFill/>
              <a:prstDash val="solid"/>
              <a:miter/>
            </a:ln>
          </p:spPr>
          <p:txBody>
            <a:bodyPr rtlCol="0" anchor="ctr"/>
            <a:lstStyle/>
            <a:p>
              <a:endParaRPr lang="hi-IN"/>
            </a:p>
          </p:txBody>
        </p:sp>
        <p:sp>
          <p:nvSpPr>
            <p:cNvPr id="1652" name="Freeform: Shape 651"/>
            <p:cNvSpPr/>
            <p:nvPr/>
          </p:nvSpPr>
          <p:spPr>
            <a:xfrm>
              <a:off x="9408771" y="978692"/>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7" y="78247"/>
                    <a:pt x="0" y="60740"/>
                    <a:pt x="0" y="39123"/>
                  </a:cubicBezTo>
                  <a:cubicBezTo>
                    <a:pt x="0" y="17507"/>
                    <a:pt x="17507" y="0"/>
                    <a:pt x="39123" y="0"/>
                  </a:cubicBezTo>
                  <a:cubicBezTo>
                    <a:pt x="60740" y="0"/>
                    <a:pt x="78247" y="17507"/>
                    <a:pt x="78247" y="39123"/>
                  </a:cubicBezTo>
                </a:path>
              </a:pathLst>
            </a:custGeom>
            <a:grpFill/>
            <a:ln w="7608" cap="flat">
              <a:noFill/>
              <a:prstDash val="solid"/>
              <a:miter/>
            </a:ln>
          </p:spPr>
          <p:txBody>
            <a:bodyPr rtlCol="0" anchor="ctr"/>
            <a:lstStyle/>
            <a:p>
              <a:endParaRPr lang="hi-IN"/>
            </a:p>
          </p:txBody>
        </p:sp>
        <p:sp>
          <p:nvSpPr>
            <p:cNvPr id="1653" name="Freeform: Shape 652"/>
            <p:cNvSpPr/>
            <p:nvPr/>
          </p:nvSpPr>
          <p:spPr>
            <a:xfrm>
              <a:off x="9250375" y="907904"/>
              <a:ext cx="74897" cy="74897"/>
            </a:xfrm>
            <a:custGeom>
              <a:avLst/>
              <a:gdLst>
                <a:gd name="connsiteX0" fmla="*/ 74897 w 74897"/>
                <a:gd name="connsiteY0" fmla="*/ 37449 h 74897"/>
                <a:gd name="connsiteX1" fmla="*/ 37448 w 74897"/>
                <a:gd name="connsiteY1" fmla="*/ 74898 h 74897"/>
                <a:gd name="connsiteX2" fmla="*/ 0 w 74897"/>
                <a:gd name="connsiteY2" fmla="*/ 37449 h 74897"/>
                <a:gd name="connsiteX3" fmla="*/ 37448 w 74897"/>
                <a:gd name="connsiteY3" fmla="*/ 0 h 74897"/>
                <a:gd name="connsiteX4" fmla="*/ 74897 w 74897"/>
                <a:gd name="connsiteY4" fmla="*/ 37449 h 7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97" h="74897">
                  <a:moveTo>
                    <a:pt x="74897" y="37449"/>
                  </a:moveTo>
                  <a:cubicBezTo>
                    <a:pt x="74897" y="58152"/>
                    <a:pt x="58152" y="74898"/>
                    <a:pt x="37448" y="74898"/>
                  </a:cubicBezTo>
                  <a:cubicBezTo>
                    <a:pt x="16745" y="74898"/>
                    <a:pt x="0" y="58152"/>
                    <a:pt x="0" y="37449"/>
                  </a:cubicBezTo>
                  <a:cubicBezTo>
                    <a:pt x="0" y="16746"/>
                    <a:pt x="16745" y="0"/>
                    <a:pt x="37448" y="0"/>
                  </a:cubicBezTo>
                  <a:cubicBezTo>
                    <a:pt x="58076" y="-76"/>
                    <a:pt x="74897" y="16746"/>
                    <a:pt x="74897" y="37449"/>
                  </a:cubicBezTo>
                </a:path>
              </a:pathLst>
            </a:custGeom>
            <a:grpFill/>
            <a:ln w="7608" cap="flat">
              <a:noFill/>
              <a:prstDash val="solid"/>
              <a:miter/>
            </a:ln>
          </p:spPr>
          <p:txBody>
            <a:bodyPr rtlCol="0" anchor="ctr"/>
            <a:lstStyle/>
            <a:p>
              <a:endParaRPr lang="hi-IN"/>
            </a:p>
          </p:txBody>
        </p:sp>
        <p:sp>
          <p:nvSpPr>
            <p:cNvPr id="1654" name="Freeform: Shape 653"/>
            <p:cNvSpPr/>
            <p:nvPr/>
          </p:nvSpPr>
          <p:spPr>
            <a:xfrm>
              <a:off x="9088020" y="844043"/>
              <a:ext cx="72766" cy="72766"/>
            </a:xfrm>
            <a:custGeom>
              <a:avLst/>
              <a:gdLst>
                <a:gd name="connsiteX0" fmla="*/ 72767 w 72766"/>
                <a:gd name="connsiteY0" fmla="*/ 36383 h 72766"/>
                <a:gd name="connsiteX1" fmla="*/ 36383 w 72766"/>
                <a:gd name="connsiteY1" fmla="*/ 72766 h 72766"/>
                <a:gd name="connsiteX2" fmla="*/ 0 w 72766"/>
                <a:gd name="connsiteY2" fmla="*/ 36383 h 72766"/>
                <a:gd name="connsiteX3" fmla="*/ 36383 w 72766"/>
                <a:gd name="connsiteY3" fmla="*/ 0 h 72766"/>
                <a:gd name="connsiteX4" fmla="*/ 72767 w 72766"/>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6" h="72766">
                  <a:moveTo>
                    <a:pt x="72767" y="36383"/>
                  </a:moveTo>
                  <a:cubicBezTo>
                    <a:pt x="72767" y="56478"/>
                    <a:pt x="56478" y="72766"/>
                    <a:pt x="36383" y="72766"/>
                  </a:cubicBezTo>
                  <a:cubicBezTo>
                    <a:pt x="16289" y="72766"/>
                    <a:pt x="0" y="56478"/>
                    <a:pt x="0" y="36383"/>
                  </a:cubicBezTo>
                  <a:cubicBezTo>
                    <a:pt x="0" y="16289"/>
                    <a:pt x="16289" y="0"/>
                    <a:pt x="36383" y="0"/>
                  </a:cubicBezTo>
                  <a:cubicBezTo>
                    <a:pt x="56478" y="0"/>
                    <a:pt x="72767" y="16289"/>
                    <a:pt x="72767" y="36383"/>
                  </a:cubicBezTo>
                </a:path>
              </a:pathLst>
            </a:custGeom>
            <a:grpFill/>
            <a:ln w="7608" cap="flat">
              <a:noFill/>
              <a:prstDash val="solid"/>
              <a:miter/>
            </a:ln>
          </p:spPr>
          <p:txBody>
            <a:bodyPr rtlCol="0" anchor="ctr"/>
            <a:lstStyle/>
            <a:p>
              <a:endParaRPr lang="hi-IN"/>
            </a:p>
          </p:txBody>
        </p:sp>
        <p:sp>
          <p:nvSpPr>
            <p:cNvPr id="1655" name="Freeform: Shape 654"/>
            <p:cNvSpPr/>
            <p:nvPr/>
          </p:nvSpPr>
          <p:spPr>
            <a:xfrm>
              <a:off x="8923383" y="788631"/>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3" y="69569"/>
                    <a:pt x="34785" y="69569"/>
                  </a:cubicBezTo>
                  <a:cubicBezTo>
                    <a:pt x="15604" y="69569"/>
                    <a:pt x="0" y="54042"/>
                    <a:pt x="0" y="34785"/>
                  </a:cubicBezTo>
                  <a:cubicBezTo>
                    <a:pt x="0" y="15604"/>
                    <a:pt x="15528" y="0"/>
                    <a:pt x="34785" y="0"/>
                  </a:cubicBezTo>
                  <a:cubicBezTo>
                    <a:pt x="53967" y="0"/>
                    <a:pt x="69570" y="15528"/>
                    <a:pt x="69570" y="34785"/>
                  </a:cubicBezTo>
                </a:path>
              </a:pathLst>
            </a:custGeom>
            <a:grpFill/>
            <a:ln w="7608" cap="flat">
              <a:noFill/>
              <a:prstDash val="solid"/>
              <a:miter/>
            </a:ln>
          </p:spPr>
          <p:txBody>
            <a:bodyPr rtlCol="0" anchor="ctr"/>
            <a:lstStyle/>
            <a:p>
              <a:endParaRPr lang="hi-IN"/>
            </a:p>
          </p:txBody>
        </p:sp>
        <p:sp>
          <p:nvSpPr>
            <p:cNvPr id="1656" name="Freeform: Shape 655"/>
            <p:cNvSpPr/>
            <p:nvPr/>
          </p:nvSpPr>
          <p:spPr>
            <a:xfrm>
              <a:off x="8756842" y="741668"/>
              <a:ext cx="65155" cy="65154"/>
            </a:xfrm>
            <a:custGeom>
              <a:avLst/>
              <a:gdLst>
                <a:gd name="connsiteX0" fmla="*/ 65155 w 65155"/>
                <a:gd name="connsiteY0" fmla="*/ 32577 h 65154"/>
                <a:gd name="connsiteX1" fmla="*/ 32578 w 65155"/>
                <a:gd name="connsiteY1" fmla="*/ 65155 h 65154"/>
                <a:gd name="connsiteX2" fmla="*/ 0 w 65155"/>
                <a:gd name="connsiteY2" fmla="*/ 32577 h 65154"/>
                <a:gd name="connsiteX3" fmla="*/ 32578 w 65155"/>
                <a:gd name="connsiteY3" fmla="*/ 0 h 65154"/>
                <a:gd name="connsiteX4" fmla="*/ 65155 w 65155"/>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5" h="65154">
                  <a:moveTo>
                    <a:pt x="65155" y="32577"/>
                  </a:moveTo>
                  <a:cubicBezTo>
                    <a:pt x="65155" y="50541"/>
                    <a:pt x="50541" y="65155"/>
                    <a:pt x="32578" y="65155"/>
                  </a:cubicBezTo>
                  <a:cubicBezTo>
                    <a:pt x="14614" y="65155"/>
                    <a:pt x="0" y="50541"/>
                    <a:pt x="0" y="32577"/>
                  </a:cubicBezTo>
                  <a:cubicBezTo>
                    <a:pt x="0" y="14614"/>
                    <a:pt x="14614" y="0"/>
                    <a:pt x="32578" y="0"/>
                  </a:cubicBezTo>
                  <a:cubicBezTo>
                    <a:pt x="50617" y="0"/>
                    <a:pt x="65155" y="14538"/>
                    <a:pt x="65155" y="32577"/>
                  </a:cubicBezTo>
                </a:path>
              </a:pathLst>
            </a:custGeom>
            <a:grpFill/>
            <a:ln w="7608" cap="flat">
              <a:noFill/>
              <a:prstDash val="solid"/>
              <a:miter/>
            </a:ln>
          </p:spPr>
          <p:txBody>
            <a:bodyPr rtlCol="0" anchor="ctr"/>
            <a:lstStyle/>
            <a:p>
              <a:endParaRPr lang="hi-IN"/>
            </a:p>
          </p:txBody>
        </p:sp>
        <p:sp>
          <p:nvSpPr>
            <p:cNvPr id="1657" name="Freeform: Shape 656"/>
            <p:cNvSpPr/>
            <p:nvPr/>
          </p:nvSpPr>
          <p:spPr>
            <a:xfrm>
              <a:off x="8587562" y="702088"/>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929"/>
                    <a:pt x="61958" y="30979"/>
                  </a:cubicBezTo>
                </a:path>
              </a:pathLst>
            </a:custGeom>
            <a:grpFill/>
            <a:ln w="7608" cap="flat">
              <a:noFill/>
              <a:prstDash val="solid"/>
              <a:miter/>
            </a:ln>
          </p:spPr>
          <p:txBody>
            <a:bodyPr rtlCol="0" anchor="ctr"/>
            <a:lstStyle/>
            <a:p>
              <a:endParaRPr lang="hi-IN"/>
            </a:p>
          </p:txBody>
        </p:sp>
        <p:sp>
          <p:nvSpPr>
            <p:cNvPr id="1658" name="Freeform: Shape 657"/>
            <p:cNvSpPr/>
            <p:nvPr/>
          </p:nvSpPr>
          <p:spPr>
            <a:xfrm>
              <a:off x="8416683" y="670804"/>
              <a:ext cx="58608" cy="58609"/>
            </a:xfrm>
            <a:custGeom>
              <a:avLst/>
              <a:gdLst>
                <a:gd name="connsiteX0" fmla="*/ 58609 w 58608"/>
                <a:gd name="connsiteY0" fmla="*/ 29305 h 58609"/>
                <a:gd name="connsiteX1" fmla="*/ 29304 w 58608"/>
                <a:gd name="connsiteY1" fmla="*/ 58609 h 58609"/>
                <a:gd name="connsiteX2" fmla="*/ 0 w 58608"/>
                <a:gd name="connsiteY2" fmla="*/ 29305 h 58609"/>
                <a:gd name="connsiteX3" fmla="*/ 29304 w 58608"/>
                <a:gd name="connsiteY3" fmla="*/ 0 h 58609"/>
                <a:gd name="connsiteX4" fmla="*/ 58609 w 58608"/>
                <a:gd name="connsiteY4" fmla="*/ 29305 h 58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08" h="58609">
                  <a:moveTo>
                    <a:pt x="58609" y="29305"/>
                  </a:moveTo>
                  <a:cubicBezTo>
                    <a:pt x="58609" y="45517"/>
                    <a:pt x="45441" y="58609"/>
                    <a:pt x="29304" y="58609"/>
                  </a:cubicBezTo>
                  <a:cubicBezTo>
                    <a:pt x="13092" y="58609"/>
                    <a:pt x="0" y="45441"/>
                    <a:pt x="0" y="29305"/>
                  </a:cubicBezTo>
                  <a:cubicBezTo>
                    <a:pt x="0" y="13092"/>
                    <a:pt x="13092" y="0"/>
                    <a:pt x="29304" y="0"/>
                  </a:cubicBezTo>
                  <a:cubicBezTo>
                    <a:pt x="45441" y="-76"/>
                    <a:pt x="58609" y="13092"/>
                    <a:pt x="58609" y="29305"/>
                  </a:cubicBezTo>
                </a:path>
              </a:pathLst>
            </a:custGeom>
            <a:grpFill/>
            <a:ln w="7608" cap="flat">
              <a:noFill/>
              <a:prstDash val="solid"/>
              <a:miter/>
            </a:ln>
          </p:spPr>
          <p:txBody>
            <a:bodyPr rtlCol="0" anchor="ctr"/>
            <a:lstStyle/>
            <a:p>
              <a:endParaRPr lang="hi-IN"/>
            </a:p>
          </p:txBody>
        </p:sp>
        <p:sp>
          <p:nvSpPr>
            <p:cNvPr id="1659" name="Freeform: Shape 658"/>
            <p:cNvSpPr/>
            <p:nvPr/>
          </p:nvSpPr>
          <p:spPr>
            <a:xfrm>
              <a:off x="8244738" y="648122"/>
              <a:ext cx="54345" cy="54346"/>
            </a:xfrm>
            <a:custGeom>
              <a:avLst/>
              <a:gdLst>
                <a:gd name="connsiteX0" fmla="*/ 54346 w 54345"/>
                <a:gd name="connsiteY0" fmla="*/ 27173 h 54346"/>
                <a:gd name="connsiteX1" fmla="*/ 27173 w 54345"/>
                <a:gd name="connsiteY1" fmla="*/ 54346 h 54346"/>
                <a:gd name="connsiteX2" fmla="*/ 0 w 54345"/>
                <a:gd name="connsiteY2" fmla="*/ 27173 h 54346"/>
                <a:gd name="connsiteX3" fmla="*/ 27173 w 54345"/>
                <a:gd name="connsiteY3" fmla="*/ 0 h 54346"/>
                <a:gd name="connsiteX4" fmla="*/ 54346 w 54345"/>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5" h="54346">
                  <a:moveTo>
                    <a:pt x="54346" y="27173"/>
                  </a:moveTo>
                  <a:cubicBezTo>
                    <a:pt x="54346" y="42168"/>
                    <a:pt x="42167" y="54346"/>
                    <a:pt x="27173" y="54346"/>
                  </a:cubicBezTo>
                  <a:cubicBezTo>
                    <a:pt x="12178" y="54346"/>
                    <a:pt x="0" y="42168"/>
                    <a:pt x="0" y="27173"/>
                  </a:cubicBezTo>
                  <a:cubicBezTo>
                    <a:pt x="0" y="12178"/>
                    <a:pt x="12178" y="0"/>
                    <a:pt x="27173" y="0"/>
                  </a:cubicBezTo>
                  <a:cubicBezTo>
                    <a:pt x="42167" y="0"/>
                    <a:pt x="54346" y="12178"/>
                    <a:pt x="54346" y="27173"/>
                  </a:cubicBezTo>
                </a:path>
              </a:pathLst>
            </a:custGeom>
            <a:grpFill/>
            <a:ln w="7608" cap="flat">
              <a:noFill/>
              <a:prstDash val="solid"/>
              <a:miter/>
            </a:ln>
          </p:spPr>
          <p:txBody>
            <a:bodyPr rtlCol="0" anchor="ctr"/>
            <a:lstStyle/>
            <a:p>
              <a:endParaRPr lang="hi-IN"/>
            </a:p>
          </p:txBody>
        </p:sp>
        <p:sp>
          <p:nvSpPr>
            <p:cNvPr id="1660" name="Freeform: Shape 659"/>
            <p:cNvSpPr/>
            <p:nvPr/>
          </p:nvSpPr>
          <p:spPr>
            <a:xfrm>
              <a:off x="8071500" y="633203"/>
              <a:ext cx="50996" cy="50997"/>
            </a:xfrm>
            <a:custGeom>
              <a:avLst/>
              <a:gdLst>
                <a:gd name="connsiteX0" fmla="*/ 50997 w 50996"/>
                <a:gd name="connsiteY0" fmla="*/ 25499 h 50997"/>
                <a:gd name="connsiteX1" fmla="*/ 25498 w 50996"/>
                <a:gd name="connsiteY1" fmla="*/ 50998 h 50997"/>
                <a:gd name="connsiteX2" fmla="*/ 0 w 50996"/>
                <a:gd name="connsiteY2" fmla="*/ 25499 h 50997"/>
                <a:gd name="connsiteX3" fmla="*/ 25498 w 50996"/>
                <a:gd name="connsiteY3" fmla="*/ 0 h 50997"/>
                <a:gd name="connsiteX4" fmla="*/ 50997 w 50996"/>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6" h="50997">
                  <a:moveTo>
                    <a:pt x="50997" y="25499"/>
                  </a:moveTo>
                  <a:cubicBezTo>
                    <a:pt x="50997" y="39580"/>
                    <a:pt x="39580" y="50998"/>
                    <a:pt x="25498" y="50998"/>
                  </a:cubicBezTo>
                  <a:cubicBezTo>
                    <a:pt x="11417" y="50998"/>
                    <a:pt x="0" y="39580"/>
                    <a:pt x="0" y="25499"/>
                  </a:cubicBezTo>
                  <a:cubicBezTo>
                    <a:pt x="0" y="11418"/>
                    <a:pt x="11417" y="0"/>
                    <a:pt x="25498" y="0"/>
                  </a:cubicBezTo>
                  <a:cubicBezTo>
                    <a:pt x="39580" y="-76"/>
                    <a:pt x="50997" y="11418"/>
                    <a:pt x="50997" y="25499"/>
                  </a:cubicBezTo>
                </a:path>
              </a:pathLst>
            </a:custGeom>
            <a:grpFill/>
            <a:ln w="7608" cap="flat">
              <a:noFill/>
              <a:prstDash val="solid"/>
              <a:miter/>
            </a:ln>
          </p:spPr>
          <p:txBody>
            <a:bodyPr rtlCol="0" anchor="ctr"/>
            <a:lstStyle/>
            <a:p>
              <a:endParaRPr lang="hi-IN"/>
            </a:p>
          </p:txBody>
        </p:sp>
        <p:sp>
          <p:nvSpPr>
            <p:cNvPr id="1661" name="Freeform: Shape 660"/>
            <p:cNvSpPr/>
            <p:nvPr/>
          </p:nvSpPr>
          <p:spPr>
            <a:xfrm>
              <a:off x="7898032" y="627038"/>
              <a:ext cx="46734" cy="46734"/>
            </a:xfrm>
            <a:custGeom>
              <a:avLst/>
              <a:gdLst>
                <a:gd name="connsiteX0" fmla="*/ 46735 w 46734"/>
                <a:gd name="connsiteY0" fmla="*/ 23367 h 46734"/>
                <a:gd name="connsiteX1" fmla="*/ 23367 w 46734"/>
                <a:gd name="connsiteY1" fmla="*/ 46735 h 46734"/>
                <a:gd name="connsiteX2" fmla="*/ 0 w 46734"/>
                <a:gd name="connsiteY2" fmla="*/ 23367 h 46734"/>
                <a:gd name="connsiteX3" fmla="*/ 23367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231"/>
                    <a:pt x="36307" y="46735"/>
                    <a:pt x="23367" y="46735"/>
                  </a:cubicBezTo>
                  <a:cubicBezTo>
                    <a:pt x="10504" y="46735"/>
                    <a:pt x="0" y="36307"/>
                    <a:pt x="0" y="23367"/>
                  </a:cubicBezTo>
                  <a:cubicBezTo>
                    <a:pt x="0" y="10504"/>
                    <a:pt x="10428" y="0"/>
                    <a:pt x="23367" y="0"/>
                  </a:cubicBezTo>
                  <a:cubicBezTo>
                    <a:pt x="36231" y="0"/>
                    <a:pt x="46735" y="10428"/>
                    <a:pt x="46735" y="23367"/>
                  </a:cubicBezTo>
                </a:path>
              </a:pathLst>
            </a:custGeom>
            <a:grpFill/>
            <a:ln w="7608" cap="flat">
              <a:noFill/>
              <a:prstDash val="solid"/>
              <a:miter/>
            </a:ln>
          </p:spPr>
          <p:txBody>
            <a:bodyPr rtlCol="0" anchor="ctr"/>
            <a:lstStyle/>
            <a:p>
              <a:endParaRPr lang="hi-IN"/>
            </a:p>
          </p:txBody>
        </p:sp>
        <p:sp>
          <p:nvSpPr>
            <p:cNvPr id="1662" name="Freeform: Shape 661"/>
            <p:cNvSpPr/>
            <p:nvPr/>
          </p:nvSpPr>
          <p:spPr>
            <a:xfrm>
              <a:off x="7724489" y="629245"/>
              <a:ext cx="42320" cy="42320"/>
            </a:xfrm>
            <a:custGeom>
              <a:avLst/>
              <a:gdLst>
                <a:gd name="connsiteX0" fmla="*/ 42320 w 42320"/>
                <a:gd name="connsiteY0" fmla="*/ 21161 h 42320"/>
                <a:gd name="connsiteX1" fmla="*/ 21160 w 42320"/>
                <a:gd name="connsiteY1" fmla="*/ 42321 h 42320"/>
                <a:gd name="connsiteX2" fmla="*/ 0 w 42320"/>
                <a:gd name="connsiteY2" fmla="*/ 21161 h 42320"/>
                <a:gd name="connsiteX3" fmla="*/ 21160 w 42320"/>
                <a:gd name="connsiteY3" fmla="*/ 0 h 42320"/>
                <a:gd name="connsiteX4" fmla="*/ 42320 w 42320"/>
                <a:gd name="connsiteY4" fmla="*/ 21161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0" y="21161"/>
                  </a:moveTo>
                  <a:cubicBezTo>
                    <a:pt x="42320" y="32882"/>
                    <a:pt x="32806" y="42321"/>
                    <a:pt x="21160" y="42321"/>
                  </a:cubicBezTo>
                  <a:cubicBezTo>
                    <a:pt x="9438" y="42321"/>
                    <a:pt x="0" y="32806"/>
                    <a:pt x="0" y="21161"/>
                  </a:cubicBezTo>
                  <a:cubicBezTo>
                    <a:pt x="0" y="9439"/>
                    <a:pt x="9514" y="0"/>
                    <a:pt x="21160" y="0"/>
                  </a:cubicBezTo>
                  <a:cubicBezTo>
                    <a:pt x="32882" y="-76"/>
                    <a:pt x="42320" y="9439"/>
                    <a:pt x="42320" y="21161"/>
                  </a:cubicBezTo>
                </a:path>
              </a:pathLst>
            </a:custGeom>
            <a:grpFill/>
            <a:ln w="7608" cap="flat">
              <a:noFill/>
              <a:prstDash val="solid"/>
              <a:miter/>
            </a:ln>
          </p:spPr>
          <p:txBody>
            <a:bodyPr rtlCol="0" anchor="ctr"/>
            <a:lstStyle/>
            <a:p>
              <a:endParaRPr lang="hi-IN"/>
            </a:p>
          </p:txBody>
        </p:sp>
        <p:sp>
          <p:nvSpPr>
            <p:cNvPr id="1663" name="Freeform: Shape 662"/>
            <p:cNvSpPr/>
            <p:nvPr/>
          </p:nvSpPr>
          <p:spPr>
            <a:xfrm>
              <a:off x="7550489" y="639141"/>
              <a:ext cx="39122" cy="39123"/>
            </a:xfrm>
            <a:custGeom>
              <a:avLst/>
              <a:gdLst>
                <a:gd name="connsiteX0" fmla="*/ 39123 w 39122"/>
                <a:gd name="connsiteY0" fmla="*/ 19562 h 39123"/>
                <a:gd name="connsiteX1" fmla="*/ 19561 w 39122"/>
                <a:gd name="connsiteY1" fmla="*/ 39123 h 39123"/>
                <a:gd name="connsiteX2" fmla="*/ 0 w 39122"/>
                <a:gd name="connsiteY2" fmla="*/ 19562 h 39123"/>
                <a:gd name="connsiteX3" fmla="*/ 19561 w 39122"/>
                <a:gd name="connsiteY3" fmla="*/ 0 h 39123"/>
                <a:gd name="connsiteX4" fmla="*/ 39123 w 39122"/>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2"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664" name="Freeform: Shape 663"/>
            <p:cNvSpPr/>
            <p:nvPr/>
          </p:nvSpPr>
          <p:spPr>
            <a:xfrm>
              <a:off x="7377783" y="657941"/>
              <a:ext cx="34708" cy="34709"/>
            </a:xfrm>
            <a:custGeom>
              <a:avLst/>
              <a:gdLst>
                <a:gd name="connsiteX0" fmla="*/ 34709 w 34708"/>
                <a:gd name="connsiteY0" fmla="*/ 17355 h 34709"/>
                <a:gd name="connsiteX1" fmla="*/ 17354 w 34708"/>
                <a:gd name="connsiteY1" fmla="*/ 34709 h 34709"/>
                <a:gd name="connsiteX2" fmla="*/ 0 w 34708"/>
                <a:gd name="connsiteY2" fmla="*/ 17355 h 34709"/>
                <a:gd name="connsiteX3" fmla="*/ 17354 w 34708"/>
                <a:gd name="connsiteY3" fmla="*/ 1 h 34709"/>
                <a:gd name="connsiteX4" fmla="*/ 34709 w 34708"/>
                <a:gd name="connsiteY4" fmla="*/ 17355 h 3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9">
                  <a:moveTo>
                    <a:pt x="34709" y="17355"/>
                  </a:moveTo>
                  <a:cubicBezTo>
                    <a:pt x="34709" y="26945"/>
                    <a:pt x="26945" y="34709"/>
                    <a:pt x="17354" y="34709"/>
                  </a:cubicBezTo>
                  <a:cubicBezTo>
                    <a:pt x="7763" y="34709"/>
                    <a:pt x="0" y="26945"/>
                    <a:pt x="0" y="17355"/>
                  </a:cubicBezTo>
                  <a:cubicBezTo>
                    <a:pt x="0" y="7764"/>
                    <a:pt x="7763" y="1"/>
                    <a:pt x="17354" y="1"/>
                  </a:cubicBezTo>
                  <a:cubicBezTo>
                    <a:pt x="26945" y="-76"/>
                    <a:pt x="34709" y="7688"/>
                    <a:pt x="34709" y="17355"/>
                  </a:cubicBezTo>
                </a:path>
              </a:pathLst>
            </a:custGeom>
            <a:grpFill/>
            <a:ln w="7608" cap="flat">
              <a:noFill/>
              <a:prstDash val="solid"/>
              <a:miter/>
            </a:ln>
          </p:spPr>
          <p:txBody>
            <a:bodyPr rtlCol="0" anchor="ctr"/>
            <a:lstStyle/>
            <a:p>
              <a:endParaRPr lang="hi-IN"/>
            </a:p>
          </p:txBody>
        </p:sp>
        <p:sp>
          <p:nvSpPr>
            <p:cNvPr id="1665" name="Freeform: Shape 664"/>
            <p:cNvSpPr/>
            <p:nvPr/>
          </p:nvSpPr>
          <p:spPr>
            <a:xfrm>
              <a:off x="7205306" y="684353"/>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6" y="31512"/>
                  </a:cubicBezTo>
                  <a:cubicBezTo>
                    <a:pt x="7079" y="31512"/>
                    <a:pt x="0" y="24433"/>
                    <a:pt x="0" y="15756"/>
                  </a:cubicBezTo>
                  <a:cubicBezTo>
                    <a:pt x="0" y="7079"/>
                    <a:pt x="7079" y="0"/>
                    <a:pt x="15756" y="0"/>
                  </a:cubicBezTo>
                  <a:cubicBezTo>
                    <a:pt x="24509" y="0"/>
                    <a:pt x="31512" y="7003"/>
                    <a:pt x="31512" y="15756"/>
                  </a:cubicBezTo>
                </a:path>
              </a:pathLst>
            </a:custGeom>
            <a:grpFill/>
            <a:ln w="7608" cap="flat">
              <a:noFill/>
              <a:prstDash val="solid"/>
              <a:miter/>
            </a:ln>
          </p:spPr>
          <p:txBody>
            <a:bodyPr rtlCol="0" anchor="ctr"/>
            <a:lstStyle/>
            <a:p>
              <a:endParaRPr lang="hi-IN"/>
            </a:p>
          </p:txBody>
        </p:sp>
        <p:sp>
          <p:nvSpPr>
            <p:cNvPr id="1666" name="Freeform: Shape 665"/>
            <p:cNvSpPr/>
            <p:nvPr/>
          </p:nvSpPr>
          <p:spPr>
            <a:xfrm>
              <a:off x="7034426" y="718986"/>
              <a:ext cx="28162" cy="28238"/>
            </a:xfrm>
            <a:custGeom>
              <a:avLst/>
              <a:gdLst>
                <a:gd name="connsiteX0" fmla="*/ 28163 w 28162"/>
                <a:gd name="connsiteY0" fmla="*/ 14081 h 28238"/>
                <a:gd name="connsiteX1" fmla="*/ 14082 w 28162"/>
                <a:gd name="connsiteY1" fmla="*/ 28239 h 28238"/>
                <a:gd name="connsiteX2" fmla="*/ 0 w 28162"/>
                <a:gd name="connsiteY2" fmla="*/ 14081 h 28238"/>
                <a:gd name="connsiteX3" fmla="*/ 14082 w 28162"/>
                <a:gd name="connsiteY3" fmla="*/ 0 h 28238"/>
                <a:gd name="connsiteX4" fmla="*/ 28163 w 28162"/>
                <a:gd name="connsiteY4" fmla="*/ 14081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238">
                  <a:moveTo>
                    <a:pt x="28163" y="14081"/>
                  </a:moveTo>
                  <a:cubicBezTo>
                    <a:pt x="28163" y="21845"/>
                    <a:pt x="21845" y="28239"/>
                    <a:pt x="14082" y="28239"/>
                  </a:cubicBezTo>
                  <a:cubicBezTo>
                    <a:pt x="6318" y="28239"/>
                    <a:pt x="0" y="21921"/>
                    <a:pt x="0" y="14081"/>
                  </a:cubicBezTo>
                  <a:cubicBezTo>
                    <a:pt x="0" y="6318"/>
                    <a:pt x="6318" y="0"/>
                    <a:pt x="14082" y="0"/>
                  </a:cubicBezTo>
                  <a:cubicBezTo>
                    <a:pt x="21845" y="0"/>
                    <a:pt x="28163" y="6318"/>
                    <a:pt x="28163" y="14081"/>
                  </a:cubicBezTo>
                </a:path>
              </a:pathLst>
            </a:custGeom>
            <a:grpFill/>
            <a:ln w="7608" cap="flat">
              <a:noFill/>
              <a:prstDash val="solid"/>
              <a:miter/>
            </a:ln>
          </p:spPr>
          <p:txBody>
            <a:bodyPr rtlCol="0" anchor="ctr"/>
            <a:lstStyle/>
            <a:p>
              <a:endParaRPr lang="hi-IN"/>
            </a:p>
          </p:txBody>
        </p:sp>
        <p:sp>
          <p:nvSpPr>
            <p:cNvPr id="1667" name="Freeform: Shape 666"/>
            <p:cNvSpPr/>
            <p:nvPr/>
          </p:nvSpPr>
          <p:spPr>
            <a:xfrm>
              <a:off x="6865602" y="762296"/>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328"/>
                    <a:pt x="23900" y="11950"/>
                  </a:cubicBezTo>
                </a:path>
              </a:pathLst>
            </a:custGeom>
            <a:grpFill/>
            <a:ln w="7608" cap="flat">
              <a:noFill/>
              <a:prstDash val="solid"/>
              <a:miter/>
            </a:ln>
          </p:spPr>
          <p:txBody>
            <a:bodyPr rtlCol="0" anchor="ctr"/>
            <a:lstStyle/>
            <a:p>
              <a:endParaRPr lang="hi-IN"/>
            </a:p>
          </p:txBody>
        </p:sp>
        <p:sp>
          <p:nvSpPr>
            <p:cNvPr id="1668" name="Freeform: Shape 667"/>
            <p:cNvSpPr/>
            <p:nvPr/>
          </p:nvSpPr>
          <p:spPr>
            <a:xfrm>
              <a:off x="6698453" y="813064"/>
              <a:ext cx="20703" cy="20627"/>
            </a:xfrm>
            <a:custGeom>
              <a:avLst/>
              <a:gdLst>
                <a:gd name="connsiteX0" fmla="*/ 20703 w 20703"/>
                <a:gd name="connsiteY0" fmla="*/ 10352 h 20627"/>
                <a:gd name="connsiteX1" fmla="*/ 10352 w 20703"/>
                <a:gd name="connsiteY1" fmla="*/ 20627 h 20627"/>
                <a:gd name="connsiteX2" fmla="*/ 0 w 20703"/>
                <a:gd name="connsiteY2" fmla="*/ 10352 h 20627"/>
                <a:gd name="connsiteX3" fmla="*/ 10352 w 20703"/>
                <a:gd name="connsiteY3" fmla="*/ 0 h 20627"/>
                <a:gd name="connsiteX4" fmla="*/ 20703 w 20703"/>
                <a:gd name="connsiteY4" fmla="*/ 10352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627">
                  <a:moveTo>
                    <a:pt x="20703" y="10352"/>
                  </a:moveTo>
                  <a:cubicBezTo>
                    <a:pt x="20703" y="16060"/>
                    <a:pt x="16060" y="20627"/>
                    <a:pt x="10352" y="20627"/>
                  </a:cubicBezTo>
                  <a:cubicBezTo>
                    <a:pt x="4643" y="20627"/>
                    <a:pt x="0" y="15984"/>
                    <a:pt x="0" y="10352"/>
                  </a:cubicBezTo>
                  <a:cubicBezTo>
                    <a:pt x="0" y="4643"/>
                    <a:pt x="4643" y="0"/>
                    <a:pt x="10352" y="0"/>
                  </a:cubicBezTo>
                  <a:cubicBezTo>
                    <a:pt x="16060" y="0"/>
                    <a:pt x="20703" y="4643"/>
                    <a:pt x="20703" y="10352"/>
                  </a:cubicBezTo>
                </a:path>
              </a:pathLst>
            </a:custGeom>
            <a:grpFill/>
            <a:ln w="7608" cap="flat">
              <a:noFill/>
              <a:prstDash val="solid"/>
              <a:miter/>
            </a:ln>
          </p:spPr>
          <p:txBody>
            <a:bodyPr rtlCol="0" anchor="ctr"/>
            <a:lstStyle/>
            <a:p>
              <a:endParaRPr lang="hi-IN"/>
            </a:p>
          </p:txBody>
        </p:sp>
        <p:sp>
          <p:nvSpPr>
            <p:cNvPr id="1669" name="Freeform: Shape 668"/>
            <p:cNvSpPr/>
            <p:nvPr/>
          </p:nvSpPr>
          <p:spPr>
            <a:xfrm>
              <a:off x="6533967" y="871749"/>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670" name="Freeform: Shape 669"/>
            <p:cNvSpPr/>
            <p:nvPr/>
          </p:nvSpPr>
          <p:spPr>
            <a:xfrm>
              <a:off x="6372146" y="938274"/>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6" y="14157"/>
                    <a:pt x="7079" y="14157"/>
                  </a:cubicBezTo>
                  <a:cubicBezTo>
                    <a:pt x="3121" y="14157"/>
                    <a:pt x="0" y="10961"/>
                    <a:pt x="0" y="7079"/>
                  </a:cubicBezTo>
                  <a:cubicBezTo>
                    <a:pt x="0" y="3197"/>
                    <a:pt x="3121" y="0"/>
                    <a:pt x="7079" y="0"/>
                  </a:cubicBezTo>
                  <a:cubicBezTo>
                    <a:pt x="11036" y="0"/>
                    <a:pt x="14157" y="3121"/>
                    <a:pt x="14157" y="7079"/>
                  </a:cubicBezTo>
                </a:path>
              </a:pathLst>
            </a:custGeom>
            <a:grpFill/>
            <a:ln w="7608" cap="flat">
              <a:noFill/>
              <a:prstDash val="solid"/>
              <a:miter/>
            </a:ln>
          </p:spPr>
          <p:txBody>
            <a:bodyPr rtlCol="0" anchor="ctr"/>
            <a:lstStyle/>
            <a:p>
              <a:endParaRPr lang="hi-IN"/>
            </a:p>
          </p:txBody>
        </p:sp>
        <p:sp>
          <p:nvSpPr>
            <p:cNvPr id="1671" name="Freeform: Shape 670"/>
            <p:cNvSpPr/>
            <p:nvPr/>
          </p:nvSpPr>
          <p:spPr>
            <a:xfrm>
              <a:off x="6213141" y="1011802"/>
              <a:ext cx="11950" cy="11950"/>
            </a:xfrm>
            <a:custGeom>
              <a:avLst/>
              <a:gdLst>
                <a:gd name="connsiteX0" fmla="*/ 11950 w 11950"/>
                <a:gd name="connsiteY0" fmla="*/ 6013 h 11950"/>
                <a:gd name="connsiteX1" fmla="*/ 6013 w 11950"/>
                <a:gd name="connsiteY1" fmla="*/ 11950 h 11950"/>
                <a:gd name="connsiteX2" fmla="*/ 0 w 11950"/>
                <a:gd name="connsiteY2" fmla="*/ 6013 h 11950"/>
                <a:gd name="connsiteX3" fmla="*/ 6013 w 11950"/>
                <a:gd name="connsiteY3" fmla="*/ 0 h 11950"/>
                <a:gd name="connsiteX4" fmla="*/ 11950 w 11950"/>
                <a:gd name="connsiteY4" fmla="*/ 6013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0">
                  <a:moveTo>
                    <a:pt x="11950" y="6013"/>
                  </a:moveTo>
                  <a:cubicBezTo>
                    <a:pt x="11950" y="9286"/>
                    <a:pt x="9286" y="11950"/>
                    <a:pt x="6013" y="11950"/>
                  </a:cubicBezTo>
                  <a:cubicBezTo>
                    <a:pt x="2740" y="11950"/>
                    <a:pt x="0" y="9286"/>
                    <a:pt x="0" y="6013"/>
                  </a:cubicBezTo>
                  <a:cubicBezTo>
                    <a:pt x="0" y="2740"/>
                    <a:pt x="2664" y="0"/>
                    <a:pt x="6013" y="0"/>
                  </a:cubicBezTo>
                  <a:cubicBezTo>
                    <a:pt x="9286" y="0"/>
                    <a:pt x="11950" y="2740"/>
                    <a:pt x="11950" y="6013"/>
                  </a:cubicBezTo>
                </a:path>
              </a:pathLst>
            </a:custGeom>
            <a:grpFill/>
            <a:ln w="7608" cap="flat">
              <a:noFill/>
              <a:prstDash val="solid"/>
              <a:miter/>
            </a:ln>
          </p:spPr>
          <p:txBody>
            <a:bodyPr rtlCol="0" anchor="ctr"/>
            <a:lstStyle/>
            <a:p>
              <a:endParaRPr lang="hi-IN"/>
            </a:p>
          </p:txBody>
        </p:sp>
        <p:sp>
          <p:nvSpPr>
            <p:cNvPr id="1672" name="Freeform: Shape 671"/>
            <p:cNvSpPr/>
            <p:nvPr/>
          </p:nvSpPr>
          <p:spPr>
            <a:xfrm>
              <a:off x="6057789" y="1092939"/>
              <a:ext cx="9742" cy="9744"/>
            </a:xfrm>
            <a:custGeom>
              <a:avLst/>
              <a:gdLst>
                <a:gd name="connsiteX0" fmla="*/ 9743 w 9742"/>
                <a:gd name="connsiteY0" fmla="*/ 4873 h 9744"/>
                <a:gd name="connsiteX1" fmla="*/ 4871 w 9742"/>
                <a:gd name="connsiteY1" fmla="*/ 9745 h 9744"/>
                <a:gd name="connsiteX2" fmla="*/ 0 w 9742"/>
                <a:gd name="connsiteY2" fmla="*/ 4873 h 9744"/>
                <a:gd name="connsiteX3" fmla="*/ 4871 w 9742"/>
                <a:gd name="connsiteY3" fmla="*/ 2 h 9744"/>
                <a:gd name="connsiteX4" fmla="*/ 9743 w 9742"/>
                <a:gd name="connsiteY4" fmla="*/ 4873 h 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4">
                  <a:moveTo>
                    <a:pt x="9743" y="4873"/>
                  </a:moveTo>
                  <a:cubicBezTo>
                    <a:pt x="9743" y="7537"/>
                    <a:pt x="7535" y="9745"/>
                    <a:pt x="4871" y="9745"/>
                  </a:cubicBezTo>
                  <a:cubicBezTo>
                    <a:pt x="2208" y="9745"/>
                    <a:pt x="0" y="7537"/>
                    <a:pt x="0" y="4873"/>
                  </a:cubicBezTo>
                  <a:cubicBezTo>
                    <a:pt x="0" y="2133"/>
                    <a:pt x="2208" y="2"/>
                    <a:pt x="4871" y="2"/>
                  </a:cubicBezTo>
                  <a:cubicBezTo>
                    <a:pt x="7535" y="-74"/>
                    <a:pt x="9743" y="2133"/>
                    <a:pt x="9743" y="4873"/>
                  </a:cubicBezTo>
                </a:path>
              </a:pathLst>
            </a:custGeom>
            <a:grpFill/>
            <a:ln w="7608" cap="flat">
              <a:noFill/>
              <a:prstDash val="solid"/>
              <a:miter/>
            </a:ln>
          </p:spPr>
          <p:txBody>
            <a:bodyPr rtlCol="0" anchor="ctr"/>
            <a:lstStyle/>
            <a:p>
              <a:endParaRPr lang="hi-IN"/>
            </a:p>
          </p:txBody>
        </p:sp>
        <p:sp>
          <p:nvSpPr>
            <p:cNvPr id="1673" name="Freeform: Shape 672"/>
            <p:cNvSpPr/>
            <p:nvPr/>
          </p:nvSpPr>
          <p:spPr>
            <a:xfrm>
              <a:off x="5906244" y="1181235"/>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674" name="Freeform: Shape 673"/>
            <p:cNvSpPr/>
            <p:nvPr/>
          </p:nvSpPr>
          <p:spPr>
            <a:xfrm>
              <a:off x="5759036" y="1276684"/>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76"/>
                    <a:pt x="5481" y="1294"/>
                    <a:pt x="5481" y="2740"/>
                  </a:cubicBezTo>
                </a:path>
              </a:pathLst>
            </a:custGeom>
            <a:grpFill/>
            <a:ln w="7608" cap="flat">
              <a:noFill/>
              <a:prstDash val="solid"/>
              <a:miter/>
            </a:ln>
          </p:spPr>
          <p:txBody>
            <a:bodyPr rtlCol="0" anchor="ctr"/>
            <a:lstStyle/>
            <a:p>
              <a:endParaRPr lang="hi-IN"/>
            </a:p>
          </p:txBody>
        </p:sp>
        <p:sp>
          <p:nvSpPr>
            <p:cNvPr id="1675" name="Freeform: Shape 674"/>
            <p:cNvSpPr/>
            <p:nvPr/>
          </p:nvSpPr>
          <p:spPr>
            <a:xfrm>
              <a:off x="11098914" y="6524462"/>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099" y="6546"/>
                    <a:pt x="3272" y="6546"/>
                  </a:cubicBezTo>
                  <a:cubicBezTo>
                    <a:pt x="1446" y="6546"/>
                    <a:pt x="0" y="5100"/>
                    <a:pt x="0" y="3273"/>
                  </a:cubicBezTo>
                  <a:cubicBezTo>
                    <a:pt x="0" y="1446"/>
                    <a:pt x="1446" y="0"/>
                    <a:pt x="3272" y="0"/>
                  </a:cubicBezTo>
                  <a:cubicBezTo>
                    <a:pt x="5099" y="0"/>
                    <a:pt x="6546" y="1446"/>
                    <a:pt x="6546" y="3273"/>
                  </a:cubicBezTo>
                </a:path>
              </a:pathLst>
            </a:custGeom>
            <a:grpFill/>
            <a:ln w="7608" cap="flat">
              <a:noFill/>
              <a:prstDash val="solid"/>
              <a:miter/>
            </a:ln>
          </p:spPr>
          <p:txBody>
            <a:bodyPr rtlCol="0" anchor="ctr"/>
            <a:lstStyle/>
            <a:p>
              <a:endParaRPr lang="hi-IN"/>
            </a:p>
          </p:txBody>
        </p:sp>
        <p:sp>
          <p:nvSpPr>
            <p:cNvPr id="1676" name="Freeform: Shape 675"/>
            <p:cNvSpPr/>
            <p:nvPr/>
          </p:nvSpPr>
          <p:spPr>
            <a:xfrm>
              <a:off x="11191927" y="6375123"/>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861" y="0"/>
                    <a:pt x="7612" y="1675"/>
                    <a:pt x="7612" y="3806"/>
                  </a:cubicBezTo>
                </a:path>
              </a:pathLst>
            </a:custGeom>
            <a:grpFill/>
            <a:ln w="7608" cap="flat">
              <a:noFill/>
              <a:prstDash val="solid"/>
              <a:miter/>
            </a:ln>
          </p:spPr>
          <p:txBody>
            <a:bodyPr rtlCol="0" anchor="ctr"/>
            <a:lstStyle/>
            <a:p>
              <a:endParaRPr lang="hi-IN"/>
            </a:p>
          </p:txBody>
        </p:sp>
        <p:sp>
          <p:nvSpPr>
            <p:cNvPr id="1677" name="Freeform: Shape 676"/>
            <p:cNvSpPr/>
            <p:nvPr/>
          </p:nvSpPr>
          <p:spPr>
            <a:xfrm>
              <a:off x="11277100" y="6220609"/>
              <a:ext cx="10808" cy="10808"/>
            </a:xfrm>
            <a:custGeom>
              <a:avLst/>
              <a:gdLst>
                <a:gd name="connsiteX0" fmla="*/ 10809 w 10808"/>
                <a:gd name="connsiteY0" fmla="*/ 5404 h 10808"/>
                <a:gd name="connsiteX1" fmla="*/ 5405 w 10808"/>
                <a:gd name="connsiteY1" fmla="*/ 10808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5" y="10808"/>
                  </a:cubicBezTo>
                  <a:cubicBezTo>
                    <a:pt x="2436" y="10808"/>
                    <a:pt x="0" y="8373"/>
                    <a:pt x="0" y="5404"/>
                  </a:cubicBezTo>
                  <a:cubicBezTo>
                    <a:pt x="0" y="2436"/>
                    <a:pt x="2436" y="0"/>
                    <a:pt x="5405"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678" name="Freeform: Shape 677"/>
            <p:cNvSpPr/>
            <p:nvPr/>
          </p:nvSpPr>
          <p:spPr>
            <a:xfrm>
              <a:off x="11355652" y="6062898"/>
              <a:ext cx="13091" cy="13092"/>
            </a:xfrm>
            <a:custGeom>
              <a:avLst/>
              <a:gdLst>
                <a:gd name="connsiteX0" fmla="*/ 13092 w 13091"/>
                <a:gd name="connsiteY0" fmla="*/ 6546 h 13092"/>
                <a:gd name="connsiteX1" fmla="*/ 6546 w 13091"/>
                <a:gd name="connsiteY1" fmla="*/ 13092 h 13092"/>
                <a:gd name="connsiteX2" fmla="*/ 0 w 13091"/>
                <a:gd name="connsiteY2" fmla="*/ 6546 h 13092"/>
                <a:gd name="connsiteX3" fmla="*/ 6546 w 13091"/>
                <a:gd name="connsiteY3" fmla="*/ 0 h 13092"/>
                <a:gd name="connsiteX4" fmla="*/ 13092 w 13091"/>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2">
                  <a:moveTo>
                    <a:pt x="13092" y="6546"/>
                  </a:moveTo>
                  <a:cubicBezTo>
                    <a:pt x="13092" y="10123"/>
                    <a:pt x="10199" y="13092"/>
                    <a:pt x="6546" y="13092"/>
                  </a:cubicBezTo>
                  <a:cubicBezTo>
                    <a:pt x="2892" y="13092"/>
                    <a:pt x="0" y="10200"/>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679" name="Freeform: Shape 678"/>
            <p:cNvSpPr/>
            <p:nvPr/>
          </p:nvSpPr>
          <p:spPr>
            <a:xfrm>
              <a:off x="11427276" y="5901838"/>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797" y="0"/>
                    <a:pt x="15223" y="3349"/>
                    <a:pt x="15223" y="7612"/>
                  </a:cubicBezTo>
                </a:path>
              </a:pathLst>
            </a:custGeom>
            <a:grpFill/>
            <a:ln w="7608" cap="flat">
              <a:noFill/>
              <a:prstDash val="solid"/>
              <a:miter/>
            </a:ln>
          </p:spPr>
          <p:txBody>
            <a:bodyPr rtlCol="0" anchor="ctr"/>
            <a:lstStyle/>
            <a:p>
              <a:endParaRPr lang="hi-IN"/>
            </a:p>
          </p:txBody>
        </p:sp>
        <p:sp>
          <p:nvSpPr>
            <p:cNvPr id="1680" name="Freeform: Shape 679"/>
            <p:cNvSpPr/>
            <p:nvPr/>
          </p:nvSpPr>
          <p:spPr>
            <a:xfrm>
              <a:off x="11491213" y="5737047"/>
              <a:ext cx="18420" cy="18420"/>
            </a:xfrm>
            <a:custGeom>
              <a:avLst/>
              <a:gdLst>
                <a:gd name="connsiteX0" fmla="*/ 18420 w 18420"/>
                <a:gd name="connsiteY0" fmla="*/ 9210 h 18420"/>
                <a:gd name="connsiteX1" fmla="*/ 9211 w 18420"/>
                <a:gd name="connsiteY1" fmla="*/ 18420 h 18420"/>
                <a:gd name="connsiteX2" fmla="*/ 0 w 18420"/>
                <a:gd name="connsiteY2" fmla="*/ 9210 h 18420"/>
                <a:gd name="connsiteX3" fmla="*/ 9211 w 18420"/>
                <a:gd name="connsiteY3" fmla="*/ 0 h 18420"/>
                <a:gd name="connsiteX4" fmla="*/ 18420 w 18420"/>
                <a:gd name="connsiteY4" fmla="*/ 921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0">
                  <a:moveTo>
                    <a:pt x="18420" y="9210"/>
                  </a:moveTo>
                  <a:cubicBezTo>
                    <a:pt x="18420" y="14310"/>
                    <a:pt x="14310" y="18420"/>
                    <a:pt x="9211" y="18420"/>
                  </a:cubicBezTo>
                  <a:cubicBezTo>
                    <a:pt x="4111" y="18420"/>
                    <a:pt x="0" y="14310"/>
                    <a:pt x="0" y="9210"/>
                  </a:cubicBezTo>
                  <a:cubicBezTo>
                    <a:pt x="0" y="4111"/>
                    <a:pt x="4111" y="0"/>
                    <a:pt x="9211" y="0"/>
                  </a:cubicBezTo>
                  <a:cubicBezTo>
                    <a:pt x="14234" y="0"/>
                    <a:pt x="18420" y="4111"/>
                    <a:pt x="18420" y="9210"/>
                  </a:cubicBezTo>
                </a:path>
              </a:pathLst>
            </a:custGeom>
            <a:grpFill/>
            <a:ln w="7608" cap="flat">
              <a:noFill/>
              <a:prstDash val="solid"/>
              <a:miter/>
            </a:ln>
          </p:spPr>
          <p:txBody>
            <a:bodyPr rtlCol="0" anchor="ctr"/>
            <a:lstStyle/>
            <a:p>
              <a:endParaRPr lang="hi-IN"/>
            </a:p>
          </p:txBody>
        </p:sp>
        <p:sp>
          <p:nvSpPr>
            <p:cNvPr id="1681" name="Freeform: Shape 680"/>
            <p:cNvSpPr/>
            <p:nvPr/>
          </p:nvSpPr>
          <p:spPr>
            <a:xfrm>
              <a:off x="11547538" y="5569517"/>
              <a:ext cx="21768" cy="21769"/>
            </a:xfrm>
            <a:custGeom>
              <a:avLst/>
              <a:gdLst>
                <a:gd name="connsiteX0" fmla="*/ 21769 w 21768"/>
                <a:gd name="connsiteY0" fmla="*/ 10885 h 21769"/>
                <a:gd name="connsiteX1" fmla="*/ 10885 w 21768"/>
                <a:gd name="connsiteY1" fmla="*/ 21769 h 21769"/>
                <a:gd name="connsiteX2" fmla="*/ 0 w 21768"/>
                <a:gd name="connsiteY2" fmla="*/ 10885 h 21769"/>
                <a:gd name="connsiteX3" fmla="*/ 10885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5" y="21769"/>
                  </a:cubicBezTo>
                  <a:cubicBezTo>
                    <a:pt x="4871" y="21769"/>
                    <a:pt x="0" y="16898"/>
                    <a:pt x="0" y="10885"/>
                  </a:cubicBezTo>
                  <a:cubicBezTo>
                    <a:pt x="0" y="4871"/>
                    <a:pt x="4871" y="0"/>
                    <a:pt x="10885"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682" name="Freeform: Shape 681"/>
            <p:cNvSpPr/>
            <p:nvPr/>
          </p:nvSpPr>
          <p:spPr>
            <a:xfrm>
              <a:off x="11595948" y="5399019"/>
              <a:ext cx="26031" cy="26031"/>
            </a:xfrm>
            <a:custGeom>
              <a:avLst/>
              <a:gdLst>
                <a:gd name="connsiteX0" fmla="*/ 26032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170"/>
                    <a:pt x="20171" y="26031"/>
                    <a:pt x="13016" y="26031"/>
                  </a:cubicBezTo>
                  <a:cubicBezTo>
                    <a:pt x="5785" y="26031"/>
                    <a:pt x="0" y="20170"/>
                    <a:pt x="0" y="13016"/>
                  </a:cubicBezTo>
                  <a:cubicBezTo>
                    <a:pt x="0" y="5785"/>
                    <a:pt x="5861" y="0"/>
                    <a:pt x="13016" y="0"/>
                  </a:cubicBezTo>
                  <a:cubicBezTo>
                    <a:pt x="20247" y="0"/>
                    <a:pt x="26032" y="5861"/>
                    <a:pt x="26032" y="13016"/>
                  </a:cubicBezTo>
                </a:path>
              </a:pathLst>
            </a:custGeom>
            <a:grpFill/>
            <a:ln w="7608" cap="flat">
              <a:noFill/>
              <a:prstDash val="solid"/>
              <a:miter/>
            </a:ln>
          </p:spPr>
          <p:txBody>
            <a:bodyPr rtlCol="0" anchor="ctr"/>
            <a:lstStyle/>
            <a:p>
              <a:endParaRPr lang="hi-IN"/>
            </a:p>
          </p:txBody>
        </p:sp>
        <p:sp>
          <p:nvSpPr>
            <p:cNvPr id="1683" name="Freeform: Shape 682"/>
            <p:cNvSpPr/>
            <p:nvPr/>
          </p:nvSpPr>
          <p:spPr>
            <a:xfrm>
              <a:off x="11637202" y="5226922"/>
              <a:ext cx="29380" cy="29380"/>
            </a:xfrm>
            <a:custGeom>
              <a:avLst/>
              <a:gdLst>
                <a:gd name="connsiteX0" fmla="*/ 29380 w 29380"/>
                <a:gd name="connsiteY0" fmla="*/ 14690 h 29380"/>
                <a:gd name="connsiteX1" fmla="*/ 14691 w 29380"/>
                <a:gd name="connsiteY1" fmla="*/ 29380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0"/>
                    <a:pt x="14691" y="29380"/>
                  </a:cubicBezTo>
                  <a:cubicBezTo>
                    <a:pt x="6622" y="29380"/>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684" name="Freeform: Shape 683"/>
            <p:cNvSpPr/>
            <p:nvPr/>
          </p:nvSpPr>
          <p:spPr>
            <a:xfrm>
              <a:off x="11670846" y="5053151"/>
              <a:ext cx="32576" cy="32577"/>
            </a:xfrm>
            <a:custGeom>
              <a:avLst/>
              <a:gdLst>
                <a:gd name="connsiteX0" fmla="*/ 32577 w 32576"/>
                <a:gd name="connsiteY0" fmla="*/ 16289 h 32577"/>
                <a:gd name="connsiteX1" fmla="*/ 16289 w 32576"/>
                <a:gd name="connsiteY1" fmla="*/ 32577 h 32577"/>
                <a:gd name="connsiteX2" fmla="*/ 0 w 32576"/>
                <a:gd name="connsiteY2" fmla="*/ 16289 h 32577"/>
                <a:gd name="connsiteX3" fmla="*/ 16289 w 32576"/>
                <a:gd name="connsiteY3" fmla="*/ 0 h 32577"/>
                <a:gd name="connsiteX4" fmla="*/ 32577 w 32576"/>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6" h="32577">
                  <a:moveTo>
                    <a:pt x="32577" y="16289"/>
                  </a:moveTo>
                  <a:cubicBezTo>
                    <a:pt x="32577" y="25270"/>
                    <a:pt x="25270" y="32577"/>
                    <a:pt x="16289" y="32577"/>
                  </a:cubicBezTo>
                  <a:cubicBezTo>
                    <a:pt x="7307" y="32577"/>
                    <a:pt x="0" y="25270"/>
                    <a:pt x="0" y="16289"/>
                  </a:cubicBezTo>
                  <a:cubicBezTo>
                    <a:pt x="0" y="7307"/>
                    <a:pt x="7307" y="0"/>
                    <a:pt x="16289" y="0"/>
                  </a:cubicBezTo>
                  <a:cubicBezTo>
                    <a:pt x="25346" y="0"/>
                    <a:pt x="32577" y="7307"/>
                    <a:pt x="32577" y="16289"/>
                  </a:cubicBezTo>
                </a:path>
              </a:pathLst>
            </a:custGeom>
            <a:grpFill/>
            <a:ln w="7608" cap="flat">
              <a:noFill/>
              <a:prstDash val="solid"/>
              <a:miter/>
            </a:ln>
          </p:spPr>
          <p:txBody>
            <a:bodyPr rtlCol="0" anchor="ctr"/>
            <a:lstStyle/>
            <a:p>
              <a:endParaRPr lang="hi-IN"/>
            </a:p>
          </p:txBody>
        </p:sp>
        <p:sp>
          <p:nvSpPr>
            <p:cNvPr id="1685" name="Freeform: Shape 684"/>
            <p:cNvSpPr/>
            <p:nvPr/>
          </p:nvSpPr>
          <p:spPr>
            <a:xfrm>
              <a:off x="11696116" y="4877324"/>
              <a:ext cx="36991" cy="36991"/>
            </a:xfrm>
            <a:custGeom>
              <a:avLst/>
              <a:gdLst>
                <a:gd name="connsiteX0" fmla="*/ 36992 w 36991"/>
                <a:gd name="connsiteY0" fmla="*/ 18496 h 36991"/>
                <a:gd name="connsiteX1" fmla="*/ 18496 w 36991"/>
                <a:gd name="connsiteY1" fmla="*/ 36992 h 36991"/>
                <a:gd name="connsiteX2" fmla="*/ 0 w 36991"/>
                <a:gd name="connsiteY2" fmla="*/ 18496 h 36991"/>
                <a:gd name="connsiteX3" fmla="*/ 18496 w 36991"/>
                <a:gd name="connsiteY3" fmla="*/ 0 h 36991"/>
                <a:gd name="connsiteX4" fmla="*/ 36992 w 36991"/>
                <a:gd name="connsiteY4" fmla="*/ 18496 h 36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1">
                  <a:moveTo>
                    <a:pt x="36992" y="18496"/>
                  </a:moveTo>
                  <a:cubicBezTo>
                    <a:pt x="36992" y="28695"/>
                    <a:pt x="28696" y="36992"/>
                    <a:pt x="18496" y="36992"/>
                  </a:cubicBezTo>
                  <a:cubicBezTo>
                    <a:pt x="8296" y="36992"/>
                    <a:pt x="0" y="28695"/>
                    <a:pt x="0" y="18496"/>
                  </a:cubicBezTo>
                  <a:cubicBezTo>
                    <a:pt x="0" y="8296"/>
                    <a:pt x="8296" y="0"/>
                    <a:pt x="18496" y="0"/>
                  </a:cubicBezTo>
                  <a:cubicBezTo>
                    <a:pt x="28772" y="76"/>
                    <a:pt x="36992" y="8296"/>
                    <a:pt x="36992" y="18496"/>
                  </a:cubicBezTo>
                </a:path>
              </a:pathLst>
            </a:custGeom>
            <a:grpFill/>
            <a:ln w="7608" cap="flat">
              <a:noFill/>
              <a:prstDash val="solid"/>
              <a:miter/>
            </a:ln>
          </p:spPr>
          <p:txBody>
            <a:bodyPr rtlCol="0" anchor="ctr"/>
            <a:lstStyle/>
            <a:p>
              <a:endParaRPr lang="hi-IN"/>
            </a:p>
          </p:txBody>
        </p:sp>
        <p:sp>
          <p:nvSpPr>
            <p:cNvPr id="1686" name="Freeform: Shape 685"/>
            <p:cNvSpPr/>
            <p:nvPr/>
          </p:nvSpPr>
          <p:spPr>
            <a:xfrm>
              <a:off x="11713699" y="4700583"/>
              <a:ext cx="41253" cy="41254"/>
            </a:xfrm>
            <a:custGeom>
              <a:avLst/>
              <a:gdLst>
                <a:gd name="connsiteX0" fmla="*/ 41254 w 41253"/>
                <a:gd name="connsiteY0" fmla="*/ 20628 h 41254"/>
                <a:gd name="connsiteX1" fmla="*/ 20627 w 41253"/>
                <a:gd name="connsiteY1" fmla="*/ 41255 h 41254"/>
                <a:gd name="connsiteX2" fmla="*/ 0 w 41253"/>
                <a:gd name="connsiteY2" fmla="*/ 20628 h 41254"/>
                <a:gd name="connsiteX3" fmla="*/ 20627 w 41253"/>
                <a:gd name="connsiteY3" fmla="*/ 0 h 41254"/>
                <a:gd name="connsiteX4" fmla="*/ 41254 w 41253"/>
                <a:gd name="connsiteY4" fmla="*/ 20628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3" h="41254">
                  <a:moveTo>
                    <a:pt x="41254" y="20628"/>
                  </a:moveTo>
                  <a:cubicBezTo>
                    <a:pt x="41254" y="32045"/>
                    <a:pt x="32044" y="41255"/>
                    <a:pt x="20627" y="41255"/>
                  </a:cubicBezTo>
                  <a:cubicBezTo>
                    <a:pt x="9210" y="41255"/>
                    <a:pt x="0" y="32045"/>
                    <a:pt x="0" y="20628"/>
                  </a:cubicBezTo>
                  <a:cubicBezTo>
                    <a:pt x="0" y="9211"/>
                    <a:pt x="9210" y="0"/>
                    <a:pt x="20627" y="0"/>
                  </a:cubicBezTo>
                  <a:cubicBezTo>
                    <a:pt x="32044" y="-76"/>
                    <a:pt x="41254" y="9211"/>
                    <a:pt x="41254" y="20628"/>
                  </a:cubicBezTo>
                </a:path>
              </a:pathLst>
            </a:custGeom>
            <a:grpFill/>
            <a:ln w="7608" cap="flat">
              <a:noFill/>
              <a:prstDash val="solid"/>
              <a:miter/>
            </a:ln>
          </p:spPr>
          <p:txBody>
            <a:bodyPr rtlCol="0" anchor="ctr"/>
            <a:lstStyle/>
            <a:p>
              <a:endParaRPr lang="hi-IN"/>
            </a:p>
          </p:txBody>
        </p:sp>
        <p:sp>
          <p:nvSpPr>
            <p:cNvPr id="1687" name="Freeform: Shape 686"/>
            <p:cNvSpPr/>
            <p:nvPr/>
          </p:nvSpPr>
          <p:spPr>
            <a:xfrm>
              <a:off x="11723289" y="4523006"/>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69" y="45669"/>
                    <a:pt x="22835" y="45669"/>
                  </a:cubicBezTo>
                  <a:cubicBezTo>
                    <a:pt x="10199" y="45669"/>
                    <a:pt x="0" y="35470"/>
                    <a:pt x="0" y="22835"/>
                  </a:cubicBezTo>
                  <a:cubicBezTo>
                    <a:pt x="0" y="10200"/>
                    <a:pt x="10199" y="0"/>
                    <a:pt x="22835" y="0"/>
                  </a:cubicBezTo>
                  <a:cubicBezTo>
                    <a:pt x="35469" y="0"/>
                    <a:pt x="45669" y="10200"/>
                    <a:pt x="45669" y="22835"/>
                  </a:cubicBezTo>
                </a:path>
              </a:pathLst>
            </a:custGeom>
            <a:grpFill/>
            <a:ln w="7608" cap="flat">
              <a:noFill/>
              <a:prstDash val="solid"/>
              <a:miter/>
            </a:ln>
          </p:spPr>
          <p:txBody>
            <a:bodyPr rtlCol="0" anchor="ctr"/>
            <a:lstStyle/>
            <a:p>
              <a:endParaRPr lang="hi-IN"/>
            </a:p>
          </p:txBody>
        </p:sp>
        <p:sp>
          <p:nvSpPr>
            <p:cNvPr id="1688" name="Freeform: Shape 687"/>
            <p:cNvSpPr/>
            <p:nvPr/>
          </p:nvSpPr>
          <p:spPr>
            <a:xfrm>
              <a:off x="11725649" y="4345658"/>
              <a:ext cx="48866" cy="48865"/>
            </a:xfrm>
            <a:custGeom>
              <a:avLst/>
              <a:gdLst>
                <a:gd name="connsiteX0" fmla="*/ 48866 w 48866"/>
                <a:gd name="connsiteY0" fmla="*/ 24433 h 48865"/>
                <a:gd name="connsiteX1" fmla="*/ 24433 w 48866"/>
                <a:gd name="connsiteY1" fmla="*/ 48866 h 48865"/>
                <a:gd name="connsiteX2" fmla="*/ 0 w 48866"/>
                <a:gd name="connsiteY2" fmla="*/ 24433 h 48865"/>
                <a:gd name="connsiteX3" fmla="*/ 24433 w 48866"/>
                <a:gd name="connsiteY3" fmla="*/ 0 h 48865"/>
                <a:gd name="connsiteX4" fmla="*/ 48866 w 48866"/>
                <a:gd name="connsiteY4" fmla="*/ 24433 h 4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5">
                  <a:moveTo>
                    <a:pt x="48866" y="24433"/>
                  </a:moveTo>
                  <a:cubicBezTo>
                    <a:pt x="48866" y="37905"/>
                    <a:pt x="37905" y="48866"/>
                    <a:pt x="24433" y="48866"/>
                  </a:cubicBezTo>
                  <a:cubicBezTo>
                    <a:pt x="10961" y="48866"/>
                    <a:pt x="0" y="37905"/>
                    <a:pt x="0" y="24433"/>
                  </a:cubicBezTo>
                  <a:cubicBezTo>
                    <a:pt x="0" y="10961"/>
                    <a:pt x="10961"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689" name="Freeform: Shape 688"/>
            <p:cNvSpPr/>
            <p:nvPr/>
          </p:nvSpPr>
          <p:spPr>
            <a:xfrm>
              <a:off x="11719484" y="4167776"/>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6" y="53281"/>
                    <a:pt x="26640" y="53281"/>
                  </a:cubicBezTo>
                  <a:cubicBezTo>
                    <a:pt x="11950" y="53281"/>
                    <a:pt x="0" y="41407"/>
                    <a:pt x="0" y="26640"/>
                  </a:cubicBezTo>
                  <a:cubicBezTo>
                    <a:pt x="0" y="11874"/>
                    <a:pt x="11950" y="0"/>
                    <a:pt x="26640" y="0"/>
                  </a:cubicBezTo>
                  <a:cubicBezTo>
                    <a:pt x="41406" y="0"/>
                    <a:pt x="53281" y="11950"/>
                    <a:pt x="53281" y="26640"/>
                  </a:cubicBezTo>
                </a:path>
              </a:pathLst>
            </a:custGeom>
            <a:grpFill/>
            <a:ln w="7608" cap="flat">
              <a:noFill/>
              <a:prstDash val="solid"/>
              <a:miter/>
            </a:ln>
          </p:spPr>
          <p:txBody>
            <a:bodyPr rtlCol="0" anchor="ctr"/>
            <a:lstStyle/>
            <a:p>
              <a:endParaRPr lang="hi-IN"/>
            </a:p>
          </p:txBody>
        </p:sp>
        <p:sp>
          <p:nvSpPr>
            <p:cNvPr id="1690" name="Freeform: Shape 689"/>
            <p:cNvSpPr/>
            <p:nvPr/>
          </p:nvSpPr>
          <p:spPr>
            <a:xfrm>
              <a:off x="11705554" y="3990275"/>
              <a:ext cx="57543" cy="57543"/>
            </a:xfrm>
            <a:custGeom>
              <a:avLst/>
              <a:gdLst>
                <a:gd name="connsiteX0" fmla="*/ 57544 w 57543"/>
                <a:gd name="connsiteY0" fmla="*/ 28772 h 57543"/>
                <a:gd name="connsiteX1" fmla="*/ 28772 w 57543"/>
                <a:gd name="connsiteY1" fmla="*/ 57543 h 57543"/>
                <a:gd name="connsiteX2" fmla="*/ 0 w 57543"/>
                <a:gd name="connsiteY2" fmla="*/ 28772 h 57543"/>
                <a:gd name="connsiteX3" fmla="*/ 28772 w 57543"/>
                <a:gd name="connsiteY3" fmla="*/ 0 h 57543"/>
                <a:gd name="connsiteX4" fmla="*/ 57544 w 57543"/>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3" h="57543">
                  <a:moveTo>
                    <a:pt x="57544" y="28772"/>
                  </a:moveTo>
                  <a:cubicBezTo>
                    <a:pt x="57544" y="44680"/>
                    <a:pt x="44680" y="57543"/>
                    <a:pt x="28772" y="57543"/>
                  </a:cubicBezTo>
                  <a:cubicBezTo>
                    <a:pt x="12864" y="57543"/>
                    <a:pt x="0" y="44680"/>
                    <a:pt x="0" y="28772"/>
                  </a:cubicBezTo>
                  <a:cubicBezTo>
                    <a:pt x="0" y="12864"/>
                    <a:pt x="12864" y="0"/>
                    <a:pt x="28772" y="0"/>
                  </a:cubicBezTo>
                  <a:cubicBezTo>
                    <a:pt x="44680" y="0"/>
                    <a:pt x="57544" y="12864"/>
                    <a:pt x="57544" y="28772"/>
                  </a:cubicBezTo>
                </a:path>
              </a:pathLst>
            </a:custGeom>
            <a:grpFill/>
            <a:ln w="7608" cap="flat">
              <a:noFill/>
              <a:prstDash val="solid"/>
              <a:miter/>
            </a:ln>
          </p:spPr>
          <p:txBody>
            <a:bodyPr rtlCol="0" anchor="ctr"/>
            <a:lstStyle/>
            <a:p>
              <a:endParaRPr lang="hi-IN"/>
            </a:p>
          </p:txBody>
        </p:sp>
        <p:sp>
          <p:nvSpPr>
            <p:cNvPr id="1691" name="Freeform: Shape 690"/>
            <p:cNvSpPr/>
            <p:nvPr/>
          </p:nvSpPr>
          <p:spPr>
            <a:xfrm>
              <a:off x="11683633" y="3813382"/>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692" name="Freeform: Shape 691"/>
            <p:cNvSpPr/>
            <p:nvPr/>
          </p:nvSpPr>
          <p:spPr>
            <a:xfrm>
              <a:off x="11654557" y="3638165"/>
              <a:ext cx="65154" cy="65154"/>
            </a:xfrm>
            <a:custGeom>
              <a:avLst/>
              <a:gdLst>
                <a:gd name="connsiteX0" fmla="*/ 65154 w 65154"/>
                <a:gd name="connsiteY0" fmla="*/ 32577 h 65154"/>
                <a:gd name="connsiteX1" fmla="*/ 32578 w 65154"/>
                <a:gd name="connsiteY1" fmla="*/ 65155 h 65154"/>
                <a:gd name="connsiteX2" fmla="*/ 0 w 65154"/>
                <a:gd name="connsiteY2" fmla="*/ 32577 h 65154"/>
                <a:gd name="connsiteX3" fmla="*/ 32578 w 65154"/>
                <a:gd name="connsiteY3" fmla="*/ 0 h 65154"/>
                <a:gd name="connsiteX4" fmla="*/ 65154 w 65154"/>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4" h="65154">
                  <a:moveTo>
                    <a:pt x="65154" y="32577"/>
                  </a:moveTo>
                  <a:cubicBezTo>
                    <a:pt x="65154" y="50541"/>
                    <a:pt x="50541" y="65155"/>
                    <a:pt x="32578" y="65155"/>
                  </a:cubicBezTo>
                  <a:cubicBezTo>
                    <a:pt x="14614" y="65155"/>
                    <a:pt x="0" y="50541"/>
                    <a:pt x="0" y="32577"/>
                  </a:cubicBezTo>
                  <a:cubicBezTo>
                    <a:pt x="0" y="14614"/>
                    <a:pt x="14614" y="0"/>
                    <a:pt x="32578" y="0"/>
                  </a:cubicBezTo>
                  <a:cubicBezTo>
                    <a:pt x="50617" y="0"/>
                    <a:pt x="65154" y="14614"/>
                    <a:pt x="65154" y="32577"/>
                  </a:cubicBezTo>
                </a:path>
              </a:pathLst>
            </a:custGeom>
            <a:grpFill/>
            <a:ln w="7608" cap="flat">
              <a:noFill/>
              <a:prstDash val="solid"/>
              <a:miter/>
            </a:ln>
          </p:spPr>
          <p:txBody>
            <a:bodyPr rtlCol="0" anchor="ctr"/>
            <a:lstStyle/>
            <a:p>
              <a:endParaRPr lang="hi-IN"/>
            </a:p>
          </p:txBody>
        </p:sp>
        <p:sp>
          <p:nvSpPr>
            <p:cNvPr id="1693" name="Freeform: Shape 692"/>
            <p:cNvSpPr/>
            <p:nvPr/>
          </p:nvSpPr>
          <p:spPr>
            <a:xfrm>
              <a:off x="11617108" y="3463784"/>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3966" y="0"/>
                    <a:pt x="69570" y="15604"/>
                    <a:pt x="69570" y="34785"/>
                  </a:cubicBezTo>
                </a:path>
              </a:pathLst>
            </a:custGeom>
            <a:grpFill/>
            <a:ln w="7608" cap="flat">
              <a:noFill/>
              <a:prstDash val="solid"/>
              <a:miter/>
            </a:ln>
          </p:spPr>
          <p:txBody>
            <a:bodyPr rtlCol="0" anchor="ctr"/>
            <a:lstStyle/>
            <a:p>
              <a:endParaRPr lang="hi-IN"/>
            </a:p>
          </p:txBody>
        </p:sp>
        <p:sp>
          <p:nvSpPr>
            <p:cNvPr id="1694" name="Freeform: Shape 693"/>
            <p:cNvSpPr/>
            <p:nvPr/>
          </p:nvSpPr>
          <p:spPr>
            <a:xfrm>
              <a:off x="11572047" y="3291231"/>
              <a:ext cx="73832" cy="73832"/>
            </a:xfrm>
            <a:custGeom>
              <a:avLst/>
              <a:gdLst>
                <a:gd name="connsiteX0" fmla="*/ 73833 w 73832"/>
                <a:gd name="connsiteY0" fmla="*/ 36916 h 73832"/>
                <a:gd name="connsiteX1" fmla="*/ 36917 w 73832"/>
                <a:gd name="connsiteY1" fmla="*/ 73832 h 73832"/>
                <a:gd name="connsiteX2" fmla="*/ 0 w 73832"/>
                <a:gd name="connsiteY2" fmla="*/ 36916 h 73832"/>
                <a:gd name="connsiteX3" fmla="*/ 36917 w 73832"/>
                <a:gd name="connsiteY3" fmla="*/ 0 h 73832"/>
                <a:gd name="connsiteX4" fmla="*/ 73833 w 73832"/>
                <a:gd name="connsiteY4" fmla="*/ 36916 h 73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2" h="73832">
                  <a:moveTo>
                    <a:pt x="73833" y="36916"/>
                  </a:moveTo>
                  <a:cubicBezTo>
                    <a:pt x="73833" y="57315"/>
                    <a:pt x="57315" y="73832"/>
                    <a:pt x="36917" y="73832"/>
                  </a:cubicBezTo>
                  <a:cubicBezTo>
                    <a:pt x="16517" y="73832"/>
                    <a:pt x="0" y="57315"/>
                    <a:pt x="0" y="36916"/>
                  </a:cubicBezTo>
                  <a:cubicBezTo>
                    <a:pt x="0" y="16517"/>
                    <a:pt x="16517" y="0"/>
                    <a:pt x="36917" y="0"/>
                  </a:cubicBezTo>
                  <a:cubicBezTo>
                    <a:pt x="57315" y="0"/>
                    <a:pt x="73833" y="16517"/>
                    <a:pt x="73833" y="36916"/>
                  </a:cubicBezTo>
                </a:path>
              </a:pathLst>
            </a:custGeom>
            <a:grpFill/>
            <a:ln w="7608" cap="flat">
              <a:noFill/>
              <a:prstDash val="solid"/>
              <a:miter/>
            </a:ln>
          </p:spPr>
          <p:txBody>
            <a:bodyPr rtlCol="0" anchor="ctr"/>
            <a:lstStyle/>
            <a:p>
              <a:endParaRPr lang="hi-IN"/>
            </a:p>
          </p:txBody>
        </p:sp>
        <p:sp>
          <p:nvSpPr>
            <p:cNvPr id="1695" name="Freeform: Shape 694"/>
            <p:cNvSpPr/>
            <p:nvPr/>
          </p:nvSpPr>
          <p:spPr>
            <a:xfrm>
              <a:off x="11519756" y="3121189"/>
              <a:ext cx="77181" cy="77104"/>
            </a:xfrm>
            <a:custGeom>
              <a:avLst/>
              <a:gdLst>
                <a:gd name="connsiteX0" fmla="*/ 77181 w 77181"/>
                <a:gd name="connsiteY0" fmla="*/ 38591 h 77104"/>
                <a:gd name="connsiteX1" fmla="*/ 38591 w 77181"/>
                <a:gd name="connsiteY1" fmla="*/ 77105 h 77104"/>
                <a:gd name="connsiteX2" fmla="*/ 0 w 77181"/>
                <a:gd name="connsiteY2" fmla="*/ 38591 h 77104"/>
                <a:gd name="connsiteX3" fmla="*/ 38591 w 77181"/>
                <a:gd name="connsiteY3" fmla="*/ 0 h 77104"/>
                <a:gd name="connsiteX4" fmla="*/ 77181 w 77181"/>
                <a:gd name="connsiteY4" fmla="*/ 38591 h 77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81" h="77104">
                  <a:moveTo>
                    <a:pt x="77181" y="38591"/>
                  </a:moveTo>
                  <a:cubicBezTo>
                    <a:pt x="77181" y="59903"/>
                    <a:pt x="59903" y="77105"/>
                    <a:pt x="38591" y="77105"/>
                  </a:cubicBezTo>
                  <a:cubicBezTo>
                    <a:pt x="17278" y="77105"/>
                    <a:pt x="0" y="59827"/>
                    <a:pt x="0" y="38591"/>
                  </a:cubicBezTo>
                  <a:cubicBezTo>
                    <a:pt x="0" y="17278"/>
                    <a:pt x="17278" y="0"/>
                    <a:pt x="38591" y="0"/>
                  </a:cubicBezTo>
                  <a:cubicBezTo>
                    <a:pt x="59979" y="76"/>
                    <a:pt x="77181" y="17354"/>
                    <a:pt x="77181" y="38591"/>
                  </a:cubicBezTo>
                </a:path>
              </a:pathLst>
            </a:custGeom>
            <a:grpFill/>
            <a:ln w="7608" cap="flat">
              <a:noFill/>
              <a:prstDash val="solid"/>
              <a:miter/>
            </a:ln>
          </p:spPr>
          <p:txBody>
            <a:bodyPr rtlCol="0" anchor="ctr"/>
            <a:lstStyle/>
            <a:p>
              <a:endParaRPr lang="hi-IN"/>
            </a:p>
          </p:txBody>
        </p:sp>
        <p:sp>
          <p:nvSpPr>
            <p:cNvPr id="1696" name="Freeform: Shape 695"/>
            <p:cNvSpPr/>
            <p:nvPr/>
          </p:nvSpPr>
          <p:spPr>
            <a:xfrm>
              <a:off x="11460158" y="2953735"/>
              <a:ext cx="80378" cy="80377"/>
            </a:xfrm>
            <a:custGeom>
              <a:avLst/>
              <a:gdLst>
                <a:gd name="connsiteX0" fmla="*/ 80378 w 80378"/>
                <a:gd name="connsiteY0" fmla="*/ 40189 h 80377"/>
                <a:gd name="connsiteX1" fmla="*/ 40189 w 80378"/>
                <a:gd name="connsiteY1" fmla="*/ 80378 h 80377"/>
                <a:gd name="connsiteX2" fmla="*/ 0 w 80378"/>
                <a:gd name="connsiteY2" fmla="*/ 40189 h 80377"/>
                <a:gd name="connsiteX3" fmla="*/ 40189 w 80378"/>
                <a:gd name="connsiteY3" fmla="*/ 0 h 80377"/>
                <a:gd name="connsiteX4" fmla="*/ 80378 w 80378"/>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8" h="80377">
                  <a:moveTo>
                    <a:pt x="80378" y="40189"/>
                  </a:moveTo>
                  <a:cubicBezTo>
                    <a:pt x="80378" y="62415"/>
                    <a:pt x="62414" y="80378"/>
                    <a:pt x="40189" y="80378"/>
                  </a:cubicBezTo>
                  <a:cubicBezTo>
                    <a:pt x="17963" y="80378"/>
                    <a:pt x="0" y="62415"/>
                    <a:pt x="0" y="40189"/>
                  </a:cubicBezTo>
                  <a:cubicBezTo>
                    <a:pt x="0" y="17963"/>
                    <a:pt x="17963" y="0"/>
                    <a:pt x="40189" y="0"/>
                  </a:cubicBezTo>
                  <a:cubicBezTo>
                    <a:pt x="62414" y="0"/>
                    <a:pt x="80378" y="17963"/>
                    <a:pt x="80378" y="40189"/>
                  </a:cubicBezTo>
                </a:path>
              </a:pathLst>
            </a:custGeom>
            <a:grpFill/>
            <a:ln w="7608" cap="flat">
              <a:noFill/>
              <a:prstDash val="solid"/>
              <a:miter/>
            </a:ln>
          </p:spPr>
          <p:txBody>
            <a:bodyPr rtlCol="0" anchor="ctr"/>
            <a:lstStyle/>
            <a:p>
              <a:endParaRPr lang="hi-IN"/>
            </a:p>
          </p:txBody>
        </p:sp>
        <p:sp>
          <p:nvSpPr>
            <p:cNvPr id="1697" name="Freeform: Shape 696"/>
            <p:cNvSpPr/>
            <p:nvPr/>
          </p:nvSpPr>
          <p:spPr>
            <a:xfrm>
              <a:off x="11393709" y="2789554"/>
              <a:ext cx="82508" cy="82509"/>
            </a:xfrm>
            <a:custGeom>
              <a:avLst/>
              <a:gdLst>
                <a:gd name="connsiteX0" fmla="*/ 82509 w 82508"/>
                <a:gd name="connsiteY0" fmla="*/ 41255 h 82509"/>
                <a:gd name="connsiteX1" fmla="*/ 41255 w 82508"/>
                <a:gd name="connsiteY1" fmla="*/ 82509 h 82509"/>
                <a:gd name="connsiteX2" fmla="*/ 0 w 82508"/>
                <a:gd name="connsiteY2" fmla="*/ 41255 h 82509"/>
                <a:gd name="connsiteX3" fmla="*/ 41255 w 82508"/>
                <a:gd name="connsiteY3" fmla="*/ 0 h 82509"/>
                <a:gd name="connsiteX4" fmla="*/ 82509 w 82508"/>
                <a:gd name="connsiteY4" fmla="*/ 41255 h 82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08" h="82509">
                  <a:moveTo>
                    <a:pt x="82509" y="41255"/>
                  </a:moveTo>
                  <a:cubicBezTo>
                    <a:pt x="82509" y="64013"/>
                    <a:pt x="64013" y="82509"/>
                    <a:pt x="41255" y="82509"/>
                  </a:cubicBezTo>
                  <a:cubicBezTo>
                    <a:pt x="18420" y="82509"/>
                    <a:pt x="0" y="64013"/>
                    <a:pt x="0" y="41255"/>
                  </a:cubicBezTo>
                  <a:cubicBezTo>
                    <a:pt x="0" y="18496"/>
                    <a:pt x="18496" y="0"/>
                    <a:pt x="41255" y="0"/>
                  </a:cubicBezTo>
                  <a:cubicBezTo>
                    <a:pt x="64013" y="0"/>
                    <a:pt x="82509" y="18420"/>
                    <a:pt x="82509" y="41255"/>
                  </a:cubicBezTo>
                </a:path>
              </a:pathLst>
            </a:custGeom>
            <a:grpFill/>
            <a:ln w="7608" cap="flat">
              <a:noFill/>
              <a:prstDash val="solid"/>
              <a:miter/>
            </a:ln>
          </p:spPr>
          <p:txBody>
            <a:bodyPr rtlCol="0" anchor="ctr"/>
            <a:lstStyle/>
            <a:p>
              <a:endParaRPr lang="hi-IN"/>
            </a:p>
          </p:txBody>
        </p:sp>
        <p:sp>
          <p:nvSpPr>
            <p:cNvPr id="1698" name="Freeform: Shape 697"/>
            <p:cNvSpPr/>
            <p:nvPr/>
          </p:nvSpPr>
          <p:spPr>
            <a:xfrm>
              <a:off x="11319268" y="2627808"/>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257" y="85858"/>
                    <a:pt x="0" y="66677"/>
                    <a:pt x="0" y="42929"/>
                  </a:cubicBezTo>
                  <a:cubicBezTo>
                    <a:pt x="0" y="19257"/>
                    <a:pt x="19181" y="0"/>
                    <a:pt x="42929" y="0"/>
                  </a:cubicBezTo>
                  <a:cubicBezTo>
                    <a:pt x="66677" y="76"/>
                    <a:pt x="85858" y="19257"/>
                    <a:pt x="85858" y="42929"/>
                  </a:cubicBezTo>
                </a:path>
              </a:pathLst>
            </a:custGeom>
            <a:grpFill/>
            <a:ln w="7608" cap="flat">
              <a:noFill/>
              <a:prstDash val="solid"/>
              <a:miter/>
            </a:ln>
          </p:spPr>
          <p:txBody>
            <a:bodyPr rtlCol="0" anchor="ctr"/>
            <a:lstStyle/>
            <a:p>
              <a:endParaRPr lang="hi-IN"/>
            </a:p>
          </p:txBody>
        </p:sp>
        <p:sp>
          <p:nvSpPr>
            <p:cNvPr id="1699" name="Freeform: Shape 698"/>
            <p:cNvSpPr/>
            <p:nvPr/>
          </p:nvSpPr>
          <p:spPr>
            <a:xfrm>
              <a:off x="11238434" y="2470173"/>
              <a:ext cx="87989" cy="87989"/>
            </a:xfrm>
            <a:custGeom>
              <a:avLst/>
              <a:gdLst>
                <a:gd name="connsiteX0" fmla="*/ 87990 w 87989"/>
                <a:gd name="connsiteY0" fmla="*/ 43995 h 87989"/>
                <a:gd name="connsiteX1" fmla="*/ 43995 w 87989"/>
                <a:gd name="connsiteY1" fmla="*/ 87989 h 87989"/>
                <a:gd name="connsiteX2" fmla="*/ 0 w 87989"/>
                <a:gd name="connsiteY2" fmla="*/ 43995 h 87989"/>
                <a:gd name="connsiteX3" fmla="*/ 43995 w 87989"/>
                <a:gd name="connsiteY3" fmla="*/ 0 h 87989"/>
                <a:gd name="connsiteX4" fmla="*/ 87990 w 87989"/>
                <a:gd name="connsiteY4" fmla="*/ 43995 h 87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89" h="87989">
                  <a:moveTo>
                    <a:pt x="87990" y="43995"/>
                  </a:moveTo>
                  <a:cubicBezTo>
                    <a:pt x="87990" y="68276"/>
                    <a:pt x="68275" y="87989"/>
                    <a:pt x="43995" y="87989"/>
                  </a:cubicBezTo>
                  <a:cubicBezTo>
                    <a:pt x="19714" y="87989"/>
                    <a:pt x="0" y="68276"/>
                    <a:pt x="0" y="43995"/>
                  </a:cubicBezTo>
                  <a:cubicBezTo>
                    <a:pt x="0" y="19714"/>
                    <a:pt x="19714" y="0"/>
                    <a:pt x="43995" y="0"/>
                  </a:cubicBezTo>
                  <a:cubicBezTo>
                    <a:pt x="68275" y="0"/>
                    <a:pt x="87990" y="19714"/>
                    <a:pt x="87990" y="43995"/>
                  </a:cubicBezTo>
                </a:path>
              </a:pathLst>
            </a:custGeom>
            <a:grpFill/>
            <a:ln w="7608" cap="flat">
              <a:noFill/>
              <a:prstDash val="solid"/>
              <a:miter/>
            </a:ln>
          </p:spPr>
          <p:txBody>
            <a:bodyPr rtlCol="0" anchor="ctr"/>
            <a:lstStyle/>
            <a:p>
              <a:endParaRPr lang="hi-IN"/>
            </a:p>
          </p:txBody>
        </p:sp>
        <p:sp>
          <p:nvSpPr>
            <p:cNvPr id="1700" name="Freeform: Shape 699"/>
            <p:cNvSpPr/>
            <p:nvPr/>
          </p:nvSpPr>
          <p:spPr>
            <a:xfrm>
              <a:off x="11150672" y="2316192"/>
              <a:ext cx="90121" cy="90120"/>
            </a:xfrm>
            <a:custGeom>
              <a:avLst/>
              <a:gdLst>
                <a:gd name="connsiteX0" fmla="*/ 90121 w 90121"/>
                <a:gd name="connsiteY0" fmla="*/ 45060 h 90120"/>
                <a:gd name="connsiteX1" fmla="*/ 45061 w 90121"/>
                <a:gd name="connsiteY1" fmla="*/ 90121 h 90120"/>
                <a:gd name="connsiteX2" fmla="*/ 0 w 90121"/>
                <a:gd name="connsiteY2" fmla="*/ 45060 h 90120"/>
                <a:gd name="connsiteX3" fmla="*/ 45061 w 90121"/>
                <a:gd name="connsiteY3" fmla="*/ 0 h 90120"/>
                <a:gd name="connsiteX4" fmla="*/ 90121 w 90121"/>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1" h="90120">
                  <a:moveTo>
                    <a:pt x="90121" y="45060"/>
                  </a:moveTo>
                  <a:cubicBezTo>
                    <a:pt x="90121" y="69950"/>
                    <a:pt x="69951" y="90121"/>
                    <a:pt x="45061" y="90121"/>
                  </a:cubicBezTo>
                  <a:cubicBezTo>
                    <a:pt x="20171" y="90121"/>
                    <a:pt x="0" y="69950"/>
                    <a:pt x="0" y="45060"/>
                  </a:cubicBezTo>
                  <a:cubicBezTo>
                    <a:pt x="0" y="20171"/>
                    <a:pt x="20171" y="0"/>
                    <a:pt x="45061" y="0"/>
                  </a:cubicBezTo>
                  <a:cubicBezTo>
                    <a:pt x="69951" y="0"/>
                    <a:pt x="90121" y="20171"/>
                    <a:pt x="90121" y="45060"/>
                  </a:cubicBezTo>
                </a:path>
              </a:pathLst>
            </a:custGeom>
            <a:grpFill/>
            <a:ln w="7608" cap="flat">
              <a:noFill/>
              <a:prstDash val="solid"/>
              <a:miter/>
            </a:ln>
          </p:spPr>
          <p:txBody>
            <a:bodyPr rtlCol="0" anchor="ctr"/>
            <a:lstStyle/>
            <a:p>
              <a:endParaRPr lang="hi-IN"/>
            </a:p>
          </p:txBody>
        </p:sp>
        <p:sp>
          <p:nvSpPr>
            <p:cNvPr id="1701" name="Freeform: Shape 700"/>
            <p:cNvSpPr/>
            <p:nvPr/>
          </p:nvSpPr>
          <p:spPr>
            <a:xfrm>
              <a:off x="11056594" y="2166853"/>
              <a:ext cx="91186" cy="91186"/>
            </a:xfrm>
            <a:custGeom>
              <a:avLst/>
              <a:gdLst>
                <a:gd name="connsiteX0" fmla="*/ 91186 w 91186"/>
                <a:gd name="connsiteY0" fmla="*/ 45593 h 91186"/>
                <a:gd name="connsiteX1" fmla="*/ 45593 w 91186"/>
                <a:gd name="connsiteY1" fmla="*/ 91186 h 91186"/>
                <a:gd name="connsiteX2" fmla="*/ 0 w 91186"/>
                <a:gd name="connsiteY2" fmla="*/ 45593 h 91186"/>
                <a:gd name="connsiteX3" fmla="*/ 45593 w 91186"/>
                <a:gd name="connsiteY3" fmla="*/ 0 h 91186"/>
                <a:gd name="connsiteX4" fmla="*/ 91186 w 91186"/>
                <a:gd name="connsiteY4" fmla="*/ 45593 h 9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86" h="91186">
                  <a:moveTo>
                    <a:pt x="91186" y="45593"/>
                  </a:moveTo>
                  <a:cubicBezTo>
                    <a:pt x="91186" y="70787"/>
                    <a:pt x="70788" y="91186"/>
                    <a:pt x="45593" y="91186"/>
                  </a:cubicBezTo>
                  <a:cubicBezTo>
                    <a:pt x="20399" y="91186"/>
                    <a:pt x="0" y="70787"/>
                    <a:pt x="0" y="45593"/>
                  </a:cubicBezTo>
                  <a:cubicBezTo>
                    <a:pt x="0" y="20399"/>
                    <a:pt x="20399" y="0"/>
                    <a:pt x="45593" y="0"/>
                  </a:cubicBezTo>
                  <a:cubicBezTo>
                    <a:pt x="70788" y="0"/>
                    <a:pt x="91186" y="20399"/>
                    <a:pt x="91186" y="45593"/>
                  </a:cubicBezTo>
                </a:path>
              </a:pathLst>
            </a:custGeom>
            <a:grpFill/>
            <a:ln w="7608" cap="flat">
              <a:noFill/>
              <a:prstDash val="solid"/>
              <a:miter/>
            </a:ln>
          </p:spPr>
          <p:txBody>
            <a:bodyPr rtlCol="0" anchor="ctr"/>
            <a:lstStyle/>
            <a:p>
              <a:endParaRPr lang="hi-IN"/>
            </a:p>
          </p:txBody>
        </p:sp>
        <p:sp>
          <p:nvSpPr>
            <p:cNvPr id="1702" name="Freeform: Shape 701"/>
            <p:cNvSpPr/>
            <p:nvPr/>
          </p:nvSpPr>
          <p:spPr>
            <a:xfrm>
              <a:off x="10956046" y="2021854"/>
              <a:ext cx="92251" cy="92251"/>
            </a:xfrm>
            <a:custGeom>
              <a:avLst/>
              <a:gdLst>
                <a:gd name="connsiteX0" fmla="*/ 92252 w 92251"/>
                <a:gd name="connsiteY0" fmla="*/ 46126 h 92251"/>
                <a:gd name="connsiteX1" fmla="*/ 46125 w 92251"/>
                <a:gd name="connsiteY1" fmla="*/ 92252 h 92251"/>
                <a:gd name="connsiteX2" fmla="*/ 0 w 92251"/>
                <a:gd name="connsiteY2" fmla="*/ 46126 h 92251"/>
                <a:gd name="connsiteX3" fmla="*/ 46125 w 92251"/>
                <a:gd name="connsiteY3" fmla="*/ 0 h 92251"/>
                <a:gd name="connsiteX4" fmla="*/ 92252 w 92251"/>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51" h="92251">
                  <a:moveTo>
                    <a:pt x="92252" y="46126"/>
                  </a:moveTo>
                  <a:cubicBezTo>
                    <a:pt x="92252" y="71625"/>
                    <a:pt x="71549" y="92252"/>
                    <a:pt x="46125" y="92252"/>
                  </a:cubicBezTo>
                  <a:cubicBezTo>
                    <a:pt x="20627" y="92252"/>
                    <a:pt x="0" y="71625"/>
                    <a:pt x="0" y="46126"/>
                  </a:cubicBezTo>
                  <a:cubicBezTo>
                    <a:pt x="0" y="20627"/>
                    <a:pt x="20703" y="0"/>
                    <a:pt x="46125" y="0"/>
                  </a:cubicBezTo>
                  <a:cubicBezTo>
                    <a:pt x="71549" y="0"/>
                    <a:pt x="92252" y="20627"/>
                    <a:pt x="92252" y="46126"/>
                  </a:cubicBezTo>
                </a:path>
              </a:pathLst>
            </a:custGeom>
            <a:grpFill/>
            <a:ln w="7608" cap="flat">
              <a:noFill/>
              <a:prstDash val="solid"/>
              <a:miter/>
            </a:ln>
          </p:spPr>
          <p:txBody>
            <a:bodyPr rtlCol="0" anchor="ctr"/>
            <a:lstStyle/>
            <a:p>
              <a:endParaRPr lang="hi-IN"/>
            </a:p>
          </p:txBody>
        </p:sp>
        <p:sp>
          <p:nvSpPr>
            <p:cNvPr id="1703" name="Freeform: Shape 702"/>
            <p:cNvSpPr/>
            <p:nvPr/>
          </p:nvSpPr>
          <p:spPr>
            <a:xfrm>
              <a:off x="10848951" y="1881421"/>
              <a:ext cx="93393" cy="93469"/>
            </a:xfrm>
            <a:custGeom>
              <a:avLst/>
              <a:gdLst>
                <a:gd name="connsiteX0" fmla="*/ 93394 w 93393"/>
                <a:gd name="connsiteY0" fmla="*/ 46735 h 93469"/>
                <a:gd name="connsiteX1" fmla="*/ 46659 w 93393"/>
                <a:gd name="connsiteY1" fmla="*/ 93470 h 93469"/>
                <a:gd name="connsiteX2" fmla="*/ 0 w 93393"/>
                <a:gd name="connsiteY2" fmla="*/ 46735 h 93469"/>
                <a:gd name="connsiteX3" fmla="*/ 46659 w 93393"/>
                <a:gd name="connsiteY3" fmla="*/ 0 h 93469"/>
                <a:gd name="connsiteX4" fmla="*/ 93394 w 93393"/>
                <a:gd name="connsiteY4" fmla="*/ 46735 h 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93" h="93469">
                  <a:moveTo>
                    <a:pt x="93394" y="46735"/>
                  </a:moveTo>
                  <a:cubicBezTo>
                    <a:pt x="93394" y="72538"/>
                    <a:pt x="72462" y="93470"/>
                    <a:pt x="46659" y="93470"/>
                  </a:cubicBezTo>
                  <a:cubicBezTo>
                    <a:pt x="20856" y="93470"/>
                    <a:pt x="0" y="72538"/>
                    <a:pt x="0" y="46735"/>
                  </a:cubicBezTo>
                  <a:cubicBezTo>
                    <a:pt x="0" y="20932"/>
                    <a:pt x="20932" y="0"/>
                    <a:pt x="46659" y="0"/>
                  </a:cubicBezTo>
                  <a:cubicBezTo>
                    <a:pt x="72462" y="0"/>
                    <a:pt x="93394" y="20932"/>
                    <a:pt x="93394" y="46735"/>
                  </a:cubicBezTo>
                </a:path>
              </a:pathLst>
            </a:custGeom>
            <a:grpFill/>
            <a:ln w="7608" cap="flat">
              <a:noFill/>
              <a:prstDash val="solid"/>
              <a:miter/>
            </a:ln>
          </p:spPr>
          <p:txBody>
            <a:bodyPr rtlCol="0" anchor="ctr"/>
            <a:lstStyle/>
            <a:p>
              <a:endParaRPr lang="hi-IN"/>
            </a:p>
          </p:txBody>
        </p:sp>
        <p:sp>
          <p:nvSpPr>
            <p:cNvPr id="1704" name="Freeform: Shape 703"/>
            <p:cNvSpPr/>
            <p:nvPr/>
          </p:nvSpPr>
          <p:spPr>
            <a:xfrm>
              <a:off x="10735692" y="1745935"/>
              <a:ext cx="94534" cy="94535"/>
            </a:xfrm>
            <a:custGeom>
              <a:avLst/>
              <a:gdLst>
                <a:gd name="connsiteX0" fmla="*/ 94535 w 94534"/>
                <a:gd name="connsiteY0" fmla="*/ 47268 h 94535"/>
                <a:gd name="connsiteX1" fmla="*/ 47267 w 94534"/>
                <a:gd name="connsiteY1" fmla="*/ 94535 h 94535"/>
                <a:gd name="connsiteX2" fmla="*/ 0 w 94534"/>
                <a:gd name="connsiteY2" fmla="*/ 47268 h 94535"/>
                <a:gd name="connsiteX3" fmla="*/ 47267 w 94534"/>
                <a:gd name="connsiteY3" fmla="*/ 0 h 94535"/>
                <a:gd name="connsiteX4" fmla="*/ 94535 w 94534"/>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4" h="94535">
                  <a:moveTo>
                    <a:pt x="94535" y="47268"/>
                  </a:moveTo>
                  <a:cubicBezTo>
                    <a:pt x="94535" y="73375"/>
                    <a:pt x="73374" y="94535"/>
                    <a:pt x="47267" y="94535"/>
                  </a:cubicBezTo>
                  <a:cubicBezTo>
                    <a:pt x="21159" y="94535"/>
                    <a:pt x="0" y="73375"/>
                    <a:pt x="0" y="47268"/>
                  </a:cubicBezTo>
                  <a:cubicBezTo>
                    <a:pt x="0" y="21160"/>
                    <a:pt x="21159" y="0"/>
                    <a:pt x="47267" y="0"/>
                  </a:cubicBezTo>
                  <a:cubicBezTo>
                    <a:pt x="73374" y="76"/>
                    <a:pt x="94535" y="21236"/>
                    <a:pt x="94535" y="47268"/>
                  </a:cubicBezTo>
                </a:path>
              </a:pathLst>
            </a:custGeom>
            <a:grpFill/>
            <a:ln w="7608" cap="flat">
              <a:noFill/>
              <a:prstDash val="solid"/>
              <a:miter/>
            </a:ln>
          </p:spPr>
          <p:txBody>
            <a:bodyPr rtlCol="0" anchor="ctr"/>
            <a:lstStyle/>
            <a:p>
              <a:endParaRPr lang="hi-IN"/>
            </a:p>
          </p:txBody>
        </p:sp>
        <p:sp>
          <p:nvSpPr>
            <p:cNvPr id="1705" name="Freeform: Shape 704"/>
            <p:cNvSpPr/>
            <p:nvPr/>
          </p:nvSpPr>
          <p:spPr>
            <a:xfrm>
              <a:off x="10617103" y="1616234"/>
              <a:ext cx="94535" cy="94535"/>
            </a:xfrm>
            <a:custGeom>
              <a:avLst/>
              <a:gdLst>
                <a:gd name="connsiteX0" fmla="*/ 94536 w 94535"/>
                <a:gd name="connsiteY0" fmla="*/ 47268 h 94535"/>
                <a:gd name="connsiteX1" fmla="*/ 47267 w 94535"/>
                <a:gd name="connsiteY1" fmla="*/ 94535 h 94535"/>
                <a:gd name="connsiteX2" fmla="*/ 0 w 94535"/>
                <a:gd name="connsiteY2" fmla="*/ 47268 h 94535"/>
                <a:gd name="connsiteX3" fmla="*/ 47267 w 94535"/>
                <a:gd name="connsiteY3" fmla="*/ 0 h 94535"/>
                <a:gd name="connsiteX4" fmla="*/ 94536 w 94535"/>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 h="94535">
                  <a:moveTo>
                    <a:pt x="94536" y="47268"/>
                  </a:moveTo>
                  <a:cubicBezTo>
                    <a:pt x="94536" y="73375"/>
                    <a:pt x="73375" y="94535"/>
                    <a:pt x="47267" y="94535"/>
                  </a:cubicBezTo>
                  <a:cubicBezTo>
                    <a:pt x="21160" y="94535"/>
                    <a:pt x="0" y="73375"/>
                    <a:pt x="0" y="47268"/>
                  </a:cubicBezTo>
                  <a:cubicBezTo>
                    <a:pt x="0" y="21160"/>
                    <a:pt x="21160" y="0"/>
                    <a:pt x="47267" y="0"/>
                  </a:cubicBezTo>
                  <a:cubicBezTo>
                    <a:pt x="73375" y="0"/>
                    <a:pt x="94536" y="21160"/>
                    <a:pt x="94536" y="47268"/>
                  </a:cubicBezTo>
                </a:path>
              </a:pathLst>
            </a:custGeom>
            <a:grpFill/>
            <a:ln w="7608" cap="flat">
              <a:noFill/>
              <a:prstDash val="solid"/>
              <a:miter/>
            </a:ln>
          </p:spPr>
          <p:txBody>
            <a:bodyPr rtlCol="0" anchor="ctr"/>
            <a:lstStyle/>
            <a:p>
              <a:endParaRPr lang="hi-IN"/>
            </a:p>
          </p:txBody>
        </p:sp>
        <p:sp>
          <p:nvSpPr>
            <p:cNvPr id="1706" name="Freeform: Shape 705"/>
            <p:cNvSpPr/>
            <p:nvPr/>
          </p:nvSpPr>
          <p:spPr>
            <a:xfrm>
              <a:off x="10492807" y="1491938"/>
              <a:ext cx="94534" cy="94535"/>
            </a:xfrm>
            <a:custGeom>
              <a:avLst/>
              <a:gdLst>
                <a:gd name="connsiteX0" fmla="*/ 94535 w 94534"/>
                <a:gd name="connsiteY0" fmla="*/ 47268 h 94535"/>
                <a:gd name="connsiteX1" fmla="*/ 47267 w 94534"/>
                <a:gd name="connsiteY1" fmla="*/ 94535 h 94535"/>
                <a:gd name="connsiteX2" fmla="*/ 0 w 94534"/>
                <a:gd name="connsiteY2" fmla="*/ 47268 h 94535"/>
                <a:gd name="connsiteX3" fmla="*/ 47267 w 94534"/>
                <a:gd name="connsiteY3" fmla="*/ 0 h 94535"/>
                <a:gd name="connsiteX4" fmla="*/ 94535 w 94534"/>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4" h="94535">
                  <a:moveTo>
                    <a:pt x="94535" y="47268"/>
                  </a:moveTo>
                  <a:cubicBezTo>
                    <a:pt x="94535" y="73375"/>
                    <a:pt x="73375" y="94535"/>
                    <a:pt x="47267" y="94535"/>
                  </a:cubicBezTo>
                  <a:cubicBezTo>
                    <a:pt x="21160" y="94535"/>
                    <a:pt x="0" y="73375"/>
                    <a:pt x="0" y="47268"/>
                  </a:cubicBezTo>
                  <a:cubicBezTo>
                    <a:pt x="0" y="21160"/>
                    <a:pt x="21160" y="0"/>
                    <a:pt x="47267" y="0"/>
                  </a:cubicBezTo>
                  <a:cubicBezTo>
                    <a:pt x="73375" y="0"/>
                    <a:pt x="94535" y="21160"/>
                    <a:pt x="94535" y="47268"/>
                  </a:cubicBezTo>
                </a:path>
              </a:pathLst>
            </a:custGeom>
            <a:grpFill/>
            <a:ln w="7608" cap="flat">
              <a:noFill/>
              <a:prstDash val="solid"/>
              <a:miter/>
            </a:ln>
          </p:spPr>
          <p:txBody>
            <a:bodyPr rtlCol="0" anchor="ctr"/>
            <a:lstStyle/>
            <a:p>
              <a:endParaRPr lang="hi-IN"/>
            </a:p>
          </p:txBody>
        </p:sp>
        <p:sp>
          <p:nvSpPr>
            <p:cNvPr id="1707" name="Freeform: Shape 706"/>
            <p:cNvSpPr/>
            <p:nvPr/>
          </p:nvSpPr>
          <p:spPr>
            <a:xfrm>
              <a:off x="10363106" y="1373350"/>
              <a:ext cx="94535" cy="94535"/>
            </a:xfrm>
            <a:custGeom>
              <a:avLst/>
              <a:gdLst>
                <a:gd name="connsiteX0" fmla="*/ 94536 w 94535"/>
                <a:gd name="connsiteY0" fmla="*/ 47268 h 94535"/>
                <a:gd name="connsiteX1" fmla="*/ 47267 w 94535"/>
                <a:gd name="connsiteY1" fmla="*/ 94535 h 94535"/>
                <a:gd name="connsiteX2" fmla="*/ 0 w 94535"/>
                <a:gd name="connsiteY2" fmla="*/ 47268 h 94535"/>
                <a:gd name="connsiteX3" fmla="*/ 47267 w 94535"/>
                <a:gd name="connsiteY3" fmla="*/ 0 h 94535"/>
                <a:gd name="connsiteX4" fmla="*/ 94536 w 94535"/>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 h="94535">
                  <a:moveTo>
                    <a:pt x="94536" y="47268"/>
                  </a:moveTo>
                  <a:cubicBezTo>
                    <a:pt x="94536" y="73375"/>
                    <a:pt x="73375" y="94535"/>
                    <a:pt x="47267" y="94535"/>
                  </a:cubicBezTo>
                  <a:cubicBezTo>
                    <a:pt x="21160" y="94535"/>
                    <a:pt x="0" y="73375"/>
                    <a:pt x="0" y="47268"/>
                  </a:cubicBezTo>
                  <a:cubicBezTo>
                    <a:pt x="0" y="21160"/>
                    <a:pt x="21160" y="0"/>
                    <a:pt x="47267" y="0"/>
                  </a:cubicBezTo>
                  <a:cubicBezTo>
                    <a:pt x="73375" y="0"/>
                    <a:pt x="94536" y="21160"/>
                    <a:pt x="94536" y="47268"/>
                  </a:cubicBezTo>
                </a:path>
              </a:pathLst>
            </a:custGeom>
            <a:grpFill/>
            <a:ln w="7608" cap="flat">
              <a:noFill/>
              <a:prstDash val="solid"/>
              <a:miter/>
            </a:ln>
          </p:spPr>
          <p:txBody>
            <a:bodyPr rtlCol="0" anchor="ctr"/>
            <a:lstStyle/>
            <a:p>
              <a:endParaRPr lang="hi-IN"/>
            </a:p>
          </p:txBody>
        </p:sp>
        <p:sp>
          <p:nvSpPr>
            <p:cNvPr id="1708" name="Freeform: Shape 707"/>
            <p:cNvSpPr/>
            <p:nvPr/>
          </p:nvSpPr>
          <p:spPr>
            <a:xfrm>
              <a:off x="10228762" y="1261232"/>
              <a:ext cx="93393" cy="93469"/>
            </a:xfrm>
            <a:custGeom>
              <a:avLst/>
              <a:gdLst>
                <a:gd name="connsiteX0" fmla="*/ 93394 w 93393"/>
                <a:gd name="connsiteY0" fmla="*/ 46735 h 93469"/>
                <a:gd name="connsiteX1" fmla="*/ 46659 w 93393"/>
                <a:gd name="connsiteY1" fmla="*/ 93470 h 93469"/>
                <a:gd name="connsiteX2" fmla="*/ 0 w 93393"/>
                <a:gd name="connsiteY2" fmla="*/ 46735 h 93469"/>
                <a:gd name="connsiteX3" fmla="*/ 46659 w 93393"/>
                <a:gd name="connsiteY3" fmla="*/ 0 h 93469"/>
                <a:gd name="connsiteX4" fmla="*/ 93394 w 93393"/>
                <a:gd name="connsiteY4" fmla="*/ 46735 h 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93" h="93469">
                  <a:moveTo>
                    <a:pt x="93394" y="46735"/>
                  </a:moveTo>
                  <a:cubicBezTo>
                    <a:pt x="93394" y="72538"/>
                    <a:pt x="72462" y="93470"/>
                    <a:pt x="46659" y="93470"/>
                  </a:cubicBezTo>
                  <a:cubicBezTo>
                    <a:pt x="20856" y="93470"/>
                    <a:pt x="0" y="72538"/>
                    <a:pt x="0" y="46735"/>
                  </a:cubicBezTo>
                  <a:cubicBezTo>
                    <a:pt x="0" y="20932"/>
                    <a:pt x="20932" y="0"/>
                    <a:pt x="46659" y="0"/>
                  </a:cubicBezTo>
                  <a:cubicBezTo>
                    <a:pt x="72538" y="76"/>
                    <a:pt x="93394" y="20932"/>
                    <a:pt x="93394" y="46735"/>
                  </a:cubicBezTo>
                </a:path>
              </a:pathLst>
            </a:custGeom>
            <a:grpFill/>
            <a:ln w="7608" cap="flat">
              <a:noFill/>
              <a:prstDash val="solid"/>
              <a:miter/>
            </a:ln>
          </p:spPr>
          <p:txBody>
            <a:bodyPr rtlCol="0" anchor="ctr"/>
            <a:lstStyle/>
            <a:p>
              <a:endParaRPr lang="hi-IN"/>
            </a:p>
          </p:txBody>
        </p:sp>
        <p:sp>
          <p:nvSpPr>
            <p:cNvPr id="1709" name="Freeform: Shape 708"/>
            <p:cNvSpPr/>
            <p:nvPr/>
          </p:nvSpPr>
          <p:spPr>
            <a:xfrm>
              <a:off x="10089472" y="1155356"/>
              <a:ext cx="92328" cy="92251"/>
            </a:xfrm>
            <a:custGeom>
              <a:avLst/>
              <a:gdLst>
                <a:gd name="connsiteX0" fmla="*/ 92328 w 92328"/>
                <a:gd name="connsiteY0" fmla="*/ 46126 h 92251"/>
                <a:gd name="connsiteX1" fmla="*/ 46202 w 92328"/>
                <a:gd name="connsiteY1" fmla="*/ 92252 h 92251"/>
                <a:gd name="connsiteX2" fmla="*/ 0 w 92328"/>
                <a:gd name="connsiteY2" fmla="*/ 46126 h 92251"/>
                <a:gd name="connsiteX3" fmla="*/ 46202 w 92328"/>
                <a:gd name="connsiteY3" fmla="*/ 0 h 92251"/>
                <a:gd name="connsiteX4" fmla="*/ 92328 w 92328"/>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28" h="92251">
                  <a:moveTo>
                    <a:pt x="92328" y="46126"/>
                  </a:moveTo>
                  <a:cubicBezTo>
                    <a:pt x="92328" y="71625"/>
                    <a:pt x="71624" y="92252"/>
                    <a:pt x="46202" y="92252"/>
                  </a:cubicBezTo>
                  <a:cubicBezTo>
                    <a:pt x="20703" y="92252"/>
                    <a:pt x="0" y="71549"/>
                    <a:pt x="0" y="46126"/>
                  </a:cubicBezTo>
                  <a:cubicBezTo>
                    <a:pt x="0" y="20627"/>
                    <a:pt x="20703" y="0"/>
                    <a:pt x="46202" y="0"/>
                  </a:cubicBezTo>
                  <a:cubicBezTo>
                    <a:pt x="71624" y="0"/>
                    <a:pt x="92328" y="20703"/>
                    <a:pt x="92328" y="46126"/>
                  </a:cubicBezTo>
                </a:path>
              </a:pathLst>
            </a:custGeom>
            <a:grpFill/>
            <a:ln w="7608" cap="flat">
              <a:noFill/>
              <a:prstDash val="solid"/>
              <a:miter/>
            </a:ln>
          </p:spPr>
          <p:txBody>
            <a:bodyPr rtlCol="0" anchor="ctr"/>
            <a:lstStyle/>
            <a:p>
              <a:endParaRPr lang="hi-IN"/>
            </a:p>
          </p:txBody>
        </p:sp>
        <p:sp>
          <p:nvSpPr>
            <p:cNvPr id="1710" name="Freeform: Shape 709"/>
            <p:cNvSpPr/>
            <p:nvPr/>
          </p:nvSpPr>
          <p:spPr>
            <a:xfrm>
              <a:off x="9945613" y="1055797"/>
              <a:ext cx="91186" cy="91186"/>
            </a:xfrm>
            <a:custGeom>
              <a:avLst/>
              <a:gdLst>
                <a:gd name="connsiteX0" fmla="*/ 91186 w 91186"/>
                <a:gd name="connsiteY0" fmla="*/ 45593 h 91186"/>
                <a:gd name="connsiteX1" fmla="*/ 45593 w 91186"/>
                <a:gd name="connsiteY1" fmla="*/ 91186 h 91186"/>
                <a:gd name="connsiteX2" fmla="*/ 0 w 91186"/>
                <a:gd name="connsiteY2" fmla="*/ 45593 h 91186"/>
                <a:gd name="connsiteX3" fmla="*/ 45593 w 91186"/>
                <a:gd name="connsiteY3" fmla="*/ 0 h 91186"/>
                <a:gd name="connsiteX4" fmla="*/ 91186 w 91186"/>
                <a:gd name="connsiteY4" fmla="*/ 45593 h 9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86" h="91186">
                  <a:moveTo>
                    <a:pt x="91186" y="45593"/>
                  </a:moveTo>
                  <a:cubicBezTo>
                    <a:pt x="91186" y="70787"/>
                    <a:pt x="70788" y="91186"/>
                    <a:pt x="45593" y="91186"/>
                  </a:cubicBezTo>
                  <a:cubicBezTo>
                    <a:pt x="20398" y="91186"/>
                    <a:pt x="0" y="70787"/>
                    <a:pt x="0" y="45593"/>
                  </a:cubicBezTo>
                  <a:cubicBezTo>
                    <a:pt x="0" y="20399"/>
                    <a:pt x="20398" y="0"/>
                    <a:pt x="45593" y="0"/>
                  </a:cubicBezTo>
                  <a:cubicBezTo>
                    <a:pt x="70712" y="0"/>
                    <a:pt x="91186" y="20399"/>
                    <a:pt x="91186" y="45593"/>
                  </a:cubicBezTo>
                </a:path>
              </a:pathLst>
            </a:custGeom>
            <a:grpFill/>
            <a:ln w="7608" cap="flat">
              <a:noFill/>
              <a:prstDash val="solid"/>
              <a:miter/>
            </a:ln>
          </p:spPr>
          <p:txBody>
            <a:bodyPr rtlCol="0" anchor="ctr"/>
            <a:lstStyle/>
            <a:p>
              <a:endParaRPr lang="hi-IN"/>
            </a:p>
          </p:txBody>
        </p:sp>
        <p:sp>
          <p:nvSpPr>
            <p:cNvPr id="1711" name="Freeform: Shape 710"/>
            <p:cNvSpPr/>
            <p:nvPr/>
          </p:nvSpPr>
          <p:spPr>
            <a:xfrm>
              <a:off x="9797264" y="962860"/>
              <a:ext cx="90120" cy="90120"/>
            </a:xfrm>
            <a:custGeom>
              <a:avLst/>
              <a:gdLst>
                <a:gd name="connsiteX0" fmla="*/ 90120 w 90120"/>
                <a:gd name="connsiteY0" fmla="*/ 45060 h 90120"/>
                <a:gd name="connsiteX1" fmla="*/ 45060 w 90120"/>
                <a:gd name="connsiteY1" fmla="*/ 90121 h 90120"/>
                <a:gd name="connsiteX2" fmla="*/ 0 w 90120"/>
                <a:gd name="connsiteY2" fmla="*/ 45060 h 90120"/>
                <a:gd name="connsiteX3" fmla="*/ 45060 w 90120"/>
                <a:gd name="connsiteY3" fmla="*/ 0 h 90120"/>
                <a:gd name="connsiteX4" fmla="*/ 90120 w 90120"/>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0" h="90120">
                  <a:moveTo>
                    <a:pt x="90120" y="45060"/>
                  </a:moveTo>
                  <a:cubicBezTo>
                    <a:pt x="90120" y="69950"/>
                    <a:pt x="69950" y="90121"/>
                    <a:pt x="45060" y="90121"/>
                  </a:cubicBezTo>
                  <a:cubicBezTo>
                    <a:pt x="20171" y="90121"/>
                    <a:pt x="0" y="69950"/>
                    <a:pt x="0" y="45060"/>
                  </a:cubicBezTo>
                  <a:cubicBezTo>
                    <a:pt x="0" y="20171"/>
                    <a:pt x="20171" y="0"/>
                    <a:pt x="45060" y="0"/>
                  </a:cubicBezTo>
                  <a:cubicBezTo>
                    <a:pt x="69950" y="0"/>
                    <a:pt x="90120" y="20171"/>
                    <a:pt x="90120" y="45060"/>
                  </a:cubicBezTo>
                </a:path>
              </a:pathLst>
            </a:custGeom>
            <a:grpFill/>
            <a:ln w="7608" cap="flat">
              <a:noFill/>
              <a:prstDash val="solid"/>
              <a:miter/>
            </a:ln>
          </p:spPr>
          <p:txBody>
            <a:bodyPr rtlCol="0" anchor="ctr"/>
            <a:lstStyle/>
            <a:p>
              <a:endParaRPr lang="hi-IN"/>
            </a:p>
          </p:txBody>
        </p:sp>
        <p:sp>
          <p:nvSpPr>
            <p:cNvPr id="1712" name="Freeform: Shape 711"/>
            <p:cNvSpPr/>
            <p:nvPr/>
          </p:nvSpPr>
          <p:spPr>
            <a:xfrm>
              <a:off x="9645490" y="877154"/>
              <a:ext cx="87989" cy="87989"/>
            </a:xfrm>
            <a:custGeom>
              <a:avLst/>
              <a:gdLst>
                <a:gd name="connsiteX0" fmla="*/ 87990 w 87989"/>
                <a:gd name="connsiteY0" fmla="*/ 43995 h 87989"/>
                <a:gd name="connsiteX1" fmla="*/ 43995 w 87989"/>
                <a:gd name="connsiteY1" fmla="*/ 87989 h 87989"/>
                <a:gd name="connsiteX2" fmla="*/ 0 w 87989"/>
                <a:gd name="connsiteY2" fmla="*/ 43995 h 87989"/>
                <a:gd name="connsiteX3" fmla="*/ 43995 w 87989"/>
                <a:gd name="connsiteY3" fmla="*/ 0 h 87989"/>
                <a:gd name="connsiteX4" fmla="*/ 87990 w 87989"/>
                <a:gd name="connsiteY4" fmla="*/ 43995 h 87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89" h="87989">
                  <a:moveTo>
                    <a:pt x="87990" y="43995"/>
                  </a:moveTo>
                  <a:cubicBezTo>
                    <a:pt x="87990" y="68276"/>
                    <a:pt x="68276" y="87989"/>
                    <a:pt x="43995" y="87989"/>
                  </a:cubicBezTo>
                  <a:cubicBezTo>
                    <a:pt x="19715" y="87989"/>
                    <a:pt x="0" y="68276"/>
                    <a:pt x="0" y="43995"/>
                  </a:cubicBezTo>
                  <a:cubicBezTo>
                    <a:pt x="0" y="19714"/>
                    <a:pt x="19715" y="0"/>
                    <a:pt x="43995" y="0"/>
                  </a:cubicBezTo>
                  <a:cubicBezTo>
                    <a:pt x="68276" y="0"/>
                    <a:pt x="87990" y="19714"/>
                    <a:pt x="87990" y="43995"/>
                  </a:cubicBezTo>
                </a:path>
              </a:pathLst>
            </a:custGeom>
            <a:grpFill/>
            <a:ln w="7608" cap="flat">
              <a:noFill/>
              <a:prstDash val="solid"/>
              <a:miter/>
            </a:ln>
          </p:spPr>
          <p:txBody>
            <a:bodyPr rtlCol="0" anchor="ctr"/>
            <a:lstStyle/>
            <a:p>
              <a:endParaRPr lang="hi-IN"/>
            </a:p>
          </p:txBody>
        </p:sp>
        <p:sp>
          <p:nvSpPr>
            <p:cNvPr id="1713" name="Freeform: Shape 712"/>
            <p:cNvSpPr/>
            <p:nvPr/>
          </p:nvSpPr>
          <p:spPr>
            <a:xfrm>
              <a:off x="9489910" y="798450"/>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181" y="85858"/>
                    <a:pt x="0" y="66677"/>
                    <a:pt x="0" y="42929"/>
                  </a:cubicBezTo>
                  <a:cubicBezTo>
                    <a:pt x="0" y="19257"/>
                    <a:pt x="19181" y="0"/>
                    <a:pt x="42929" y="0"/>
                  </a:cubicBezTo>
                  <a:cubicBezTo>
                    <a:pt x="66677" y="0"/>
                    <a:pt x="85858" y="19257"/>
                    <a:pt x="85858" y="42929"/>
                  </a:cubicBezTo>
                </a:path>
              </a:pathLst>
            </a:custGeom>
            <a:grpFill/>
            <a:ln w="7608" cap="flat">
              <a:noFill/>
              <a:prstDash val="solid"/>
              <a:miter/>
            </a:ln>
          </p:spPr>
          <p:txBody>
            <a:bodyPr rtlCol="0" anchor="ctr"/>
            <a:lstStyle/>
            <a:p>
              <a:endParaRPr lang="hi-IN"/>
            </a:p>
          </p:txBody>
        </p:sp>
        <p:sp>
          <p:nvSpPr>
            <p:cNvPr id="1714" name="Freeform: Shape 713"/>
            <p:cNvSpPr/>
            <p:nvPr/>
          </p:nvSpPr>
          <p:spPr>
            <a:xfrm>
              <a:off x="9331590" y="727435"/>
              <a:ext cx="82509" cy="82509"/>
            </a:xfrm>
            <a:custGeom>
              <a:avLst/>
              <a:gdLst>
                <a:gd name="connsiteX0" fmla="*/ 82510 w 82509"/>
                <a:gd name="connsiteY0" fmla="*/ 41255 h 82509"/>
                <a:gd name="connsiteX1" fmla="*/ 41255 w 82509"/>
                <a:gd name="connsiteY1" fmla="*/ 82509 h 82509"/>
                <a:gd name="connsiteX2" fmla="*/ 0 w 82509"/>
                <a:gd name="connsiteY2" fmla="*/ 41255 h 82509"/>
                <a:gd name="connsiteX3" fmla="*/ 41255 w 82509"/>
                <a:gd name="connsiteY3" fmla="*/ 0 h 82509"/>
                <a:gd name="connsiteX4" fmla="*/ 82510 w 82509"/>
                <a:gd name="connsiteY4" fmla="*/ 41255 h 82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09" h="82509">
                  <a:moveTo>
                    <a:pt x="82510" y="41255"/>
                  </a:moveTo>
                  <a:cubicBezTo>
                    <a:pt x="82510" y="64013"/>
                    <a:pt x="64013" y="82509"/>
                    <a:pt x="41255" y="82509"/>
                  </a:cubicBezTo>
                  <a:cubicBezTo>
                    <a:pt x="18420" y="82509"/>
                    <a:pt x="0" y="64013"/>
                    <a:pt x="0" y="41255"/>
                  </a:cubicBezTo>
                  <a:cubicBezTo>
                    <a:pt x="0" y="18496"/>
                    <a:pt x="18496" y="0"/>
                    <a:pt x="41255" y="0"/>
                  </a:cubicBezTo>
                  <a:cubicBezTo>
                    <a:pt x="64013" y="0"/>
                    <a:pt x="82510" y="18496"/>
                    <a:pt x="82510" y="41255"/>
                  </a:cubicBezTo>
                </a:path>
              </a:pathLst>
            </a:custGeom>
            <a:grpFill/>
            <a:ln w="7608" cap="flat">
              <a:noFill/>
              <a:prstDash val="solid"/>
              <a:miter/>
            </a:ln>
          </p:spPr>
          <p:txBody>
            <a:bodyPr rtlCol="0" anchor="ctr"/>
            <a:lstStyle/>
            <a:p>
              <a:endParaRPr lang="hi-IN"/>
            </a:p>
          </p:txBody>
        </p:sp>
        <p:sp>
          <p:nvSpPr>
            <p:cNvPr id="1715" name="Freeform: Shape 714"/>
            <p:cNvSpPr/>
            <p:nvPr/>
          </p:nvSpPr>
          <p:spPr>
            <a:xfrm>
              <a:off x="9169541" y="663041"/>
              <a:ext cx="80377" cy="80377"/>
            </a:xfrm>
            <a:custGeom>
              <a:avLst/>
              <a:gdLst>
                <a:gd name="connsiteX0" fmla="*/ 80377 w 80377"/>
                <a:gd name="connsiteY0" fmla="*/ 40189 h 80377"/>
                <a:gd name="connsiteX1" fmla="*/ 40188 w 80377"/>
                <a:gd name="connsiteY1" fmla="*/ 80378 h 80377"/>
                <a:gd name="connsiteX2" fmla="*/ 0 w 80377"/>
                <a:gd name="connsiteY2" fmla="*/ 40189 h 80377"/>
                <a:gd name="connsiteX3" fmla="*/ 40188 w 80377"/>
                <a:gd name="connsiteY3" fmla="*/ 0 h 80377"/>
                <a:gd name="connsiteX4" fmla="*/ 80377 w 80377"/>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7" h="80377">
                  <a:moveTo>
                    <a:pt x="80377" y="40189"/>
                  </a:moveTo>
                  <a:cubicBezTo>
                    <a:pt x="80377" y="62415"/>
                    <a:pt x="62414" y="80378"/>
                    <a:pt x="40188" y="80378"/>
                  </a:cubicBezTo>
                  <a:cubicBezTo>
                    <a:pt x="18039" y="80378"/>
                    <a:pt x="0" y="62415"/>
                    <a:pt x="0" y="40189"/>
                  </a:cubicBezTo>
                  <a:cubicBezTo>
                    <a:pt x="0" y="17963"/>
                    <a:pt x="17963" y="0"/>
                    <a:pt x="40188" y="0"/>
                  </a:cubicBezTo>
                  <a:cubicBezTo>
                    <a:pt x="62338" y="0"/>
                    <a:pt x="80377" y="18039"/>
                    <a:pt x="80377" y="40189"/>
                  </a:cubicBezTo>
                </a:path>
              </a:pathLst>
            </a:custGeom>
            <a:grpFill/>
            <a:ln w="7608" cap="flat">
              <a:noFill/>
              <a:prstDash val="solid"/>
              <a:miter/>
            </a:ln>
          </p:spPr>
          <p:txBody>
            <a:bodyPr rtlCol="0" anchor="ctr"/>
            <a:lstStyle/>
            <a:p>
              <a:endParaRPr lang="hi-IN"/>
            </a:p>
          </p:txBody>
        </p:sp>
        <p:sp>
          <p:nvSpPr>
            <p:cNvPr id="1716" name="Freeform: Shape 715"/>
            <p:cNvSpPr/>
            <p:nvPr/>
          </p:nvSpPr>
          <p:spPr>
            <a:xfrm>
              <a:off x="9005283" y="606715"/>
              <a:ext cx="77104" cy="77105"/>
            </a:xfrm>
            <a:custGeom>
              <a:avLst/>
              <a:gdLst>
                <a:gd name="connsiteX0" fmla="*/ 77105 w 77104"/>
                <a:gd name="connsiteY0" fmla="*/ 38515 h 77105"/>
                <a:gd name="connsiteX1" fmla="*/ 38591 w 77104"/>
                <a:gd name="connsiteY1" fmla="*/ 77105 h 77105"/>
                <a:gd name="connsiteX2" fmla="*/ 0 w 77104"/>
                <a:gd name="connsiteY2" fmla="*/ 38515 h 77105"/>
                <a:gd name="connsiteX3" fmla="*/ 38591 w 77104"/>
                <a:gd name="connsiteY3" fmla="*/ 0 h 77105"/>
                <a:gd name="connsiteX4" fmla="*/ 77105 w 77104"/>
                <a:gd name="connsiteY4" fmla="*/ 38515 h 77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04" h="77105">
                  <a:moveTo>
                    <a:pt x="77105" y="38515"/>
                  </a:moveTo>
                  <a:cubicBezTo>
                    <a:pt x="77105" y="59827"/>
                    <a:pt x="59827" y="77105"/>
                    <a:pt x="38591" y="77105"/>
                  </a:cubicBezTo>
                  <a:cubicBezTo>
                    <a:pt x="17278" y="77105"/>
                    <a:pt x="0" y="59827"/>
                    <a:pt x="0" y="38515"/>
                  </a:cubicBezTo>
                  <a:cubicBezTo>
                    <a:pt x="0" y="17202"/>
                    <a:pt x="17278" y="0"/>
                    <a:pt x="38591" y="0"/>
                  </a:cubicBezTo>
                  <a:cubicBezTo>
                    <a:pt x="59827" y="-76"/>
                    <a:pt x="77105" y="17202"/>
                    <a:pt x="77105" y="38515"/>
                  </a:cubicBezTo>
                </a:path>
              </a:pathLst>
            </a:custGeom>
            <a:grpFill/>
            <a:ln w="7608" cap="flat">
              <a:noFill/>
              <a:prstDash val="solid"/>
              <a:miter/>
            </a:ln>
          </p:spPr>
          <p:txBody>
            <a:bodyPr rtlCol="0" anchor="ctr"/>
            <a:lstStyle/>
            <a:p>
              <a:endParaRPr lang="hi-IN"/>
            </a:p>
          </p:txBody>
        </p:sp>
        <p:sp>
          <p:nvSpPr>
            <p:cNvPr id="1717" name="Freeform: Shape 716"/>
            <p:cNvSpPr/>
            <p:nvPr/>
          </p:nvSpPr>
          <p:spPr>
            <a:xfrm>
              <a:off x="8838590" y="557773"/>
              <a:ext cx="73832" cy="73832"/>
            </a:xfrm>
            <a:custGeom>
              <a:avLst/>
              <a:gdLst>
                <a:gd name="connsiteX0" fmla="*/ 73833 w 73832"/>
                <a:gd name="connsiteY0" fmla="*/ 36916 h 73832"/>
                <a:gd name="connsiteX1" fmla="*/ 36917 w 73832"/>
                <a:gd name="connsiteY1" fmla="*/ 73832 h 73832"/>
                <a:gd name="connsiteX2" fmla="*/ 0 w 73832"/>
                <a:gd name="connsiteY2" fmla="*/ 36916 h 73832"/>
                <a:gd name="connsiteX3" fmla="*/ 36917 w 73832"/>
                <a:gd name="connsiteY3" fmla="*/ 0 h 73832"/>
                <a:gd name="connsiteX4" fmla="*/ 73833 w 73832"/>
                <a:gd name="connsiteY4" fmla="*/ 36916 h 73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2" h="73832">
                  <a:moveTo>
                    <a:pt x="73833" y="36916"/>
                  </a:moveTo>
                  <a:cubicBezTo>
                    <a:pt x="73833" y="57315"/>
                    <a:pt x="57315" y="73832"/>
                    <a:pt x="36917" y="73832"/>
                  </a:cubicBezTo>
                  <a:cubicBezTo>
                    <a:pt x="16517" y="73832"/>
                    <a:pt x="0" y="57315"/>
                    <a:pt x="0" y="36916"/>
                  </a:cubicBezTo>
                  <a:cubicBezTo>
                    <a:pt x="0" y="16517"/>
                    <a:pt x="16517" y="0"/>
                    <a:pt x="36917" y="0"/>
                  </a:cubicBezTo>
                  <a:cubicBezTo>
                    <a:pt x="57239" y="-76"/>
                    <a:pt x="73833" y="16517"/>
                    <a:pt x="73833" y="36916"/>
                  </a:cubicBezTo>
                </a:path>
              </a:pathLst>
            </a:custGeom>
            <a:grpFill/>
            <a:ln w="7608" cap="flat">
              <a:noFill/>
              <a:prstDash val="solid"/>
              <a:miter/>
            </a:ln>
          </p:spPr>
          <p:txBody>
            <a:bodyPr rtlCol="0" anchor="ctr"/>
            <a:lstStyle/>
            <a:p>
              <a:endParaRPr lang="hi-IN"/>
            </a:p>
          </p:txBody>
        </p:sp>
        <p:sp>
          <p:nvSpPr>
            <p:cNvPr id="1718" name="Freeform: Shape 717"/>
            <p:cNvSpPr/>
            <p:nvPr/>
          </p:nvSpPr>
          <p:spPr>
            <a:xfrm>
              <a:off x="8670223" y="516899"/>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3" y="69569"/>
                    <a:pt x="34785" y="69569"/>
                  </a:cubicBezTo>
                  <a:cubicBezTo>
                    <a:pt x="15604" y="69569"/>
                    <a:pt x="0" y="54042"/>
                    <a:pt x="0" y="34785"/>
                  </a:cubicBezTo>
                  <a:cubicBezTo>
                    <a:pt x="0" y="15604"/>
                    <a:pt x="15528" y="0"/>
                    <a:pt x="34785" y="0"/>
                  </a:cubicBezTo>
                  <a:cubicBezTo>
                    <a:pt x="54043" y="76"/>
                    <a:pt x="69570" y="15604"/>
                    <a:pt x="69570" y="34785"/>
                  </a:cubicBezTo>
                </a:path>
              </a:pathLst>
            </a:custGeom>
            <a:grpFill/>
            <a:ln w="7608" cap="flat">
              <a:noFill/>
              <a:prstDash val="solid"/>
              <a:miter/>
            </a:ln>
          </p:spPr>
          <p:txBody>
            <a:bodyPr rtlCol="0" anchor="ctr"/>
            <a:lstStyle/>
            <a:p>
              <a:endParaRPr lang="hi-IN"/>
            </a:p>
          </p:txBody>
        </p:sp>
        <p:sp>
          <p:nvSpPr>
            <p:cNvPr id="1719" name="Freeform: Shape 718"/>
            <p:cNvSpPr/>
            <p:nvPr/>
          </p:nvSpPr>
          <p:spPr>
            <a:xfrm>
              <a:off x="8500257" y="483865"/>
              <a:ext cx="65155" cy="65154"/>
            </a:xfrm>
            <a:custGeom>
              <a:avLst/>
              <a:gdLst>
                <a:gd name="connsiteX0" fmla="*/ 65155 w 65155"/>
                <a:gd name="connsiteY0" fmla="*/ 32577 h 65154"/>
                <a:gd name="connsiteX1" fmla="*/ 32578 w 65155"/>
                <a:gd name="connsiteY1" fmla="*/ 65155 h 65154"/>
                <a:gd name="connsiteX2" fmla="*/ 0 w 65155"/>
                <a:gd name="connsiteY2" fmla="*/ 32577 h 65154"/>
                <a:gd name="connsiteX3" fmla="*/ 32578 w 65155"/>
                <a:gd name="connsiteY3" fmla="*/ 0 h 65154"/>
                <a:gd name="connsiteX4" fmla="*/ 65155 w 65155"/>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5" h="65154">
                  <a:moveTo>
                    <a:pt x="65155" y="32577"/>
                  </a:moveTo>
                  <a:cubicBezTo>
                    <a:pt x="65155" y="50541"/>
                    <a:pt x="50541" y="65155"/>
                    <a:pt x="32578" y="65155"/>
                  </a:cubicBezTo>
                  <a:cubicBezTo>
                    <a:pt x="14614" y="65155"/>
                    <a:pt x="0" y="50541"/>
                    <a:pt x="0" y="32577"/>
                  </a:cubicBezTo>
                  <a:cubicBezTo>
                    <a:pt x="0" y="14614"/>
                    <a:pt x="14614" y="0"/>
                    <a:pt x="32578" y="0"/>
                  </a:cubicBezTo>
                  <a:cubicBezTo>
                    <a:pt x="50617" y="0"/>
                    <a:pt x="65155" y="14614"/>
                    <a:pt x="65155" y="32577"/>
                  </a:cubicBezTo>
                </a:path>
              </a:pathLst>
            </a:custGeom>
            <a:grpFill/>
            <a:ln w="7608" cap="flat">
              <a:noFill/>
              <a:prstDash val="solid"/>
              <a:miter/>
            </a:ln>
          </p:spPr>
          <p:txBody>
            <a:bodyPr rtlCol="0" anchor="ctr"/>
            <a:lstStyle/>
            <a:p>
              <a:endParaRPr lang="hi-IN"/>
            </a:p>
          </p:txBody>
        </p:sp>
        <p:sp>
          <p:nvSpPr>
            <p:cNvPr id="1720" name="Freeform: Shape 719"/>
            <p:cNvSpPr/>
            <p:nvPr/>
          </p:nvSpPr>
          <p:spPr>
            <a:xfrm>
              <a:off x="8328237" y="457986"/>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3" y="61958"/>
                    <a:pt x="0" y="48105"/>
                    <a:pt x="0" y="30979"/>
                  </a:cubicBezTo>
                  <a:cubicBezTo>
                    <a:pt x="0" y="13853"/>
                    <a:pt x="13853"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721" name="Freeform: Shape 720"/>
            <p:cNvSpPr/>
            <p:nvPr/>
          </p:nvSpPr>
          <p:spPr>
            <a:xfrm>
              <a:off x="8155835" y="440479"/>
              <a:ext cx="57543" cy="57543"/>
            </a:xfrm>
            <a:custGeom>
              <a:avLst/>
              <a:gdLst>
                <a:gd name="connsiteX0" fmla="*/ 57544 w 57543"/>
                <a:gd name="connsiteY0" fmla="*/ 28772 h 57543"/>
                <a:gd name="connsiteX1" fmla="*/ 28772 w 57543"/>
                <a:gd name="connsiteY1" fmla="*/ 57543 h 57543"/>
                <a:gd name="connsiteX2" fmla="*/ 0 w 57543"/>
                <a:gd name="connsiteY2" fmla="*/ 28772 h 57543"/>
                <a:gd name="connsiteX3" fmla="*/ 28772 w 57543"/>
                <a:gd name="connsiteY3" fmla="*/ 0 h 57543"/>
                <a:gd name="connsiteX4" fmla="*/ 57544 w 57543"/>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3" h="57543">
                  <a:moveTo>
                    <a:pt x="57544" y="28772"/>
                  </a:moveTo>
                  <a:cubicBezTo>
                    <a:pt x="57544" y="44680"/>
                    <a:pt x="44680" y="57543"/>
                    <a:pt x="28772" y="57543"/>
                  </a:cubicBezTo>
                  <a:cubicBezTo>
                    <a:pt x="12864" y="57543"/>
                    <a:pt x="0" y="44680"/>
                    <a:pt x="0" y="28772"/>
                  </a:cubicBezTo>
                  <a:cubicBezTo>
                    <a:pt x="0" y="12864"/>
                    <a:pt x="12864" y="0"/>
                    <a:pt x="28772" y="0"/>
                  </a:cubicBezTo>
                  <a:cubicBezTo>
                    <a:pt x="44680" y="0"/>
                    <a:pt x="57544" y="12864"/>
                    <a:pt x="57544" y="28772"/>
                  </a:cubicBezTo>
                </a:path>
              </a:pathLst>
            </a:custGeom>
            <a:grpFill/>
            <a:ln w="7608" cap="flat">
              <a:noFill/>
              <a:prstDash val="solid"/>
              <a:miter/>
            </a:ln>
          </p:spPr>
          <p:txBody>
            <a:bodyPr rtlCol="0" anchor="ctr"/>
            <a:lstStyle/>
            <a:p>
              <a:endParaRPr lang="hi-IN"/>
            </a:p>
          </p:txBody>
        </p:sp>
        <p:sp>
          <p:nvSpPr>
            <p:cNvPr id="1722" name="Freeform: Shape 721"/>
            <p:cNvSpPr/>
            <p:nvPr/>
          </p:nvSpPr>
          <p:spPr>
            <a:xfrm>
              <a:off x="7982596" y="430813"/>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7" y="53281"/>
                    <a:pt x="26640" y="53281"/>
                  </a:cubicBezTo>
                  <a:cubicBezTo>
                    <a:pt x="11951" y="53281"/>
                    <a:pt x="0" y="41407"/>
                    <a:pt x="0" y="26640"/>
                  </a:cubicBezTo>
                  <a:cubicBezTo>
                    <a:pt x="0" y="11950"/>
                    <a:pt x="11951" y="0"/>
                    <a:pt x="26640" y="0"/>
                  </a:cubicBezTo>
                  <a:cubicBezTo>
                    <a:pt x="41331" y="0"/>
                    <a:pt x="53281" y="11950"/>
                    <a:pt x="53281" y="26640"/>
                  </a:cubicBezTo>
                </a:path>
              </a:pathLst>
            </a:custGeom>
            <a:grpFill/>
            <a:ln w="7608" cap="flat">
              <a:noFill/>
              <a:prstDash val="solid"/>
              <a:miter/>
            </a:ln>
          </p:spPr>
          <p:txBody>
            <a:bodyPr rtlCol="0" anchor="ctr"/>
            <a:lstStyle/>
            <a:p>
              <a:endParaRPr lang="hi-IN"/>
            </a:p>
          </p:txBody>
        </p:sp>
        <p:sp>
          <p:nvSpPr>
            <p:cNvPr id="1723" name="Freeform: Shape 722"/>
            <p:cNvSpPr/>
            <p:nvPr/>
          </p:nvSpPr>
          <p:spPr>
            <a:xfrm>
              <a:off x="7809054" y="429062"/>
              <a:ext cx="48865" cy="48866"/>
            </a:xfrm>
            <a:custGeom>
              <a:avLst/>
              <a:gdLst>
                <a:gd name="connsiteX0" fmla="*/ 48866 w 48865"/>
                <a:gd name="connsiteY0" fmla="*/ 24433 h 48866"/>
                <a:gd name="connsiteX1" fmla="*/ 24433 w 48865"/>
                <a:gd name="connsiteY1" fmla="*/ 48866 h 48866"/>
                <a:gd name="connsiteX2" fmla="*/ 0 w 48865"/>
                <a:gd name="connsiteY2" fmla="*/ 24433 h 48866"/>
                <a:gd name="connsiteX3" fmla="*/ 24433 w 48865"/>
                <a:gd name="connsiteY3" fmla="*/ 0 h 48866"/>
                <a:gd name="connsiteX4" fmla="*/ 48866 w 48865"/>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5" h="48866">
                  <a:moveTo>
                    <a:pt x="48866" y="24433"/>
                  </a:moveTo>
                  <a:cubicBezTo>
                    <a:pt x="48866" y="37905"/>
                    <a:pt x="37905" y="48866"/>
                    <a:pt x="24433" y="48866"/>
                  </a:cubicBezTo>
                  <a:cubicBezTo>
                    <a:pt x="10960" y="48866"/>
                    <a:pt x="0" y="37905"/>
                    <a:pt x="0" y="24433"/>
                  </a:cubicBezTo>
                  <a:cubicBezTo>
                    <a:pt x="0" y="10961"/>
                    <a:pt x="10960"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724" name="Freeform: Shape 723"/>
            <p:cNvSpPr/>
            <p:nvPr/>
          </p:nvSpPr>
          <p:spPr>
            <a:xfrm>
              <a:off x="7634977" y="43461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394" y="0"/>
                    <a:pt x="45669" y="10276"/>
                    <a:pt x="45669" y="22835"/>
                  </a:cubicBezTo>
                </a:path>
              </a:pathLst>
            </a:custGeom>
            <a:grpFill/>
            <a:ln w="7608" cap="flat">
              <a:noFill/>
              <a:prstDash val="solid"/>
              <a:miter/>
            </a:ln>
          </p:spPr>
          <p:txBody>
            <a:bodyPr rtlCol="0" anchor="ctr"/>
            <a:lstStyle/>
            <a:p>
              <a:endParaRPr lang="hi-IN"/>
            </a:p>
          </p:txBody>
        </p:sp>
        <p:sp>
          <p:nvSpPr>
            <p:cNvPr id="1725" name="Freeform: Shape 724"/>
            <p:cNvSpPr/>
            <p:nvPr/>
          </p:nvSpPr>
          <p:spPr>
            <a:xfrm>
              <a:off x="7461815" y="448624"/>
              <a:ext cx="41254" cy="41254"/>
            </a:xfrm>
            <a:custGeom>
              <a:avLst/>
              <a:gdLst>
                <a:gd name="connsiteX0" fmla="*/ 41254 w 41254"/>
                <a:gd name="connsiteY0" fmla="*/ 20627 h 41254"/>
                <a:gd name="connsiteX1" fmla="*/ 20627 w 41254"/>
                <a:gd name="connsiteY1" fmla="*/ 41255 h 41254"/>
                <a:gd name="connsiteX2" fmla="*/ 0 w 41254"/>
                <a:gd name="connsiteY2" fmla="*/ 20627 h 41254"/>
                <a:gd name="connsiteX3" fmla="*/ 20627 w 41254"/>
                <a:gd name="connsiteY3" fmla="*/ 0 h 41254"/>
                <a:gd name="connsiteX4" fmla="*/ 41254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4" y="20627"/>
                  </a:moveTo>
                  <a:cubicBezTo>
                    <a:pt x="41254" y="32045"/>
                    <a:pt x="32045" y="41255"/>
                    <a:pt x="20627" y="41255"/>
                  </a:cubicBezTo>
                  <a:cubicBezTo>
                    <a:pt x="9210" y="41255"/>
                    <a:pt x="0" y="32045"/>
                    <a:pt x="0" y="20627"/>
                  </a:cubicBezTo>
                  <a:cubicBezTo>
                    <a:pt x="0" y="9210"/>
                    <a:pt x="9210" y="0"/>
                    <a:pt x="20627" y="0"/>
                  </a:cubicBezTo>
                  <a:cubicBezTo>
                    <a:pt x="32045" y="0"/>
                    <a:pt x="41254" y="9286"/>
                    <a:pt x="41254" y="20627"/>
                  </a:cubicBezTo>
                </a:path>
              </a:pathLst>
            </a:custGeom>
            <a:grpFill/>
            <a:ln w="7608" cap="flat">
              <a:noFill/>
              <a:prstDash val="solid"/>
              <a:miter/>
            </a:ln>
          </p:spPr>
          <p:txBody>
            <a:bodyPr rtlCol="0" anchor="ctr"/>
            <a:lstStyle/>
            <a:p>
              <a:endParaRPr lang="hi-IN"/>
            </a:p>
          </p:txBody>
        </p:sp>
        <p:sp>
          <p:nvSpPr>
            <p:cNvPr id="1726" name="Freeform: Shape 725"/>
            <p:cNvSpPr/>
            <p:nvPr/>
          </p:nvSpPr>
          <p:spPr>
            <a:xfrm>
              <a:off x="7289261" y="470469"/>
              <a:ext cx="36991" cy="36992"/>
            </a:xfrm>
            <a:custGeom>
              <a:avLst/>
              <a:gdLst>
                <a:gd name="connsiteX0" fmla="*/ 36992 w 36991"/>
                <a:gd name="connsiteY0" fmla="*/ 18496 h 36992"/>
                <a:gd name="connsiteX1" fmla="*/ 18496 w 36991"/>
                <a:gd name="connsiteY1" fmla="*/ 36992 h 36992"/>
                <a:gd name="connsiteX2" fmla="*/ 0 w 36991"/>
                <a:gd name="connsiteY2" fmla="*/ 18496 h 36992"/>
                <a:gd name="connsiteX3" fmla="*/ 18496 w 36991"/>
                <a:gd name="connsiteY3" fmla="*/ 0 h 36992"/>
                <a:gd name="connsiteX4" fmla="*/ 36992 w 36991"/>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2">
                  <a:moveTo>
                    <a:pt x="36992" y="18496"/>
                  </a:moveTo>
                  <a:cubicBezTo>
                    <a:pt x="36992" y="28696"/>
                    <a:pt x="28695" y="36992"/>
                    <a:pt x="18496" y="36992"/>
                  </a:cubicBezTo>
                  <a:cubicBezTo>
                    <a:pt x="8296" y="36992"/>
                    <a:pt x="0" y="28772"/>
                    <a:pt x="0" y="18496"/>
                  </a:cubicBezTo>
                  <a:cubicBezTo>
                    <a:pt x="0" y="8297"/>
                    <a:pt x="8296" y="0"/>
                    <a:pt x="18496" y="0"/>
                  </a:cubicBezTo>
                  <a:cubicBezTo>
                    <a:pt x="28695" y="0"/>
                    <a:pt x="36992" y="8297"/>
                    <a:pt x="36992" y="18496"/>
                  </a:cubicBezTo>
                </a:path>
              </a:pathLst>
            </a:custGeom>
            <a:grpFill/>
            <a:ln w="7608" cap="flat">
              <a:noFill/>
              <a:prstDash val="solid"/>
              <a:miter/>
            </a:ln>
          </p:spPr>
          <p:txBody>
            <a:bodyPr rtlCol="0" anchor="ctr"/>
            <a:lstStyle/>
            <a:p>
              <a:endParaRPr lang="hi-IN"/>
            </a:p>
          </p:txBody>
        </p:sp>
        <p:sp>
          <p:nvSpPr>
            <p:cNvPr id="1727" name="Freeform: Shape 726"/>
            <p:cNvSpPr/>
            <p:nvPr/>
          </p:nvSpPr>
          <p:spPr>
            <a:xfrm>
              <a:off x="7117925" y="500154"/>
              <a:ext cx="32577" cy="32577"/>
            </a:xfrm>
            <a:custGeom>
              <a:avLst/>
              <a:gdLst>
                <a:gd name="connsiteX0" fmla="*/ 32577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7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7" y="16289"/>
                  </a:moveTo>
                  <a:cubicBezTo>
                    <a:pt x="32577" y="25270"/>
                    <a:pt x="25270" y="32577"/>
                    <a:pt x="16289" y="32577"/>
                  </a:cubicBezTo>
                  <a:cubicBezTo>
                    <a:pt x="7307" y="32577"/>
                    <a:pt x="0" y="25270"/>
                    <a:pt x="0" y="16289"/>
                  </a:cubicBezTo>
                  <a:cubicBezTo>
                    <a:pt x="0" y="7307"/>
                    <a:pt x="7307" y="0"/>
                    <a:pt x="16289" y="0"/>
                  </a:cubicBezTo>
                  <a:cubicBezTo>
                    <a:pt x="25270" y="0"/>
                    <a:pt x="32577" y="7307"/>
                    <a:pt x="32577" y="16289"/>
                  </a:cubicBezTo>
                </a:path>
              </a:pathLst>
            </a:custGeom>
            <a:grpFill/>
            <a:ln w="7608" cap="flat">
              <a:noFill/>
              <a:prstDash val="solid"/>
              <a:miter/>
            </a:ln>
          </p:spPr>
          <p:txBody>
            <a:bodyPr rtlCol="0" anchor="ctr"/>
            <a:lstStyle/>
            <a:p>
              <a:endParaRPr lang="hi-IN"/>
            </a:p>
          </p:txBody>
        </p:sp>
        <p:sp>
          <p:nvSpPr>
            <p:cNvPr id="1728" name="Freeform: Shape 727"/>
            <p:cNvSpPr/>
            <p:nvPr/>
          </p:nvSpPr>
          <p:spPr>
            <a:xfrm>
              <a:off x="6947275" y="536994"/>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622" y="29381"/>
                    <a:pt x="0" y="22835"/>
                    <a:pt x="0" y="14690"/>
                  </a:cubicBezTo>
                  <a:cubicBezTo>
                    <a:pt x="0" y="6622"/>
                    <a:pt x="6546" y="0"/>
                    <a:pt x="14690"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729" name="Freeform: Shape 728"/>
            <p:cNvSpPr/>
            <p:nvPr/>
          </p:nvSpPr>
          <p:spPr>
            <a:xfrm>
              <a:off x="6778526" y="581673"/>
              <a:ext cx="26031" cy="26032"/>
            </a:xfrm>
            <a:custGeom>
              <a:avLst/>
              <a:gdLst>
                <a:gd name="connsiteX0" fmla="*/ 26032 w 26031"/>
                <a:gd name="connsiteY0" fmla="*/ 13016 h 26032"/>
                <a:gd name="connsiteX1" fmla="*/ 13016 w 26031"/>
                <a:gd name="connsiteY1" fmla="*/ 26032 h 26032"/>
                <a:gd name="connsiteX2" fmla="*/ 0 w 26031"/>
                <a:gd name="connsiteY2" fmla="*/ 13016 h 26032"/>
                <a:gd name="connsiteX3" fmla="*/ 13016 w 26031"/>
                <a:gd name="connsiteY3" fmla="*/ 1 h 26032"/>
                <a:gd name="connsiteX4" fmla="*/ 26032 w 26031"/>
                <a:gd name="connsiteY4" fmla="*/ 13016 h 26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2">
                  <a:moveTo>
                    <a:pt x="26032" y="13016"/>
                  </a:moveTo>
                  <a:cubicBezTo>
                    <a:pt x="26032" y="20171"/>
                    <a:pt x="20171" y="26032"/>
                    <a:pt x="13016" y="26032"/>
                  </a:cubicBezTo>
                  <a:cubicBezTo>
                    <a:pt x="5785" y="26032"/>
                    <a:pt x="0" y="20171"/>
                    <a:pt x="0" y="13016"/>
                  </a:cubicBezTo>
                  <a:cubicBezTo>
                    <a:pt x="0" y="5786"/>
                    <a:pt x="5861" y="1"/>
                    <a:pt x="13016" y="1"/>
                  </a:cubicBezTo>
                  <a:cubicBezTo>
                    <a:pt x="20247" y="-75"/>
                    <a:pt x="26032" y="5786"/>
                    <a:pt x="26032" y="13016"/>
                  </a:cubicBezTo>
                </a:path>
              </a:pathLst>
            </a:custGeom>
            <a:grpFill/>
            <a:ln w="7608" cap="flat">
              <a:noFill/>
              <a:prstDash val="solid"/>
              <a:miter/>
            </a:ln>
          </p:spPr>
          <p:txBody>
            <a:bodyPr rtlCol="0" anchor="ctr"/>
            <a:lstStyle/>
            <a:p>
              <a:endParaRPr lang="hi-IN"/>
            </a:p>
          </p:txBody>
        </p:sp>
        <p:sp>
          <p:nvSpPr>
            <p:cNvPr id="1730" name="Freeform: Shape 729"/>
            <p:cNvSpPr/>
            <p:nvPr/>
          </p:nvSpPr>
          <p:spPr>
            <a:xfrm>
              <a:off x="6612291" y="634345"/>
              <a:ext cx="21768" cy="21769"/>
            </a:xfrm>
            <a:custGeom>
              <a:avLst/>
              <a:gdLst>
                <a:gd name="connsiteX0" fmla="*/ 21769 w 21768"/>
                <a:gd name="connsiteY0" fmla="*/ 10885 h 21769"/>
                <a:gd name="connsiteX1" fmla="*/ 10884 w 21768"/>
                <a:gd name="connsiteY1" fmla="*/ 21769 h 21769"/>
                <a:gd name="connsiteX2" fmla="*/ 0 w 21768"/>
                <a:gd name="connsiteY2" fmla="*/ 10885 h 21769"/>
                <a:gd name="connsiteX3" fmla="*/ 10884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4" y="21769"/>
                  </a:cubicBezTo>
                  <a:cubicBezTo>
                    <a:pt x="4871" y="21769"/>
                    <a:pt x="0" y="16898"/>
                    <a:pt x="0" y="10885"/>
                  </a:cubicBezTo>
                  <a:cubicBezTo>
                    <a:pt x="0" y="4871"/>
                    <a:pt x="4871" y="0"/>
                    <a:pt x="10884"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731" name="Freeform: Shape 730"/>
            <p:cNvSpPr/>
            <p:nvPr/>
          </p:nvSpPr>
          <p:spPr>
            <a:xfrm>
              <a:off x="6448110" y="694020"/>
              <a:ext cx="18419" cy="18419"/>
            </a:xfrm>
            <a:custGeom>
              <a:avLst/>
              <a:gdLst>
                <a:gd name="connsiteX0" fmla="*/ 18420 w 18419"/>
                <a:gd name="connsiteY0" fmla="*/ 9210 h 18419"/>
                <a:gd name="connsiteX1" fmla="*/ 9210 w 18419"/>
                <a:gd name="connsiteY1" fmla="*/ 18420 h 18419"/>
                <a:gd name="connsiteX2" fmla="*/ 0 w 18419"/>
                <a:gd name="connsiteY2" fmla="*/ 9210 h 18419"/>
                <a:gd name="connsiteX3" fmla="*/ 9210 w 18419"/>
                <a:gd name="connsiteY3" fmla="*/ 0 h 18419"/>
                <a:gd name="connsiteX4" fmla="*/ 18420 w 18419"/>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19">
                  <a:moveTo>
                    <a:pt x="18420" y="9210"/>
                  </a:moveTo>
                  <a:cubicBezTo>
                    <a:pt x="18420" y="14310"/>
                    <a:pt x="14310" y="18420"/>
                    <a:pt x="9210" y="18420"/>
                  </a:cubicBezTo>
                  <a:cubicBezTo>
                    <a:pt x="4110" y="18420"/>
                    <a:pt x="0" y="14310"/>
                    <a:pt x="0" y="9210"/>
                  </a:cubicBezTo>
                  <a:cubicBezTo>
                    <a:pt x="0" y="4110"/>
                    <a:pt x="4110"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732" name="Freeform: Shape 731"/>
            <p:cNvSpPr/>
            <p:nvPr/>
          </p:nvSpPr>
          <p:spPr>
            <a:xfrm>
              <a:off x="6286592" y="761078"/>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733" name="Freeform: Shape 732"/>
            <p:cNvSpPr/>
            <p:nvPr/>
          </p:nvSpPr>
          <p:spPr>
            <a:xfrm>
              <a:off x="6127588" y="834834"/>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199"/>
                    <a:pt x="0" y="6546"/>
                  </a:cubicBezTo>
                  <a:cubicBezTo>
                    <a:pt x="0" y="2968"/>
                    <a:pt x="2892" y="0"/>
                    <a:pt x="6546" y="0"/>
                  </a:cubicBezTo>
                  <a:cubicBezTo>
                    <a:pt x="10199" y="0"/>
                    <a:pt x="13092" y="2968"/>
                    <a:pt x="13092" y="6546"/>
                  </a:cubicBezTo>
                </a:path>
              </a:pathLst>
            </a:custGeom>
            <a:grpFill/>
            <a:ln w="7608" cap="flat">
              <a:noFill/>
              <a:prstDash val="solid"/>
              <a:miter/>
            </a:ln>
          </p:spPr>
          <p:txBody>
            <a:bodyPr rtlCol="0" anchor="ctr"/>
            <a:lstStyle/>
            <a:p>
              <a:endParaRPr lang="hi-IN"/>
            </a:p>
          </p:txBody>
        </p:sp>
        <p:sp>
          <p:nvSpPr>
            <p:cNvPr id="1734" name="Freeform: Shape 733"/>
            <p:cNvSpPr/>
            <p:nvPr/>
          </p:nvSpPr>
          <p:spPr>
            <a:xfrm>
              <a:off x="5972160" y="915744"/>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735" name="Freeform: Shape 734"/>
            <p:cNvSpPr/>
            <p:nvPr/>
          </p:nvSpPr>
          <p:spPr>
            <a:xfrm>
              <a:off x="5820918" y="1004114"/>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861" y="0"/>
                    <a:pt x="7612" y="1675"/>
                    <a:pt x="7612" y="3806"/>
                  </a:cubicBezTo>
                </a:path>
              </a:pathLst>
            </a:custGeom>
            <a:grpFill/>
            <a:ln w="7608" cap="flat">
              <a:noFill/>
              <a:prstDash val="solid"/>
              <a:miter/>
            </a:ln>
          </p:spPr>
          <p:txBody>
            <a:bodyPr rtlCol="0" anchor="ctr"/>
            <a:lstStyle/>
            <a:p>
              <a:endParaRPr lang="hi-IN"/>
            </a:p>
          </p:txBody>
        </p:sp>
        <p:sp>
          <p:nvSpPr>
            <p:cNvPr id="1736" name="Freeform: Shape 735"/>
            <p:cNvSpPr/>
            <p:nvPr/>
          </p:nvSpPr>
          <p:spPr>
            <a:xfrm>
              <a:off x="11345909" y="6497593"/>
              <a:ext cx="8677" cy="8676"/>
            </a:xfrm>
            <a:custGeom>
              <a:avLst/>
              <a:gdLst>
                <a:gd name="connsiteX0" fmla="*/ 8677 w 8677"/>
                <a:gd name="connsiteY0" fmla="*/ 4338 h 8676"/>
                <a:gd name="connsiteX1" fmla="*/ 4339 w 8677"/>
                <a:gd name="connsiteY1" fmla="*/ 8677 h 8676"/>
                <a:gd name="connsiteX2" fmla="*/ 0 w 8677"/>
                <a:gd name="connsiteY2" fmla="*/ 4338 h 8676"/>
                <a:gd name="connsiteX3" fmla="*/ 4339 w 8677"/>
                <a:gd name="connsiteY3" fmla="*/ 0 h 8676"/>
                <a:gd name="connsiteX4" fmla="*/ 8677 w 8677"/>
                <a:gd name="connsiteY4" fmla="*/ 4338 h 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6">
                  <a:moveTo>
                    <a:pt x="8677" y="4338"/>
                  </a:moveTo>
                  <a:cubicBezTo>
                    <a:pt x="8677" y="6698"/>
                    <a:pt x="6698" y="8677"/>
                    <a:pt x="4339" y="8677"/>
                  </a:cubicBezTo>
                  <a:cubicBezTo>
                    <a:pt x="1979" y="8677"/>
                    <a:pt x="0" y="6698"/>
                    <a:pt x="0" y="4338"/>
                  </a:cubicBezTo>
                  <a:cubicBezTo>
                    <a:pt x="0" y="1903"/>
                    <a:pt x="1903"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737" name="Freeform: Shape 736"/>
            <p:cNvSpPr/>
            <p:nvPr/>
          </p:nvSpPr>
          <p:spPr>
            <a:xfrm>
              <a:off x="11432757" y="6344297"/>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5" y="10808"/>
                    <a:pt x="0" y="8373"/>
                    <a:pt x="0" y="5404"/>
                  </a:cubicBezTo>
                  <a:cubicBezTo>
                    <a:pt x="0" y="2436"/>
                    <a:pt x="2435"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738" name="Freeform: Shape 737"/>
            <p:cNvSpPr/>
            <p:nvPr/>
          </p:nvSpPr>
          <p:spPr>
            <a:xfrm>
              <a:off x="11512830" y="6187347"/>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9" y="13092"/>
                    <a:pt x="0" y="10199"/>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739" name="Freeform: Shape 738"/>
            <p:cNvSpPr/>
            <p:nvPr/>
          </p:nvSpPr>
          <p:spPr>
            <a:xfrm>
              <a:off x="11585825" y="6026591"/>
              <a:ext cx="16288" cy="16288"/>
            </a:xfrm>
            <a:custGeom>
              <a:avLst/>
              <a:gdLst>
                <a:gd name="connsiteX0" fmla="*/ 16289 w 16288"/>
                <a:gd name="connsiteY0" fmla="*/ 8144 h 16288"/>
                <a:gd name="connsiteX1" fmla="*/ 8144 w 16288"/>
                <a:gd name="connsiteY1" fmla="*/ 16288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8"/>
                    <a:pt x="8144" y="16288"/>
                  </a:cubicBezTo>
                  <a:cubicBezTo>
                    <a:pt x="3653" y="16288"/>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740" name="Freeform: Shape 739"/>
            <p:cNvSpPr/>
            <p:nvPr/>
          </p:nvSpPr>
          <p:spPr>
            <a:xfrm>
              <a:off x="11651968" y="5862790"/>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2" y="19486"/>
                    <a:pt x="9743" y="19486"/>
                  </a:cubicBezTo>
                  <a:cubicBezTo>
                    <a:pt x="4339" y="19486"/>
                    <a:pt x="0" y="15071"/>
                    <a:pt x="0" y="9743"/>
                  </a:cubicBezTo>
                  <a:cubicBezTo>
                    <a:pt x="0" y="4339"/>
                    <a:pt x="4415" y="0"/>
                    <a:pt x="9743" y="0"/>
                  </a:cubicBezTo>
                  <a:cubicBezTo>
                    <a:pt x="15072" y="0"/>
                    <a:pt x="19486" y="4339"/>
                    <a:pt x="19486" y="9743"/>
                  </a:cubicBezTo>
                </a:path>
              </a:pathLst>
            </a:custGeom>
            <a:grpFill/>
            <a:ln w="7608" cap="flat">
              <a:noFill/>
              <a:prstDash val="solid"/>
              <a:miter/>
            </a:ln>
          </p:spPr>
          <p:txBody>
            <a:bodyPr rtlCol="0" anchor="ctr"/>
            <a:lstStyle/>
            <a:p>
              <a:endParaRPr lang="hi-IN"/>
            </a:p>
          </p:txBody>
        </p:sp>
        <p:sp>
          <p:nvSpPr>
            <p:cNvPr id="1741" name="Freeform: Shape 740"/>
            <p:cNvSpPr/>
            <p:nvPr/>
          </p:nvSpPr>
          <p:spPr>
            <a:xfrm>
              <a:off x="11710958" y="5696174"/>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742" name="Freeform: Shape 741"/>
            <p:cNvSpPr/>
            <p:nvPr/>
          </p:nvSpPr>
          <p:spPr>
            <a:xfrm>
              <a:off x="11762945" y="5527197"/>
              <a:ext cx="26030" cy="26031"/>
            </a:xfrm>
            <a:custGeom>
              <a:avLst/>
              <a:gdLst>
                <a:gd name="connsiteX0" fmla="*/ 26031 w 26030"/>
                <a:gd name="connsiteY0" fmla="*/ 13016 h 26031"/>
                <a:gd name="connsiteX1" fmla="*/ 13015 w 26030"/>
                <a:gd name="connsiteY1" fmla="*/ 26032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247"/>
                    <a:pt x="20171" y="26032"/>
                    <a:pt x="13015" y="26032"/>
                  </a:cubicBezTo>
                  <a:cubicBezTo>
                    <a:pt x="5861" y="26032"/>
                    <a:pt x="0" y="20171"/>
                    <a:pt x="0" y="13016"/>
                  </a:cubicBezTo>
                  <a:cubicBezTo>
                    <a:pt x="0" y="5861"/>
                    <a:pt x="5861" y="0"/>
                    <a:pt x="13015" y="0"/>
                  </a:cubicBezTo>
                  <a:cubicBezTo>
                    <a:pt x="20171" y="0"/>
                    <a:pt x="26031" y="5785"/>
                    <a:pt x="26031" y="13016"/>
                  </a:cubicBezTo>
                </a:path>
              </a:pathLst>
            </a:custGeom>
            <a:grpFill/>
            <a:ln w="7608" cap="flat">
              <a:noFill/>
              <a:prstDash val="solid"/>
              <a:miter/>
            </a:ln>
          </p:spPr>
          <p:txBody>
            <a:bodyPr rtlCol="0" anchor="ctr"/>
            <a:lstStyle/>
            <a:p>
              <a:endParaRPr lang="hi-IN"/>
            </a:p>
          </p:txBody>
        </p:sp>
        <p:sp>
          <p:nvSpPr>
            <p:cNvPr id="1743" name="Freeform: Shape 742"/>
            <p:cNvSpPr/>
            <p:nvPr/>
          </p:nvSpPr>
          <p:spPr>
            <a:xfrm>
              <a:off x="11807092" y="5355481"/>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3" y="30446"/>
                    <a:pt x="15223" y="30446"/>
                  </a:cubicBezTo>
                  <a:cubicBezTo>
                    <a:pt x="6851" y="30446"/>
                    <a:pt x="0" y="23672"/>
                    <a:pt x="0" y="15223"/>
                  </a:cubicBezTo>
                  <a:cubicBezTo>
                    <a:pt x="0" y="6851"/>
                    <a:pt x="6774" y="0"/>
                    <a:pt x="15223" y="0"/>
                  </a:cubicBezTo>
                  <a:cubicBezTo>
                    <a:pt x="23673" y="0"/>
                    <a:pt x="30446" y="6774"/>
                    <a:pt x="30446" y="15223"/>
                  </a:cubicBezTo>
                </a:path>
              </a:pathLst>
            </a:custGeom>
            <a:grpFill/>
            <a:ln w="7608" cap="flat">
              <a:noFill/>
              <a:prstDash val="solid"/>
              <a:miter/>
            </a:ln>
          </p:spPr>
          <p:txBody>
            <a:bodyPr rtlCol="0" anchor="ctr"/>
            <a:lstStyle/>
            <a:p>
              <a:endParaRPr lang="hi-IN"/>
            </a:p>
          </p:txBody>
        </p:sp>
        <p:sp>
          <p:nvSpPr>
            <p:cNvPr id="1744" name="Freeform: Shape 743"/>
            <p:cNvSpPr/>
            <p:nvPr/>
          </p:nvSpPr>
          <p:spPr>
            <a:xfrm>
              <a:off x="11844693" y="5182471"/>
              <a:ext cx="33643" cy="33642"/>
            </a:xfrm>
            <a:custGeom>
              <a:avLst/>
              <a:gdLst>
                <a:gd name="connsiteX0" fmla="*/ 33643 w 33643"/>
                <a:gd name="connsiteY0" fmla="*/ 16822 h 33642"/>
                <a:gd name="connsiteX1" fmla="*/ 16821 w 33643"/>
                <a:gd name="connsiteY1" fmla="*/ 33643 h 33642"/>
                <a:gd name="connsiteX2" fmla="*/ 0 w 33643"/>
                <a:gd name="connsiteY2" fmla="*/ 16822 h 33642"/>
                <a:gd name="connsiteX3" fmla="*/ 16821 w 33643"/>
                <a:gd name="connsiteY3" fmla="*/ 0 h 33642"/>
                <a:gd name="connsiteX4" fmla="*/ 33643 w 33643"/>
                <a:gd name="connsiteY4" fmla="*/ 16822 h 33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2">
                  <a:moveTo>
                    <a:pt x="33643" y="16822"/>
                  </a:moveTo>
                  <a:cubicBezTo>
                    <a:pt x="33643" y="26108"/>
                    <a:pt x="26107" y="33643"/>
                    <a:pt x="16821" y="33643"/>
                  </a:cubicBezTo>
                  <a:cubicBezTo>
                    <a:pt x="7535" y="33643"/>
                    <a:pt x="0" y="26108"/>
                    <a:pt x="0" y="16822"/>
                  </a:cubicBezTo>
                  <a:cubicBezTo>
                    <a:pt x="0" y="7535"/>
                    <a:pt x="7535" y="0"/>
                    <a:pt x="16821" y="0"/>
                  </a:cubicBezTo>
                  <a:cubicBezTo>
                    <a:pt x="26107" y="0"/>
                    <a:pt x="33643" y="7535"/>
                    <a:pt x="33643" y="16822"/>
                  </a:cubicBezTo>
                </a:path>
              </a:pathLst>
            </a:custGeom>
            <a:grpFill/>
            <a:ln w="7608" cap="flat">
              <a:noFill/>
              <a:prstDash val="solid"/>
              <a:miter/>
            </a:ln>
          </p:spPr>
          <p:txBody>
            <a:bodyPr rtlCol="0" anchor="ctr"/>
            <a:lstStyle/>
            <a:p>
              <a:endParaRPr lang="hi-IN"/>
            </a:p>
          </p:txBody>
        </p:sp>
        <p:sp>
          <p:nvSpPr>
            <p:cNvPr id="1745" name="Freeform: Shape 744"/>
            <p:cNvSpPr/>
            <p:nvPr/>
          </p:nvSpPr>
          <p:spPr>
            <a:xfrm>
              <a:off x="11874150" y="5007405"/>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609" y="0"/>
                    <a:pt x="38058" y="8525"/>
                    <a:pt x="38058" y="19029"/>
                  </a:cubicBezTo>
                </a:path>
              </a:pathLst>
            </a:custGeom>
            <a:grpFill/>
            <a:ln w="7608" cap="flat">
              <a:noFill/>
              <a:prstDash val="solid"/>
              <a:miter/>
            </a:ln>
          </p:spPr>
          <p:txBody>
            <a:bodyPr rtlCol="0" anchor="ctr"/>
            <a:lstStyle/>
            <a:p>
              <a:endParaRPr lang="hi-IN"/>
            </a:p>
          </p:txBody>
        </p:sp>
        <p:sp>
          <p:nvSpPr>
            <p:cNvPr id="1746" name="Freeform: Shape 745"/>
            <p:cNvSpPr/>
            <p:nvPr/>
          </p:nvSpPr>
          <p:spPr>
            <a:xfrm>
              <a:off x="11896452" y="4831198"/>
              <a:ext cx="42319" cy="42320"/>
            </a:xfrm>
            <a:custGeom>
              <a:avLst/>
              <a:gdLst>
                <a:gd name="connsiteX0" fmla="*/ 42320 w 42319"/>
                <a:gd name="connsiteY0" fmla="*/ 21160 h 42320"/>
                <a:gd name="connsiteX1" fmla="*/ 21159 w 42319"/>
                <a:gd name="connsiteY1" fmla="*/ 42321 h 42320"/>
                <a:gd name="connsiteX2" fmla="*/ 0 w 42319"/>
                <a:gd name="connsiteY2" fmla="*/ 21160 h 42320"/>
                <a:gd name="connsiteX3" fmla="*/ 21159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1"/>
                    <a:pt x="21159" y="42321"/>
                  </a:cubicBezTo>
                  <a:cubicBezTo>
                    <a:pt x="9438" y="42321"/>
                    <a:pt x="0" y="32806"/>
                    <a:pt x="0" y="21160"/>
                  </a:cubicBezTo>
                  <a:cubicBezTo>
                    <a:pt x="0" y="9514"/>
                    <a:pt x="9514" y="0"/>
                    <a:pt x="21159" y="0"/>
                  </a:cubicBezTo>
                  <a:cubicBezTo>
                    <a:pt x="32805" y="0"/>
                    <a:pt x="42320" y="9439"/>
                    <a:pt x="42320" y="21160"/>
                  </a:cubicBezTo>
                </a:path>
              </a:pathLst>
            </a:custGeom>
            <a:grpFill/>
            <a:ln w="7608" cap="flat">
              <a:noFill/>
              <a:prstDash val="solid"/>
              <a:miter/>
            </a:ln>
          </p:spPr>
          <p:txBody>
            <a:bodyPr rtlCol="0" anchor="ctr"/>
            <a:lstStyle/>
            <a:p>
              <a:endParaRPr lang="hi-IN"/>
            </a:p>
          </p:txBody>
        </p:sp>
        <p:sp>
          <p:nvSpPr>
            <p:cNvPr id="1747" name="Freeform: Shape 746"/>
            <p:cNvSpPr/>
            <p:nvPr/>
          </p:nvSpPr>
          <p:spPr>
            <a:xfrm>
              <a:off x="11911066" y="4654077"/>
              <a:ext cx="46734" cy="46734"/>
            </a:xfrm>
            <a:custGeom>
              <a:avLst/>
              <a:gdLst>
                <a:gd name="connsiteX0" fmla="*/ 46735 w 46734"/>
                <a:gd name="connsiteY0" fmla="*/ 23367 h 46734"/>
                <a:gd name="connsiteX1" fmla="*/ 23368 w 46734"/>
                <a:gd name="connsiteY1" fmla="*/ 46735 h 46734"/>
                <a:gd name="connsiteX2" fmla="*/ 0 w 46734"/>
                <a:gd name="connsiteY2" fmla="*/ 23367 h 46734"/>
                <a:gd name="connsiteX3" fmla="*/ 23368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231"/>
                    <a:pt x="36307" y="46735"/>
                    <a:pt x="23368" y="46735"/>
                  </a:cubicBezTo>
                  <a:cubicBezTo>
                    <a:pt x="10504" y="46735"/>
                    <a:pt x="0" y="36307"/>
                    <a:pt x="0" y="23367"/>
                  </a:cubicBezTo>
                  <a:cubicBezTo>
                    <a:pt x="0" y="10428"/>
                    <a:pt x="10428" y="0"/>
                    <a:pt x="23368" y="0"/>
                  </a:cubicBezTo>
                  <a:cubicBezTo>
                    <a:pt x="36231" y="0"/>
                    <a:pt x="46735" y="10428"/>
                    <a:pt x="46735" y="23367"/>
                  </a:cubicBezTo>
                </a:path>
              </a:pathLst>
            </a:custGeom>
            <a:grpFill/>
            <a:ln w="7608" cap="flat">
              <a:noFill/>
              <a:prstDash val="solid"/>
              <a:miter/>
            </a:ln>
          </p:spPr>
          <p:txBody>
            <a:bodyPr rtlCol="0" anchor="ctr"/>
            <a:lstStyle/>
            <a:p>
              <a:endParaRPr lang="hi-IN"/>
            </a:p>
          </p:txBody>
        </p:sp>
        <p:sp>
          <p:nvSpPr>
            <p:cNvPr id="1748" name="Freeform: Shape 747"/>
            <p:cNvSpPr/>
            <p:nvPr/>
          </p:nvSpPr>
          <p:spPr>
            <a:xfrm>
              <a:off x="11918372" y="4476424"/>
              <a:ext cx="50997" cy="50997"/>
            </a:xfrm>
            <a:custGeom>
              <a:avLst/>
              <a:gdLst>
                <a:gd name="connsiteX0" fmla="*/ 50998 w 50997"/>
                <a:gd name="connsiteY0" fmla="*/ 25499 h 50997"/>
                <a:gd name="connsiteX1" fmla="*/ 25499 w 50997"/>
                <a:gd name="connsiteY1" fmla="*/ 50997 h 50997"/>
                <a:gd name="connsiteX2" fmla="*/ 0 w 50997"/>
                <a:gd name="connsiteY2" fmla="*/ 25499 h 50997"/>
                <a:gd name="connsiteX3" fmla="*/ 25499 w 50997"/>
                <a:gd name="connsiteY3" fmla="*/ 0 h 50997"/>
                <a:gd name="connsiteX4" fmla="*/ 50998 w 50997"/>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7" h="50997">
                  <a:moveTo>
                    <a:pt x="50998" y="25499"/>
                  </a:moveTo>
                  <a:cubicBezTo>
                    <a:pt x="50998" y="39580"/>
                    <a:pt x="39581" y="50997"/>
                    <a:pt x="25499" y="50997"/>
                  </a:cubicBezTo>
                  <a:cubicBezTo>
                    <a:pt x="11417" y="50997"/>
                    <a:pt x="0" y="39580"/>
                    <a:pt x="0" y="25499"/>
                  </a:cubicBezTo>
                  <a:cubicBezTo>
                    <a:pt x="0" y="11417"/>
                    <a:pt x="11417" y="0"/>
                    <a:pt x="25499" y="0"/>
                  </a:cubicBezTo>
                  <a:cubicBezTo>
                    <a:pt x="39581" y="0"/>
                    <a:pt x="50998" y="11417"/>
                    <a:pt x="50998" y="25499"/>
                  </a:cubicBezTo>
                </a:path>
              </a:pathLst>
            </a:custGeom>
            <a:grpFill/>
            <a:ln w="7608" cap="flat">
              <a:noFill/>
              <a:prstDash val="solid"/>
              <a:miter/>
            </a:ln>
          </p:spPr>
          <p:txBody>
            <a:bodyPr rtlCol="0" anchor="ctr"/>
            <a:lstStyle/>
            <a:p>
              <a:endParaRPr lang="hi-IN"/>
            </a:p>
          </p:txBody>
        </p:sp>
        <p:sp>
          <p:nvSpPr>
            <p:cNvPr id="1749" name="Freeform: Shape 748"/>
            <p:cNvSpPr/>
            <p:nvPr/>
          </p:nvSpPr>
          <p:spPr>
            <a:xfrm>
              <a:off x="11917992" y="4298466"/>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750" name="Freeform: Shape 749"/>
            <p:cNvSpPr/>
            <p:nvPr/>
          </p:nvSpPr>
          <p:spPr>
            <a:xfrm>
              <a:off x="11910228" y="4120660"/>
              <a:ext cx="59674" cy="59675"/>
            </a:xfrm>
            <a:custGeom>
              <a:avLst/>
              <a:gdLst>
                <a:gd name="connsiteX0" fmla="*/ 59674 w 59674"/>
                <a:gd name="connsiteY0" fmla="*/ 29837 h 59675"/>
                <a:gd name="connsiteX1" fmla="*/ 29838 w 59674"/>
                <a:gd name="connsiteY1" fmla="*/ 59675 h 59675"/>
                <a:gd name="connsiteX2" fmla="*/ 0 w 59674"/>
                <a:gd name="connsiteY2" fmla="*/ 29837 h 59675"/>
                <a:gd name="connsiteX3" fmla="*/ 29838 w 59674"/>
                <a:gd name="connsiteY3" fmla="*/ 0 h 59675"/>
                <a:gd name="connsiteX4" fmla="*/ 59674 w 59674"/>
                <a:gd name="connsiteY4" fmla="*/ 29837 h 59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5">
                  <a:moveTo>
                    <a:pt x="59674" y="29837"/>
                  </a:moveTo>
                  <a:cubicBezTo>
                    <a:pt x="59674" y="46355"/>
                    <a:pt x="46278" y="59675"/>
                    <a:pt x="29838" y="59675"/>
                  </a:cubicBezTo>
                  <a:cubicBezTo>
                    <a:pt x="13320" y="59675"/>
                    <a:pt x="0" y="46279"/>
                    <a:pt x="0" y="29837"/>
                  </a:cubicBezTo>
                  <a:cubicBezTo>
                    <a:pt x="0" y="13321"/>
                    <a:pt x="13396" y="0"/>
                    <a:pt x="29838" y="0"/>
                  </a:cubicBezTo>
                  <a:cubicBezTo>
                    <a:pt x="46354" y="-76"/>
                    <a:pt x="59674" y="13321"/>
                    <a:pt x="59674" y="29837"/>
                  </a:cubicBezTo>
                </a:path>
              </a:pathLst>
            </a:custGeom>
            <a:grpFill/>
            <a:ln w="7608" cap="flat">
              <a:noFill/>
              <a:prstDash val="solid"/>
              <a:miter/>
            </a:ln>
          </p:spPr>
          <p:txBody>
            <a:bodyPr rtlCol="0" anchor="ctr"/>
            <a:lstStyle/>
            <a:p>
              <a:endParaRPr lang="hi-IN"/>
            </a:p>
          </p:txBody>
        </p:sp>
        <p:sp>
          <p:nvSpPr>
            <p:cNvPr id="1751" name="Freeform: Shape 750"/>
            <p:cNvSpPr/>
            <p:nvPr/>
          </p:nvSpPr>
          <p:spPr>
            <a:xfrm>
              <a:off x="11894853" y="3943159"/>
              <a:ext cx="64089" cy="64089"/>
            </a:xfrm>
            <a:custGeom>
              <a:avLst/>
              <a:gdLst>
                <a:gd name="connsiteX0" fmla="*/ 64090 w 64089"/>
                <a:gd name="connsiteY0" fmla="*/ 32045 h 64089"/>
                <a:gd name="connsiteX1" fmla="*/ 32045 w 64089"/>
                <a:gd name="connsiteY1" fmla="*/ 64089 h 64089"/>
                <a:gd name="connsiteX2" fmla="*/ 0 w 64089"/>
                <a:gd name="connsiteY2" fmla="*/ 32045 h 64089"/>
                <a:gd name="connsiteX3" fmla="*/ 32045 w 64089"/>
                <a:gd name="connsiteY3" fmla="*/ 0 h 64089"/>
                <a:gd name="connsiteX4" fmla="*/ 64090 w 64089"/>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9" h="64089">
                  <a:moveTo>
                    <a:pt x="64090" y="32045"/>
                  </a:moveTo>
                  <a:cubicBezTo>
                    <a:pt x="64090" y="49780"/>
                    <a:pt x="49780" y="64089"/>
                    <a:pt x="32045" y="64089"/>
                  </a:cubicBezTo>
                  <a:cubicBezTo>
                    <a:pt x="14386" y="64089"/>
                    <a:pt x="0" y="49780"/>
                    <a:pt x="0" y="32045"/>
                  </a:cubicBezTo>
                  <a:cubicBezTo>
                    <a:pt x="0" y="14386"/>
                    <a:pt x="14310" y="0"/>
                    <a:pt x="32045" y="0"/>
                  </a:cubicBezTo>
                  <a:cubicBezTo>
                    <a:pt x="49780" y="0"/>
                    <a:pt x="64090" y="14386"/>
                    <a:pt x="64090" y="32045"/>
                  </a:cubicBezTo>
                </a:path>
              </a:pathLst>
            </a:custGeom>
            <a:grpFill/>
            <a:ln w="7608" cap="flat">
              <a:noFill/>
              <a:prstDash val="solid"/>
              <a:miter/>
            </a:ln>
          </p:spPr>
          <p:txBody>
            <a:bodyPr rtlCol="0" anchor="ctr"/>
            <a:lstStyle/>
            <a:p>
              <a:endParaRPr lang="hi-IN"/>
            </a:p>
          </p:txBody>
        </p:sp>
        <p:sp>
          <p:nvSpPr>
            <p:cNvPr id="1752" name="Freeform: Shape 751"/>
            <p:cNvSpPr/>
            <p:nvPr/>
          </p:nvSpPr>
          <p:spPr>
            <a:xfrm>
              <a:off x="11872095" y="3766419"/>
              <a:ext cx="68427" cy="68427"/>
            </a:xfrm>
            <a:custGeom>
              <a:avLst/>
              <a:gdLst>
                <a:gd name="connsiteX0" fmla="*/ 68428 w 68427"/>
                <a:gd name="connsiteY0" fmla="*/ 34252 h 68427"/>
                <a:gd name="connsiteX1" fmla="*/ 34176 w 68427"/>
                <a:gd name="connsiteY1" fmla="*/ 68428 h 68427"/>
                <a:gd name="connsiteX2" fmla="*/ 0 w 68427"/>
                <a:gd name="connsiteY2" fmla="*/ 34252 h 68427"/>
                <a:gd name="connsiteX3" fmla="*/ 34176 w 68427"/>
                <a:gd name="connsiteY3" fmla="*/ 0 h 68427"/>
                <a:gd name="connsiteX4" fmla="*/ 68428 w 68427"/>
                <a:gd name="connsiteY4" fmla="*/ 34252 h 6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427">
                  <a:moveTo>
                    <a:pt x="68428" y="34252"/>
                  </a:moveTo>
                  <a:cubicBezTo>
                    <a:pt x="68428" y="53129"/>
                    <a:pt x="53128" y="68428"/>
                    <a:pt x="34176" y="68428"/>
                  </a:cubicBezTo>
                  <a:cubicBezTo>
                    <a:pt x="15299" y="68428"/>
                    <a:pt x="0" y="53129"/>
                    <a:pt x="0" y="34252"/>
                  </a:cubicBezTo>
                  <a:cubicBezTo>
                    <a:pt x="0" y="15375"/>
                    <a:pt x="15299" y="0"/>
                    <a:pt x="34176" y="0"/>
                  </a:cubicBezTo>
                  <a:cubicBezTo>
                    <a:pt x="53128" y="0"/>
                    <a:pt x="68428" y="15375"/>
                    <a:pt x="68428" y="34252"/>
                  </a:cubicBezTo>
                </a:path>
              </a:pathLst>
            </a:custGeom>
            <a:grpFill/>
            <a:ln w="7608" cap="flat">
              <a:noFill/>
              <a:prstDash val="solid"/>
              <a:miter/>
            </a:ln>
          </p:spPr>
          <p:txBody>
            <a:bodyPr rtlCol="0" anchor="ctr"/>
            <a:lstStyle/>
            <a:p>
              <a:endParaRPr lang="hi-IN"/>
            </a:p>
          </p:txBody>
        </p:sp>
        <p:sp>
          <p:nvSpPr>
            <p:cNvPr id="1753" name="Freeform: Shape 752"/>
            <p:cNvSpPr/>
            <p:nvPr/>
          </p:nvSpPr>
          <p:spPr>
            <a:xfrm>
              <a:off x="11841877" y="3590745"/>
              <a:ext cx="72765" cy="72766"/>
            </a:xfrm>
            <a:custGeom>
              <a:avLst/>
              <a:gdLst>
                <a:gd name="connsiteX0" fmla="*/ 72766 w 72765"/>
                <a:gd name="connsiteY0" fmla="*/ 36383 h 72766"/>
                <a:gd name="connsiteX1" fmla="*/ 36383 w 72765"/>
                <a:gd name="connsiteY1" fmla="*/ 72766 h 72766"/>
                <a:gd name="connsiteX2" fmla="*/ 0 w 72765"/>
                <a:gd name="connsiteY2" fmla="*/ 36383 h 72766"/>
                <a:gd name="connsiteX3" fmla="*/ 36383 w 72765"/>
                <a:gd name="connsiteY3" fmla="*/ 0 h 72766"/>
                <a:gd name="connsiteX4" fmla="*/ 72766 w 72765"/>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5" h="72766">
                  <a:moveTo>
                    <a:pt x="72766" y="36383"/>
                  </a:moveTo>
                  <a:cubicBezTo>
                    <a:pt x="72766" y="56478"/>
                    <a:pt x="56478" y="72766"/>
                    <a:pt x="36383" y="72766"/>
                  </a:cubicBezTo>
                  <a:cubicBezTo>
                    <a:pt x="16289" y="72766"/>
                    <a:pt x="0" y="56478"/>
                    <a:pt x="0" y="36383"/>
                  </a:cubicBezTo>
                  <a:cubicBezTo>
                    <a:pt x="0" y="16289"/>
                    <a:pt x="16289" y="0"/>
                    <a:pt x="36383" y="0"/>
                  </a:cubicBezTo>
                  <a:cubicBezTo>
                    <a:pt x="56478" y="0"/>
                    <a:pt x="72766" y="16289"/>
                    <a:pt x="72766" y="36383"/>
                  </a:cubicBezTo>
                </a:path>
              </a:pathLst>
            </a:custGeom>
            <a:grpFill/>
            <a:ln w="7608" cap="flat">
              <a:noFill/>
              <a:prstDash val="solid"/>
              <a:miter/>
            </a:ln>
          </p:spPr>
          <p:txBody>
            <a:bodyPr rtlCol="0" anchor="ctr"/>
            <a:lstStyle/>
            <a:p>
              <a:endParaRPr lang="hi-IN"/>
            </a:p>
          </p:txBody>
        </p:sp>
        <p:sp>
          <p:nvSpPr>
            <p:cNvPr id="1754" name="Freeform: Shape 753"/>
            <p:cNvSpPr/>
            <p:nvPr/>
          </p:nvSpPr>
          <p:spPr>
            <a:xfrm>
              <a:off x="11804885" y="3417049"/>
              <a:ext cx="75963" cy="75963"/>
            </a:xfrm>
            <a:custGeom>
              <a:avLst/>
              <a:gdLst>
                <a:gd name="connsiteX0" fmla="*/ 75963 w 75963"/>
                <a:gd name="connsiteY0" fmla="*/ 37982 h 75963"/>
                <a:gd name="connsiteX1" fmla="*/ 37982 w 75963"/>
                <a:gd name="connsiteY1" fmla="*/ 75964 h 75963"/>
                <a:gd name="connsiteX2" fmla="*/ 0 w 75963"/>
                <a:gd name="connsiteY2" fmla="*/ 37982 h 75963"/>
                <a:gd name="connsiteX3" fmla="*/ 37982 w 75963"/>
                <a:gd name="connsiteY3" fmla="*/ 0 h 75963"/>
                <a:gd name="connsiteX4" fmla="*/ 75963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3" y="37982"/>
                  </a:moveTo>
                  <a:cubicBezTo>
                    <a:pt x="75963" y="58990"/>
                    <a:pt x="58913" y="75964"/>
                    <a:pt x="37982" y="75964"/>
                  </a:cubicBezTo>
                  <a:cubicBezTo>
                    <a:pt x="16974" y="75964"/>
                    <a:pt x="0" y="58914"/>
                    <a:pt x="0" y="37982"/>
                  </a:cubicBezTo>
                  <a:cubicBezTo>
                    <a:pt x="0" y="16974"/>
                    <a:pt x="17050" y="0"/>
                    <a:pt x="37982" y="0"/>
                  </a:cubicBezTo>
                  <a:cubicBezTo>
                    <a:pt x="58913" y="-76"/>
                    <a:pt x="75963" y="16974"/>
                    <a:pt x="75963" y="37982"/>
                  </a:cubicBezTo>
                </a:path>
              </a:pathLst>
            </a:custGeom>
            <a:grpFill/>
            <a:ln w="7608" cap="flat">
              <a:noFill/>
              <a:prstDash val="solid"/>
              <a:miter/>
            </a:ln>
          </p:spPr>
          <p:txBody>
            <a:bodyPr rtlCol="0" anchor="ctr"/>
            <a:lstStyle/>
            <a:p>
              <a:endParaRPr lang="hi-IN"/>
            </a:p>
          </p:txBody>
        </p:sp>
        <p:sp>
          <p:nvSpPr>
            <p:cNvPr id="1755" name="Freeform: Shape 754"/>
            <p:cNvSpPr/>
            <p:nvPr/>
          </p:nvSpPr>
          <p:spPr>
            <a:xfrm>
              <a:off x="11759900" y="3244343"/>
              <a:ext cx="80378" cy="80377"/>
            </a:xfrm>
            <a:custGeom>
              <a:avLst/>
              <a:gdLst>
                <a:gd name="connsiteX0" fmla="*/ 80378 w 80378"/>
                <a:gd name="connsiteY0" fmla="*/ 40189 h 80377"/>
                <a:gd name="connsiteX1" fmla="*/ 40189 w 80378"/>
                <a:gd name="connsiteY1" fmla="*/ 80378 h 80377"/>
                <a:gd name="connsiteX2" fmla="*/ 0 w 80378"/>
                <a:gd name="connsiteY2" fmla="*/ 40189 h 80377"/>
                <a:gd name="connsiteX3" fmla="*/ 40189 w 80378"/>
                <a:gd name="connsiteY3" fmla="*/ 0 h 80377"/>
                <a:gd name="connsiteX4" fmla="*/ 80378 w 80378"/>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8" h="80377">
                  <a:moveTo>
                    <a:pt x="80378" y="40189"/>
                  </a:moveTo>
                  <a:cubicBezTo>
                    <a:pt x="80378" y="62415"/>
                    <a:pt x="62414" y="80378"/>
                    <a:pt x="40189" y="80378"/>
                  </a:cubicBezTo>
                  <a:cubicBezTo>
                    <a:pt x="17963" y="80378"/>
                    <a:pt x="0" y="62415"/>
                    <a:pt x="0" y="40189"/>
                  </a:cubicBezTo>
                  <a:cubicBezTo>
                    <a:pt x="0" y="18039"/>
                    <a:pt x="17963" y="0"/>
                    <a:pt x="40189" y="0"/>
                  </a:cubicBezTo>
                  <a:cubicBezTo>
                    <a:pt x="62414" y="0"/>
                    <a:pt x="80378" y="17963"/>
                    <a:pt x="80378" y="40189"/>
                  </a:cubicBezTo>
                </a:path>
              </a:pathLst>
            </a:custGeom>
            <a:grpFill/>
            <a:ln w="7608" cap="flat">
              <a:noFill/>
              <a:prstDash val="solid"/>
              <a:miter/>
            </a:ln>
          </p:spPr>
          <p:txBody>
            <a:bodyPr rtlCol="0" anchor="ctr"/>
            <a:lstStyle/>
            <a:p>
              <a:endParaRPr lang="hi-IN"/>
            </a:p>
          </p:txBody>
        </p:sp>
        <p:sp>
          <p:nvSpPr>
            <p:cNvPr id="1756" name="Freeform: Shape 755"/>
            <p:cNvSpPr/>
            <p:nvPr/>
          </p:nvSpPr>
          <p:spPr>
            <a:xfrm>
              <a:off x="11708294" y="3074226"/>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5" y="83575"/>
                    <a:pt x="0" y="64850"/>
                    <a:pt x="0" y="41787"/>
                  </a:cubicBezTo>
                  <a:cubicBezTo>
                    <a:pt x="0" y="18724"/>
                    <a:pt x="18725"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757" name="Freeform: Shape 756"/>
            <p:cNvSpPr/>
            <p:nvPr/>
          </p:nvSpPr>
          <p:spPr>
            <a:xfrm>
              <a:off x="11649381" y="2906315"/>
              <a:ext cx="86924" cy="86923"/>
            </a:xfrm>
            <a:custGeom>
              <a:avLst/>
              <a:gdLst>
                <a:gd name="connsiteX0" fmla="*/ 86924 w 86924"/>
                <a:gd name="connsiteY0" fmla="*/ 43462 h 86923"/>
                <a:gd name="connsiteX1" fmla="*/ 43463 w 86924"/>
                <a:gd name="connsiteY1" fmla="*/ 86924 h 86923"/>
                <a:gd name="connsiteX2" fmla="*/ 0 w 86924"/>
                <a:gd name="connsiteY2" fmla="*/ 43462 h 86923"/>
                <a:gd name="connsiteX3" fmla="*/ 43463 w 86924"/>
                <a:gd name="connsiteY3" fmla="*/ 0 h 86923"/>
                <a:gd name="connsiteX4" fmla="*/ 86924 w 86924"/>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4" h="86923">
                  <a:moveTo>
                    <a:pt x="86924" y="43462"/>
                  </a:moveTo>
                  <a:cubicBezTo>
                    <a:pt x="86924" y="67438"/>
                    <a:pt x="67438" y="86924"/>
                    <a:pt x="43463" y="86924"/>
                  </a:cubicBezTo>
                  <a:cubicBezTo>
                    <a:pt x="19486" y="86924"/>
                    <a:pt x="0" y="67438"/>
                    <a:pt x="0" y="43462"/>
                  </a:cubicBezTo>
                  <a:cubicBezTo>
                    <a:pt x="0" y="19486"/>
                    <a:pt x="19410" y="0"/>
                    <a:pt x="43463" y="0"/>
                  </a:cubicBezTo>
                  <a:cubicBezTo>
                    <a:pt x="67514" y="76"/>
                    <a:pt x="86924" y="19486"/>
                    <a:pt x="86924" y="43462"/>
                  </a:cubicBezTo>
                </a:path>
              </a:pathLst>
            </a:custGeom>
            <a:grpFill/>
            <a:ln w="7608" cap="flat">
              <a:noFill/>
              <a:prstDash val="solid"/>
              <a:miter/>
            </a:ln>
          </p:spPr>
          <p:txBody>
            <a:bodyPr rtlCol="0" anchor="ctr"/>
            <a:lstStyle/>
            <a:p>
              <a:endParaRPr lang="hi-IN"/>
            </a:p>
          </p:txBody>
        </p:sp>
        <p:sp>
          <p:nvSpPr>
            <p:cNvPr id="1758" name="Freeform: Shape 757"/>
            <p:cNvSpPr/>
            <p:nvPr/>
          </p:nvSpPr>
          <p:spPr>
            <a:xfrm>
              <a:off x="11583617" y="2741144"/>
              <a:ext cx="90121" cy="90120"/>
            </a:xfrm>
            <a:custGeom>
              <a:avLst/>
              <a:gdLst>
                <a:gd name="connsiteX0" fmla="*/ 90121 w 90121"/>
                <a:gd name="connsiteY0" fmla="*/ 45060 h 90120"/>
                <a:gd name="connsiteX1" fmla="*/ 45061 w 90121"/>
                <a:gd name="connsiteY1" fmla="*/ 90121 h 90120"/>
                <a:gd name="connsiteX2" fmla="*/ 0 w 90121"/>
                <a:gd name="connsiteY2" fmla="*/ 45060 h 90120"/>
                <a:gd name="connsiteX3" fmla="*/ 45061 w 90121"/>
                <a:gd name="connsiteY3" fmla="*/ 0 h 90120"/>
                <a:gd name="connsiteX4" fmla="*/ 90121 w 90121"/>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1" h="90120">
                  <a:moveTo>
                    <a:pt x="90121" y="45060"/>
                  </a:moveTo>
                  <a:cubicBezTo>
                    <a:pt x="90121" y="69950"/>
                    <a:pt x="69951" y="90121"/>
                    <a:pt x="45061" y="90121"/>
                  </a:cubicBezTo>
                  <a:cubicBezTo>
                    <a:pt x="20171" y="90121"/>
                    <a:pt x="0" y="69950"/>
                    <a:pt x="0" y="45060"/>
                  </a:cubicBezTo>
                  <a:cubicBezTo>
                    <a:pt x="0" y="20171"/>
                    <a:pt x="20171" y="0"/>
                    <a:pt x="45061" y="0"/>
                  </a:cubicBezTo>
                  <a:cubicBezTo>
                    <a:pt x="69951" y="0"/>
                    <a:pt x="90121" y="20171"/>
                    <a:pt x="90121" y="45060"/>
                  </a:cubicBezTo>
                </a:path>
              </a:pathLst>
            </a:custGeom>
            <a:grpFill/>
            <a:ln w="7608" cap="flat">
              <a:noFill/>
              <a:prstDash val="solid"/>
              <a:miter/>
            </a:ln>
          </p:spPr>
          <p:txBody>
            <a:bodyPr rtlCol="0" anchor="ctr"/>
            <a:lstStyle/>
            <a:p>
              <a:endParaRPr lang="hi-IN"/>
            </a:p>
          </p:txBody>
        </p:sp>
        <p:sp>
          <p:nvSpPr>
            <p:cNvPr id="1759" name="Freeform: Shape 758"/>
            <p:cNvSpPr/>
            <p:nvPr/>
          </p:nvSpPr>
          <p:spPr>
            <a:xfrm>
              <a:off x="11511460" y="2579323"/>
              <a:ext cx="92251" cy="92251"/>
            </a:xfrm>
            <a:custGeom>
              <a:avLst/>
              <a:gdLst>
                <a:gd name="connsiteX0" fmla="*/ 92252 w 92251"/>
                <a:gd name="connsiteY0" fmla="*/ 46126 h 92251"/>
                <a:gd name="connsiteX1" fmla="*/ 46126 w 92251"/>
                <a:gd name="connsiteY1" fmla="*/ 92252 h 92251"/>
                <a:gd name="connsiteX2" fmla="*/ 0 w 92251"/>
                <a:gd name="connsiteY2" fmla="*/ 46126 h 92251"/>
                <a:gd name="connsiteX3" fmla="*/ 46126 w 92251"/>
                <a:gd name="connsiteY3" fmla="*/ 0 h 92251"/>
                <a:gd name="connsiteX4" fmla="*/ 92252 w 92251"/>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51" h="92251">
                  <a:moveTo>
                    <a:pt x="92252" y="46126"/>
                  </a:moveTo>
                  <a:cubicBezTo>
                    <a:pt x="92252" y="71625"/>
                    <a:pt x="71549" y="92252"/>
                    <a:pt x="46126" y="92252"/>
                  </a:cubicBezTo>
                  <a:cubicBezTo>
                    <a:pt x="20627" y="92252"/>
                    <a:pt x="0" y="71548"/>
                    <a:pt x="0" y="46126"/>
                  </a:cubicBezTo>
                  <a:cubicBezTo>
                    <a:pt x="0" y="20627"/>
                    <a:pt x="20703" y="0"/>
                    <a:pt x="46126" y="0"/>
                  </a:cubicBezTo>
                  <a:cubicBezTo>
                    <a:pt x="71549" y="0"/>
                    <a:pt x="92252" y="20703"/>
                    <a:pt x="92252" y="46126"/>
                  </a:cubicBezTo>
                </a:path>
              </a:pathLst>
            </a:custGeom>
            <a:grpFill/>
            <a:ln w="7608" cap="flat">
              <a:noFill/>
              <a:prstDash val="solid"/>
              <a:miter/>
            </a:ln>
          </p:spPr>
          <p:txBody>
            <a:bodyPr rtlCol="0" anchor="ctr"/>
            <a:lstStyle/>
            <a:p>
              <a:endParaRPr lang="hi-IN"/>
            </a:p>
          </p:txBody>
        </p:sp>
        <p:sp>
          <p:nvSpPr>
            <p:cNvPr id="1760" name="Freeform: Shape 759"/>
            <p:cNvSpPr/>
            <p:nvPr/>
          </p:nvSpPr>
          <p:spPr>
            <a:xfrm>
              <a:off x="11431767" y="2420166"/>
              <a:ext cx="95600" cy="95600"/>
            </a:xfrm>
            <a:custGeom>
              <a:avLst/>
              <a:gdLst>
                <a:gd name="connsiteX0" fmla="*/ 95600 w 95600"/>
                <a:gd name="connsiteY0" fmla="*/ 47800 h 95600"/>
                <a:gd name="connsiteX1" fmla="*/ 47801 w 95600"/>
                <a:gd name="connsiteY1" fmla="*/ 95601 h 95600"/>
                <a:gd name="connsiteX2" fmla="*/ 0 w 95600"/>
                <a:gd name="connsiteY2" fmla="*/ 47800 h 95600"/>
                <a:gd name="connsiteX3" fmla="*/ 47801 w 95600"/>
                <a:gd name="connsiteY3" fmla="*/ 0 h 95600"/>
                <a:gd name="connsiteX4" fmla="*/ 95600 w 95600"/>
                <a:gd name="connsiteY4" fmla="*/ 47800 h 9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00" h="95600">
                  <a:moveTo>
                    <a:pt x="95600" y="47800"/>
                  </a:moveTo>
                  <a:cubicBezTo>
                    <a:pt x="95600" y="74213"/>
                    <a:pt x="74213" y="95601"/>
                    <a:pt x="47801" y="95601"/>
                  </a:cubicBezTo>
                  <a:cubicBezTo>
                    <a:pt x="21388" y="95601"/>
                    <a:pt x="0" y="74213"/>
                    <a:pt x="0" y="47800"/>
                  </a:cubicBezTo>
                  <a:cubicBezTo>
                    <a:pt x="0" y="21388"/>
                    <a:pt x="21388" y="0"/>
                    <a:pt x="47801" y="0"/>
                  </a:cubicBezTo>
                  <a:cubicBezTo>
                    <a:pt x="74213" y="0"/>
                    <a:pt x="95600" y="21388"/>
                    <a:pt x="95600" y="47800"/>
                  </a:cubicBezTo>
                </a:path>
              </a:pathLst>
            </a:custGeom>
            <a:grpFill/>
            <a:ln w="7608" cap="flat">
              <a:noFill/>
              <a:prstDash val="solid"/>
              <a:miter/>
            </a:ln>
          </p:spPr>
          <p:txBody>
            <a:bodyPr rtlCol="0" anchor="ctr"/>
            <a:lstStyle/>
            <a:p>
              <a:endParaRPr lang="hi-IN"/>
            </a:p>
          </p:txBody>
        </p:sp>
        <p:sp>
          <p:nvSpPr>
            <p:cNvPr id="1761" name="Freeform: Shape 760"/>
            <p:cNvSpPr/>
            <p:nvPr/>
          </p:nvSpPr>
          <p:spPr>
            <a:xfrm>
              <a:off x="11346137" y="2265042"/>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11" y="0"/>
                    <a:pt x="97732" y="21845"/>
                    <a:pt x="97732" y="48866"/>
                  </a:cubicBezTo>
                </a:path>
              </a:pathLst>
            </a:custGeom>
            <a:grpFill/>
            <a:ln w="7608" cap="flat">
              <a:noFill/>
              <a:prstDash val="solid"/>
              <a:miter/>
            </a:ln>
          </p:spPr>
          <p:txBody>
            <a:bodyPr rtlCol="0" anchor="ctr"/>
            <a:lstStyle/>
            <a:p>
              <a:endParaRPr lang="hi-IN"/>
            </a:p>
          </p:txBody>
        </p:sp>
        <p:sp>
          <p:nvSpPr>
            <p:cNvPr id="1762" name="Freeform: Shape 761"/>
            <p:cNvSpPr/>
            <p:nvPr/>
          </p:nvSpPr>
          <p:spPr>
            <a:xfrm>
              <a:off x="11253961" y="2113649"/>
              <a:ext cx="99863" cy="99863"/>
            </a:xfrm>
            <a:custGeom>
              <a:avLst/>
              <a:gdLst>
                <a:gd name="connsiteX0" fmla="*/ 99863 w 99863"/>
                <a:gd name="connsiteY0" fmla="*/ 49932 h 99863"/>
                <a:gd name="connsiteX1" fmla="*/ 49931 w 99863"/>
                <a:gd name="connsiteY1" fmla="*/ 99863 h 99863"/>
                <a:gd name="connsiteX2" fmla="*/ 0 w 99863"/>
                <a:gd name="connsiteY2" fmla="*/ 49932 h 99863"/>
                <a:gd name="connsiteX3" fmla="*/ 49931 w 99863"/>
                <a:gd name="connsiteY3" fmla="*/ 0 h 99863"/>
                <a:gd name="connsiteX4" fmla="*/ 99863 w 99863"/>
                <a:gd name="connsiteY4" fmla="*/ 49932 h 99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863" h="99863">
                  <a:moveTo>
                    <a:pt x="99863" y="49932"/>
                  </a:moveTo>
                  <a:cubicBezTo>
                    <a:pt x="99863" y="77485"/>
                    <a:pt x="77485" y="99863"/>
                    <a:pt x="49931" y="99863"/>
                  </a:cubicBezTo>
                  <a:cubicBezTo>
                    <a:pt x="22377" y="99863"/>
                    <a:pt x="0" y="77485"/>
                    <a:pt x="0" y="49932"/>
                  </a:cubicBezTo>
                  <a:cubicBezTo>
                    <a:pt x="0" y="22378"/>
                    <a:pt x="22377" y="0"/>
                    <a:pt x="49931" y="0"/>
                  </a:cubicBezTo>
                  <a:cubicBezTo>
                    <a:pt x="77485" y="0"/>
                    <a:pt x="99863" y="22378"/>
                    <a:pt x="99863" y="49932"/>
                  </a:cubicBezTo>
                </a:path>
              </a:pathLst>
            </a:custGeom>
            <a:grpFill/>
            <a:ln w="7608" cap="flat">
              <a:noFill/>
              <a:prstDash val="solid"/>
              <a:miter/>
            </a:ln>
          </p:spPr>
          <p:txBody>
            <a:bodyPr rtlCol="0" anchor="ctr"/>
            <a:lstStyle/>
            <a:p>
              <a:endParaRPr lang="hi-IN"/>
            </a:p>
          </p:txBody>
        </p:sp>
        <p:sp>
          <p:nvSpPr>
            <p:cNvPr id="1763" name="Freeform: Shape 762"/>
            <p:cNvSpPr/>
            <p:nvPr/>
          </p:nvSpPr>
          <p:spPr>
            <a:xfrm>
              <a:off x="11155925" y="1966822"/>
              <a:ext cx="101005" cy="101005"/>
            </a:xfrm>
            <a:custGeom>
              <a:avLst/>
              <a:gdLst>
                <a:gd name="connsiteX0" fmla="*/ 101005 w 101005"/>
                <a:gd name="connsiteY0" fmla="*/ 50465 h 101005"/>
                <a:gd name="connsiteX1" fmla="*/ 50465 w 101005"/>
                <a:gd name="connsiteY1" fmla="*/ 101005 h 101005"/>
                <a:gd name="connsiteX2" fmla="*/ 0 w 101005"/>
                <a:gd name="connsiteY2" fmla="*/ 50465 h 101005"/>
                <a:gd name="connsiteX3" fmla="*/ 50465 w 101005"/>
                <a:gd name="connsiteY3" fmla="*/ 0 h 101005"/>
                <a:gd name="connsiteX4" fmla="*/ 101005 w 101005"/>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05" h="101005">
                  <a:moveTo>
                    <a:pt x="101005" y="50465"/>
                  </a:moveTo>
                  <a:cubicBezTo>
                    <a:pt x="101005" y="78323"/>
                    <a:pt x="78398" y="101005"/>
                    <a:pt x="50465" y="101005"/>
                  </a:cubicBezTo>
                  <a:cubicBezTo>
                    <a:pt x="22606" y="101005"/>
                    <a:pt x="0" y="78399"/>
                    <a:pt x="0" y="50465"/>
                  </a:cubicBezTo>
                  <a:cubicBezTo>
                    <a:pt x="0" y="22606"/>
                    <a:pt x="22606" y="0"/>
                    <a:pt x="50465" y="0"/>
                  </a:cubicBezTo>
                  <a:cubicBezTo>
                    <a:pt x="78398" y="0"/>
                    <a:pt x="101005" y="22606"/>
                    <a:pt x="101005" y="50465"/>
                  </a:cubicBezTo>
                </a:path>
              </a:pathLst>
            </a:custGeom>
            <a:grpFill/>
            <a:ln w="7608" cap="flat">
              <a:noFill/>
              <a:prstDash val="solid"/>
              <a:miter/>
            </a:ln>
          </p:spPr>
          <p:txBody>
            <a:bodyPr rtlCol="0" anchor="ctr"/>
            <a:lstStyle/>
            <a:p>
              <a:endParaRPr lang="hi-IN"/>
            </a:p>
          </p:txBody>
        </p:sp>
        <p:sp>
          <p:nvSpPr>
            <p:cNvPr id="1764" name="Freeform: Shape 763"/>
            <p:cNvSpPr/>
            <p:nvPr/>
          </p:nvSpPr>
          <p:spPr>
            <a:xfrm>
              <a:off x="11051722" y="1824258"/>
              <a:ext cx="102147" cy="102146"/>
            </a:xfrm>
            <a:custGeom>
              <a:avLst/>
              <a:gdLst>
                <a:gd name="connsiteX0" fmla="*/ 102147 w 102147"/>
                <a:gd name="connsiteY0" fmla="*/ 51074 h 102146"/>
                <a:gd name="connsiteX1" fmla="*/ 51074 w 102147"/>
                <a:gd name="connsiteY1" fmla="*/ 102147 h 102146"/>
                <a:gd name="connsiteX2" fmla="*/ 0 w 102147"/>
                <a:gd name="connsiteY2" fmla="*/ 51074 h 102146"/>
                <a:gd name="connsiteX3" fmla="*/ 51074 w 102147"/>
                <a:gd name="connsiteY3" fmla="*/ 0 h 102146"/>
                <a:gd name="connsiteX4" fmla="*/ 102147 w 102147"/>
                <a:gd name="connsiteY4" fmla="*/ 51074 h 102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47" h="102146">
                  <a:moveTo>
                    <a:pt x="102147" y="51074"/>
                  </a:moveTo>
                  <a:cubicBezTo>
                    <a:pt x="102147" y="79236"/>
                    <a:pt x="79313" y="102147"/>
                    <a:pt x="51074" y="102147"/>
                  </a:cubicBezTo>
                  <a:cubicBezTo>
                    <a:pt x="22911" y="102147"/>
                    <a:pt x="0" y="79312"/>
                    <a:pt x="0" y="51074"/>
                  </a:cubicBezTo>
                  <a:cubicBezTo>
                    <a:pt x="0" y="22911"/>
                    <a:pt x="22835" y="0"/>
                    <a:pt x="51074" y="0"/>
                  </a:cubicBezTo>
                  <a:cubicBezTo>
                    <a:pt x="79236" y="76"/>
                    <a:pt x="102147" y="22911"/>
                    <a:pt x="102147" y="51074"/>
                  </a:cubicBezTo>
                </a:path>
              </a:pathLst>
            </a:custGeom>
            <a:grpFill/>
            <a:ln w="7608" cap="flat">
              <a:noFill/>
              <a:prstDash val="solid"/>
              <a:miter/>
            </a:ln>
          </p:spPr>
          <p:txBody>
            <a:bodyPr rtlCol="0" anchor="ctr"/>
            <a:lstStyle/>
            <a:p>
              <a:endParaRPr lang="hi-IN"/>
            </a:p>
          </p:txBody>
        </p:sp>
        <p:sp>
          <p:nvSpPr>
            <p:cNvPr id="1765" name="Freeform: Shape 764"/>
            <p:cNvSpPr/>
            <p:nvPr/>
          </p:nvSpPr>
          <p:spPr>
            <a:xfrm>
              <a:off x="10941583" y="1686337"/>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3"/>
                    <a:pt x="80150" y="103213"/>
                    <a:pt x="51606" y="103213"/>
                  </a:cubicBezTo>
                  <a:cubicBezTo>
                    <a:pt x="23139" y="103213"/>
                    <a:pt x="0" y="80150"/>
                    <a:pt x="0" y="51606"/>
                  </a:cubicBezTo>
                  <a:cubicBezTo>
                    <a:pt x="0" y="23139"/>
                    <a:pt x="23063" y="0"/>
                    <a:pt x="51606" y="0"/>
                  </a:cubicBezTo>
                  <a:cubicBezTo>
                    <a:pt x="80150" y="0"/>
                    <a:pt x="103213" y="23139"/>
                    <a:pt x="103213" y="51606"/>
                  </a:cubicBezTo>
                </a:path>
              </a:pathLst>
            </a:custGeom>
            <a:grpFill/>
            <a:ln w="7608" cap="flat">
              <a:noFill/>
              <a:prstDash val="solid"/>
              <a:miter/>
            </a:ln>
          </p:spPr>
          <p:txBody>
            <a:bodyPr rtlCol="0" anchor="ctr"/>
            <a:lstStyle/>
            <a:p>
              <a:endParaRPr lang="hi-IN"/>
            </a:p>
          </p:txBody>
        </p:sp>
        <p:sp>
          <p:nvSpPr>
            <p:cNvPr id="1766" name="Freeform: Shape 765"/>
            <p:cNvSpPr/>
            <p:nvPr/>
          </p:nvSpPr>
          <p:spPr>
            <a:xfrm>
              <a:off x="10825736" y="1553211"/>
              <a:ext cx="104277" cy="104278"/>
            </a:xfrm>
            <a:custGeom>
              <a:avLst/>
              <a:gdLst>
                <a:gd name="connsiteX0" fmla="*/ 104278 w 104277"/>
                <a:gd name="connsiteY0" fmla="*/ 52139 h 104278"/>
                <a:gd name="connsiteX1" fmla="*/ 52139 w 104277"/>
                <a:gd name="connsiteY1" fmla="*/ 104278 h 104278"/>
                <a:gd name="connsiteX2" fmla="*/ 0 w 104277"/>
                <a:gd name="connsiteY2" fmla="*/ 52139 h 104278"/>
                <a:gd name="connsiteX3" fmla="*/ 52139 w 104277"/>
                <a:gd name="connsiteY3" fmla="*/ 0 h 104278"/>
                <a:gd name="connsiteX4" fmla="*/ 104278 w 104277"/>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7" h="104278">
                  <a:moveTo>
                    <a:pt x="104278" y="52139"/>
                  </a:moveTo>
                  <a:cubicBezTo>
                    <a:pt x="104278" y="80911"/>
                    <a:pt x="80911" y="104278"/>
                    <a:pt x="52139" y="104278"/>
                  </a:cubicBezTo>
                  <a:cubicBezTo>
                    <a:pt x="23367" y="104278"/>
                    <a:pt x="0" y="80911"/>
                    <a:pt x="0" y="52139"/>
                  </a:cubicBezTo>
                  <a:cubicBezTo>
                    <a:pt x="0" y="23367"/>
                    <a:pt x="23367" y="0"/>
                    <a:pt x="52139" y="0"/>
                  </a:cubicBezTo>
                  <a:cubicBezTo>
                    <a:pt x="80911" y="0"/>
                    <a:pt x="104278" y="23291"/>
                    <a:pt x="104278" y="52139"/>
                  </a:cubicBezTo>
                </a:path>
              </a:pathLst>
            </a:custGeom>
            <a:grpFill/>
            <a:ln w="7608" cap="flat">
              <a:noFill/>
              <a:prstDash val="solid"/>
              <a:miter/>
            </a:ln>
          </p:spPr>
          <p:txBody>
            <a:bodyPr rtlCol="0" anchor="ctr"/>
            <a:lstStyle/>
            <a:p>
              <a:endParaRPr lang="hi-IN"/>
            </a:p>
          </p:txBody>
        </p:sp>
        <p:sp>
          <p:nvSpPr>
            <p:cNvPr id="1767" name="Freeform: Shape 766"/>
            <p:cNvSpPr/>
            <p:nvPr/>
          </p:nvSpPr>
          <p:spPr>
            <a:xfrm>
              <a:off x="10704788" y="1425641"/>
              <a:ext cx="104277" cy="104278"/>
            </a:xfrm>
            <a:custGeom>
              <a:avLst/>
              <a:gdLst>
                <a:gd name="connsiteX0" fmla="*/ 104278 w 104277"/>
                <a:gd name="connsiteY0" fmla="*/ 52139 h 104278"/>
                <a:gd name="connsiteX1" fmla="*/ 52139 w 104277"/>
                <a:gd name="connsiteY1" fmla="*/ 104278 h 104278"/>
                <a:gd name="connsiteX2" fmla="*/ 0 w 104277"/>
                <a:gd name="connsiteY2" fmla="*/ 52139 h 104278"/>
                <a:gd name="connsiteX3" fmla="*/ 52139 w 104277"/>
                <a:gd name="connsiteY3" fmla="*/ 0 h 104278"/>
                <a:gd name="connsiteX4" fmla="*/ 104278 w 104277"/>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7" h="104278">
                  <a:moveTo>
                    <a:pt x="104278" y="52139"/>
                  </a:moveTo>
                  <a:cubicBezTo>
                    <a:pt x="104278" y="80911"/>
                    <a:pt x="80911" y="104278"/>
                    <a:pt x="52139" y="104278"/>
                  </a:cubicBezTo>
                  <a:cubicBezTo>
                    <a:pt x="23367" y="104278"/>
                    <a:pt x="0" y="80911"/>
                    <a:pt x="0" y="52139"/>
                  </a:cubicBezTo>
                  <a:cubicBezTo>
                    <a:pt x="0" y="23367"/>
                    <a:pt x="23367" y="0"/>
                    <a:pt x="52139" y="0"/>
                  </a:cubicBezTo>
                  <a:cubicBezTo>
                    <a:pt x="80911" y="0"/>
                    <a:pt x="104278" y="23367"/>
                    <a:pt x="104278" y="52139"/>
                  </a:cubicBezTo>
                </a:path>
              </a:pathLst>
            </a:custGeom>
            <a:grpFill/>
            <a:ln w="7608" cap="flat">
              <a:noFill/>
              <a:prstDash val="solid"/>
              <a:miter/>
            </a:ln>
          </p:spPr>
          <p:txBody>
            <a:bodyPr rtlCol="0" anchor="ctr"/>
            <a:lstStyle/>
            <a:p>
              <a:endParaRPr lang="hi-IN"/>
            </a:p>
          </p:txBody>
        </p:sp>
        <p:sp>
          <p:nvSpPr>
            <p:cNvPr id="1768" name="Freeform: Shape 767"/>
            <p:cNvSpPr/>
            <p:nvPr/>
          </p:nvSpPr>
          <p:spPr>
            <a:xfrm>
              <a:off x="10578513" y="1303324"/>
              <a:ext cx="104277" cy="104278"/>
            </a:xfrm>
            <a:custGeom>
              <a:avLst/>
              <a:gdLst>
                <a:gd name="connsiteX0" fmla="*/ 104278 w 104277"/>
                <a:gd name="connsiteY0" fmla="*/ 52139 h 104278"/>
                <a:gd name="connsiteX1" fmla="*/ 52139 w 104277"/>
                <a:gd name="connsiteY1" fmla="*/ 104278 h 104278"/>
                <a:gd name="connsiteX2" fmla="*/ 0 w 104277"/>
                <a:gd name="connsiteY2" fmla="*/ 52139 h 104278"/>
                <a:gd name="connsiteX3" fmla="*/ 52139 w 104277"/>
                <a:gd name="connsiteY3" fmla="*/ 0 h 104278"/>
                <a:gd name="connsiteX4" fmla="*/ 104278 w 104277"/>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7" h="104278">
                  <a:moveTo>
                    <a:pt x="104278" y="52139"/>
                  </a:moveTo>
                  <a:cubicBezTo>
                    <a:pt x="104278" y="80911"/>
                    <a:pt x="80911" y="104278"/>
                    <a:pt x="52139" y="104278"/>
                  </a:cubicBezTo>
                  <a:cubicBezTo>
                    <a:pt x="23367" y="104278"/>
                    <a:pt x="0" y="80911"/>
                    <a:pt x="0" y="52139"/>
                  </a:cubicBezTo>
                  <a:cubicBezTo>
                    <a:pt x="0" y="23367"/>
                    <a:pt x="23367" y="0"/>
                    <a:pt x="52139" y="0"/>
                  </a:cubicBezTo>
                  <a:cubicBezTo>
                    <a:pt x="80911" y="0"/>
                    <a:pt x="104278" y="23367"/>
                    <a:pt x="104278" y="52139"/>
                  </a:cubicBezTo>
                </a:path>
              </a:pathLst>
            </a:custGeom>
            <a:grpFill/>
            <a:ln w="7608" cap="flat">
              <a:noFill/>
              <a:prstDash val="solid"/>
              <a:miter/>
            </a:ln>
          </p:spPr>
          <p:txBody>
            <a:bodyPr rtlCol="0" anchor="ctr"/>
            <a:lstStyle/>
            <a:p>
              <a:endParaRPr lang="hi-IN"/>
            </a:p>
          </p:txBody>
        </p:sp>
        <p:sp>
          <p:nvSpPr>
            <p:cNvPr id="1769" name="Freeform: Shape 768"/>
            <p:cNvSpPr/>
            <p:nvPr/>
          </p:nvSpPr>
          <p:spPr>
            <a:xfrm>
              <a:off x="10447670" y="1187096"/>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3"/>
                    <a:pt x="80150" y="103213"/>
                    <a:pt x="51606" y="103213"/>
                  </a:cubicBezTo>
                  <a:cubicBezTo>
                    <a:pt x="23139" y="103213"/>
                    <a:pt x="0" y="80073"/>
                    <a:pt x="0" y="51606"/>
                  </a:cubicBezTo>
                  <a:cubicBezTo>
                    <a:pt x="0" y="23139"/>
                    <a:pt x="23063" y="0"/>
                    <a:pt x="51606" y="0"/>
                  </a:cubicBezTo>
                  <a:cubicBezTo>
                    <a:pt x="80150" y="0"/>
                    <a:pt x="103213" y="23139"/>
                    <a:pt x="103213" y="51606"/>
                  </a:cubicBezTo>
                </a:path>
              </a:pathLst>
            </a:custGeom>
            <a:grpFill/>
            <a:ln w="7608" cap="flat">
              <a:noFill/>
              <a:prstDash val="solid"/>
              <a:miter/>
            </a:ln>
          </p:spPr>
          <p:txBody>
            <a:bodyPr rtlCol="0" anchor="ctr"/>
            <a:lstStyle/>
            <a:p>
              <a:endParaRPr lang="hi-IN"/>
            </a:p>
          </p:txBody>
        </p:sp>
        <p:sp>
          <p:nvSpPr>
            <p:cNvPr id="1770" name="Freeform: Shape 769"/>
            <p:cNvSpPr/>
            <p:nvPr/>
          </p:nvSpPr>
          <p:spPr>
            <a:xfrm>
              <a:off x="10311424" y="1076043"/>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3"/>
                    <a:pt x="80150" y="103213"/>
                    <a:pt x="51606" y="103213"/>
                  </a:cubicBezTo>
                  <a:cubicBezTo>
                    <a:pt x="23139" y="103213"/>
                    <a:pt x="0" y="80073"/>
                    <a:pt x="0" y="51606"/>
                  </a:cubicBezTo>
                  <a:cubicBezTo>
                    <a:pt x="0" y="23139"/>
                    <a:pt x="23063" y="0"/>
                    <a:pt x="51606" y="0"/>
                  </a:cubicBezTo>
                  <a:cubicBezTo>
                    <a:pt x="80150" y="0"/>
                    <a:pt x="103213" y="23139"/>
                    <a:pt x="103213" y="51606"/>
                  </a:cubicBezTo>
                </a:path>
              </a:pathLst>
            </a:custGeom>
            <a:grpFill/>
            <a:ln w="7608" cap="flat">
              <a:noFill/>
              <a:prstDash val="solid"/>
              <a:miter/>
            </a:ln>
          </p:spPr>
          <p:txBody>
            <a:bodyPr rtlCol="0" anchor="ctr"/>
            <a:lstStyle/>
            <a:p>
              <a:endParaRPr lang="hi-IN"/>
            </a:p>
          </p:txBody>
        </p:sp>
        <p:sp>
          <p:nvSpPr>
            <p:cNvPr id="1771" name="Freeform: Shape 770"/>
            <p:cNvSpPr/>
            <p:nvPr/>
          </p:nvSpPr>
          <p:spPr>
            <a:xfrm>
              <a:off x="10171600" y="972070"/>
              <a:ext cx="101081" cy="101005"/>
            </a:xfrm>
            <a:custGeom>
              <a:avLst/>
              <a:gdLst>
                <a:gd name="connsiteX0" fmla="*/ 101082 w 101081"/>
                <a:gd name="connsiteY0" fmla="*/ 50465 h 101005"/>
                <a:gd name="connsiteX1" fmla="*/ 50541 w 101081"/>
                <a:gd name="connsiteY1" fmla="*/ 101005 h 101005"/>
                <a:gd name="connsiteX2" fmla="*/ 0 w 101081"/>
                <a:gd name="connsiteY2" fmla="*/ 50465 h 101005"/>
                <a:gd name="connsiteX3" fmla="*/ 50541 w 101081"/>
                <a:gd name="connsiteY3" fmla="*/ 0 h 101005"/>
                <a:gd name="connsiteX4" fmla="*/ 101082 w 101081"/>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81" h="101005">
                  <a:moveTo>
                    <a:pt x="101082" y="50465"/>
                  </a:moveTo>
                  <a:cubicBezTo>
                    <a:pt x="101082" y="78323"/>
                    <a:pt x="78475" y="101005"/>
                    <a:pt x="50541" y="101005"/>
                  </a:cubicBezTo>
                  <a:cubicBezTo>
                    <a:pt x="22683" y="101005"/>
                    <a:pt x="0" y="78399"/>
                    <a:pt x="0" y="50465"/>
                  </a:cubicBezTo>
                  <a:cubicBezTo>
                    <a:pt x="0" y="22606"/>
                    <a:pt x="22607" y="0"/>
                    <a:pt x="50541" y="0"/>
                  </a:cubicBezTo>
                  <a:cubicBezTo>
                    <a:pt x="78475" y="0"/>
                    <a:pt x="101082" y="22606"/>
                    <a:pt x="101082" y="50465"/>
                  </a:cubicBezTo>
                </a:path>
              </a:pathLst>
            </a:custGeom>
            <a:grpFill/>
            <a:ln w="7608" cap="flat">
              <a:noFill/>
              <a:prstDash val="solid"/>
              <a:miter/>
            </a:ln>
          </p:spPr>
          <p:txBody>
            <a:bodyPr rtlCol="0" anchor="ctr"/>
            <a:lstStyle/>
            <a:p>
              <a:endParaRPr lang="hi-IN"/>
            </a:p>
          </p:txBody>
        </p:sp>
        <p:sp>
          <p:nvSpPr>
            <p:cNvPr id="1772" name="Freeform: Shape 771"/>
            <p:cNvSpPr/>
            <p:nvPr/>
          </p:nvSpPr>
          <p:spPr>
            <a:xfrm>
              <a:off x="10027056" y="873576"/>
              <a:ext cx="99863" cy="99863"/>
            </a:xfrm>
            <a:custGeom>
              <a:avLst/>
              <a:gdLst>
                <a:gd name="connsiteX0" fmla="*/ 99863 w 99863"/>
                <a:gd name="connsiteY0" fmla="*/ 49932 h 99863"/>
                <a:gd name="connsiteX1" fmla="*/ 49932 w 99863"/>
                <a:gd name="connsiteY1" fmla="*/ 99863 h 99863"/>
                <a:gd name="connsiteX2" fmla="*/ 0 w 99863"/>
                <a:gd name="connsiteY2" fmla="*/ 49932 h 99863"/>
                <a:gd name="connsiteX3" fmla="*/ 49932 w 99863"/>
                <a:gd name="connsiteY3" fmla="*/ 0 h 99863"/>
                <a:gd name="connsiteX4" fmla="*/ 99863 w 99863"/>
                <a:gd name="connsiteY4" fmla="*/ 49932 h 99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863" h="99863">
                  <a:moveTo>
                    <a:pt x="99863" y="49932"/>
                  </a:moveTo>
                  <a:cubicBezTo>
                    <a:pt x="99863" y="77486"/>
                    <a:pt x="77486" y="99863"/>
                    <a:pt x="49932" y="99863"/>
                  </a:cubicBezTo>
                  <a:cubicBezTo>
                    <a:pt x="22302" y="99863"/>
                    <a:pt x="0" y="77486"/>
                    <a:pt x="0" y="49932"/>
                  </a:cubicBezTo>
                  <a:cubicBezTo>
                    <a:pt x="0" y="22378"/>
                    <a:pt x="22378" y="0"/>
                    <a:pt x="49932" y="0"/>
                  </a:cubicBezTo>
                  <a:cubicBezTo>
                    <a:pt x="77486" y="0"/>
                    <a:pt x="99863" y="22378"/>
                    <a:pt x="99863" y="49932"/>
                  </a:cubicBezTo>
                </a:path>
              </a:pathLst>
            </a:custGeom>
            <a:grpFill/>
            <a:ln w="7608" cap="flat">
              <a:noFill/>
              <a:prstDash val="solid"/>
              <a:miter/>
            </a:ln>
          </p:spPr>
          <p:txBody>
            <a:bodyPr rtlCol="0" anchor="ctr"/>
            <a:lstStyle/>
            <a:p>
              <a:endParaRPr lang="hi-IN"/>
            </a:p>
          </p:txBody>
        </p:sp>
        <p:sp>
          <p:nvSpPr>
            <p:cNvPr id="1773" name="Freeform: Shape 772"/>
            <p:cNvSpPr/>
            <p:nvPr/>
          </p:nvSpPr>
          <p:spPr>
            <a:xfrm>
              <a:off x="9878784" y="781933"/>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87" y="0"/>
                    <a:pt x="97732" y="21921"/>
                    <a:pt x="97732" y="48866"/>
                  </a:cubicBezTo>
                </a:path>
              </a:pathLst>
            </a:custGeom>
            <a:grpFill/>
            <a:ln w="7608" cap="flat">
              <a:noFill/>
              <a:prstDash val="solid"/>
              <a:miter/>
            </a:ln>
          </p:spPr>
          <p:txBody>
            <a:bodyPr rtlCol="0" anchor="ctr"/>
            <a:lstStyle/>
            <a:p>
              <a:endParaRPr lang="hi-IN"/>
            </a:p>
          </p:txBody>
        </p:sp>
        <p:sp>
          <p:nvSpPr>
            <p:cNvPr id="1774" name="Freeform: Shape 773"/>
            <p:cNvSpPr/>
            <p:nvPr/>
          </p:nvSpPr>
          <p:spPr>
            <a:xfrm>
              <a:off x="9726705" y="696760"/>
              <a:ext cx="95601" cy="95600"/>
            </a:xfrm>
            <a:custGeom>
              <a:avLst/>
              <a:gdLst>
                <a:gd name="connsiteX0" fmla="*/ 95601 w 95601"/>
                <a:gd name="connsiteY0" fmla="*/ 47800 h 95600"/>
                <a:gd name="connsiteX1" fmla="*/ 47801 w 95601"/>
                <a:gd name="connsiteY1" fmla="*/ 95601 h 95600"/>
                <a:gd name="connsiteX2" fmla="*/ 0 w 95601"/>
                <a:gd name="connsiteY2" fmla="*/ 47800 h 95600"/>
                <a:gd name="connsiteX3" fmla="*/ 47801 w 95601"/>
                <a:gd name="connsiteY3" fmla="*/ 0 h 95600"/>
                <a:gd name="connsiteX4" fmla="*/ 95601 w 95601"/>
                <a:gd name="connsiteY4" fmla="*/ 47800 h 9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01" h="95600">
                  <a:moveTo>
                    <a:pt x="95601" y="47800"/>
                  </a:moveTo>
                  <a:cubicBezTo>
                    <a:pt x="95601" y="74213"/>
                    <a:pt x="74213" y="95601"/>
                    <a:pt x="47801" y="95601"/>
                  </a:cubicBezTo>
                  <a:cubicBezTo>
                    <a:pt x="21389" y="95601"/>
                    <a:pt x="0" y="74213"/>
                    <a:pt x="0" y="47800"/>
                  </a:cubicBezTo>
                  <a:cubicBezTo>
                    <a:pt x="0" y="21388"/>
                    <a:pt x="21389" y="0"/>
                    <a:pt x="47801" y="0"/>
                  </a:cubicBezTo>
                  <a:cubicBezTo>
                    <a:pt x="74213" y="0"/>
                    <a:pt x="95601" y="21388"/>
                    <a:pt x="95601" y="47800"/>
                  </a:cubicBezTo>
                </a:path>
              </a:pathLst>
            </a:custGeom>
            <a:grpFill/>
            <a:ln w="7608" cap="flat">
              <a:noFill/>
              <a:prstDash val="solid"/>
              <a:miter/>
            </a:ln>
          </p:spPr>
          <p:txBody>
            <a:bodyPr rtlCol="0" anchor="ctr"/>
            <a:lstStyle/>
            <a:p>
              <a:endParaRPr lang="hi-IN"/>
            </a:p>
          </p:txBody>
        </p:sp>
        <p:sp>
          <p:nvSpPr>
            <p:cNvPr id="1775" name="Freeform: Shape 774"/>
            <p:cNvSpPr/>
            <p:nvPr/>
          </p:nvSpPr>
          <p:spPr>
            <a:xfrm>
              <a:off x="9571126" y="618209"/>
              <a:ext cx="93392" cy="93469"/>
            </a:xfrm>
            <a:custGeom>
              <a:avLst/>
              <a:gdLst>
                <a:gd name="connsiteX0" fmla="*/ 93393 w 93392"/>
                <a:gd name="connsiteY0" fmla="*/ 46735 h 93469"/>
                <a:gd name="connsiteX1" fmla="*/ 46658 w 93392"/>
                <a:gd name="connsiteY1" fmla="*/ 93470 h 93469"/>
                <a:gd name="connsiteX2" fmla="*/ 0 w 93392"/>
                <a:gd name="connsiteY2" fmla="*/ 46735 h 93469"/>
                <a:gd name="connsiteX3" fmla="*/ 46658 w 93392"/>
                <a:gd name="connsiteY3" fmla="*/ 0 h 93469"/>
                <a:gd name="connsiteX4" fmla="*/ 93393 w 93392"/>
                <a:gd name="connsiteY4" fmla="*/ 46735 h 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92" h="93469">
                  <a:moveTo>
                    <a:pt x="93393" y="46735"/>
                  </a:moveTo>
                  <a:cubicBezTo>
                    <a:pt x="93393" y="72538"/>
                    <a:pt x="72461" y="93470"/>
                    <a:pt x="46658" y="93470"/>
                  </a:cubicBezTo>
                  <a:cubicBezTo>
                    <a:pt x="20856" y="93470"/>
                    <a:pt x="0" y="72538"/>
                    <a:pt x="0" y="46735"/>
                  </a:cubicBezTo>
                  <a:cubicBezTo>
                    <a:pt x="0" y="20932"/>
                    <a:pt x="20932" y="0"/>
                    <a:pt x="46658" y="0"/>
                  </a:cubicBezTo>
                  <a:cubicBezTo>
                    <a:pt x="72461" y="0"/>
                    <a:pt x="93393" y="20932"/>
                    <a:pt x="93393" y="46735"/>
                  </a:cubicBezTo>
                </a:path>
              </a:pathLst>
            </a:custGeom>
            <a:grpFill/>
            <a:ln w="7608" cap="flat">
              <a:noFill/>
              <a:prstDash val="solid"/>
              <a:miter/>
            </a:ln>
          </p:spPr>
          <p:txBody>
            <a:bodyPr rtlCol="0" anchor="ctr"/>
            <a:lstStyle/>
            <a:p>
              <a:endParaRPr lang="hi-IN"/>
            </a:p>
          </p:txBody>
        </p:sp>
        <p:sp>
          <p:nvSpPr>
            <p:cNvPr id="1776" name="Freeform: Shape 775"/>
            <p:cNvSpPr/>
            <p:nvPr/>
          </p:nvSpPr>
          <p:spPr>
            <a:xfrm>
              <a:off x="9412805" y="547041"/>
              <a:ext cx="90120" cy="90120"/>
            </a:xfrm>
            <a:custGeom>
              <a:avLst/>
              <a:gdLst>
                <a:gd name="connsiteX0" fmla="*/ 90120 w 90120"/>
                <a:gd name="connsiteY0" fmla="*/ 45060 h 90120"/>
                <a:gd name="connsiteX1" fmla="*/ 45061 w 90120"/>
                <a:gd name="connsiteY1" fmla="*/ 90121 h 90120"/>
                <a:gd name="connsiteX2" fmla="*/ 0 w 90120"/>
                <a:gd name="connsiteY2" fmla="*/ 45060 h 90120"/>
                <a:gd name="connsiteX3" fmla="*/ 45061 w 90120"/>
                <a:gd name="connsiteY3" fmla="*/ 0 h 90120"/>
                <a:gd name="connsiteX4" fmla="*/ 90120 w 90120"/>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0" h="90120">
                  <a:moveTo>
                    <a:pt x="90120" y="45060"/>
                  </a:moveTo>
                  <a:cubicBezTo>
                    <a:pt x="90120" y="69950"/>
                    <a:pt x="69950" y="90121"/>
                    <a:pt x="45061" y="90121"/>
                  </a:cubicBezTo>
                  <a:cubicBezTo>
                    <a:pt x="20171" y="90121"/>
                    <a:pt x="0" y="69950"/>
                    <a:pt x="0" y="45060"/>
                  </a:cubicBezTo>
                  <a:cubicBezTo>
                    <a:pt x="0" y="20171"/>
                    <a:pt x="20171" y="0"/>
                    <a:pt x="45061" y="0"/>
                  </a:cubicBezTo>
                  <a:cubicBezTo>
                    <a:pt x="69950" y="0"/>
                    <a:pt x="90120" y="20171"/>
                    <a:pt x="90120" y="45060"/>
                  </a:cubicBezTo>
                </a:path>
              </a:pathLst>
            </a:custGeom>
            <a:grpFill/>
            <a:ln w="7608" cap="flat">
              <a:noFill/>
              <a:prstDash val="solid"/>
              <a:miter/>
            </a:ln>
          </p:spPr>
          <p:txBody>
            <a:bodyPr rtlCol="0" anchor="ctr"/>
            <a:lstStyle/>
            <a:p>
              <a:endParaRPr lang="hi-IN"/>
            </a:p>
          </p:txBody>
        </p:sp>
        <p:sp>
          <p:nvSpPr>
            <p:cNvPr id="1777" name="Freeform: Shape 776"/>
            <p:cNvSpPr/>
            <p:nvPr/>
          </p:nvSpPr>
          <p:spPr>
            <a:xfrm>
              <a:off x="9250984" y="482115"/>
              <a:ext cx="87989" cy="87989"/>
            </a:xfrm>
            <a:custGeom>
              <a:avLst/>
              <a:gdLst>
                <a:gd name="connsiteX0" fmla="*/ 87990 w 87989"/>
                <a:gd name="connsiteY0" fmla="*/ 43995 h 87989"/>
                <a:gd name="connsiteX1" fmla="*/ 43995 w 87989"/>
                <a:gd name="connsiteY1" fmla="*/ 87989 h 87989"/>
                <a:gd name="connsiteX2" fmla="*/ 0 w 87989"/>
                <a:gd name="connsiteY2" fmla="*/ 43995 h 87989"/>
                <a:gd name="connsiteX3" fmla="*/ 43995 w 87989"/>
                <a:gd name="connsiteY3" fmla="*/ 0 h 87989"/>
                <a:gd name="connsiteX4" fmla="*/ 87990 w 87989"/>
                <a:gd name="connsiteY4" fmla="*/ 43995 h 87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89" h="87989">
                  <a:moveTo>
                    <a:pt x="87990" y="43995"/>
                  </a:moveTo>
                  <a:cubicBezTo>
                    <a:pt x="87990" y="68276"/>
                    <a:pt x="68275" y="87989"/>
                    <a:pt x="43995" y="87989"/>
                  </a:cubicBezTo>
                  <a:cubicBezTo>
                    <a:pt x="19714" y="87989"/>
                    <a:pt x="0" y="68276"/>
                    <a:pt x="0" y="43995"/>
                  </a:cubicBezTo>
                  <a:cubicBezTo>
                    <a:pt x="0" y="19714"/>
                    <a:pt x="19714" y="0"/>
                    <a:pt x="43995" y="0"/>
                  </a:cubicBezTo>
                  <a:cubicBezTo>
                    <a:pt x="68275" y="0"/>
                    <a:pt x="87990" y="19714"/>
                    <a:pt x="87990" y="43995"/>
                  </a:cubicBezTo>
                </a:path>
              </a:pathLst>
            </a:custGeom>
            <a:grpFill/>
            <a:ln w="7608" cap="flat">
              <a:noFill/>
              <a:prstDash val="solid"/>
              <a:miter/>
            </a:ln>
          </p:spPr>
          <p:txBody>
            <a:bodyPr rtlCol="0" anchor="ctr"/>
            <a:lstStyle/>
            <a:p>
              <a:endParaRPr lang="hi-IN"/>
            </a:p>
          </p:txBody>
        </p:sp>
        <p:sp>
          <p:nvSpPr>
            <p:cNvPr id="1778" name="Freeform: Shape 777"/>
            <p:cNvSpPr/>
            <p:nvPr/>
          </p:nvSpPr>
          <p:spPr>
            <a:xfrm>
              <a:off x="9087107" y="424876"/>
              <a:ext cx="84640" cy="84716"/>
            </a:xfrm>
            <a:custGeom>
              <a:avLst/>
              <a:gdLst>
                <a:gd name="connsiteX0" fmla="*/ 84640 w 84640"/>
                <a:gd name="connsiteY0" fmla="*/ 42320 h 84716"/>
                <a:gd name="connsiteX1" fmla="*/ 42321 w 84640"/>
                <a:gd name="connsiteY1" fmla="*/ 84717 h 84716"/>
                <a:gd name="connsiteX2" fmla="*/ 0 w 84640"/>
                <a:gd name="connsiteY2" fmla="*/ 42320 h 84716"/>
                <a:gd name="connsiteX3" fmla="*/ 42321 w 84640"/>
                <a:gd name="connsiteY3" fmla="*/ 0 h 84716"/>
                <a:gd name="connsiteX4" fmla="*/ 84640 w 84640"/>
                <a:gd name="connsiteY4" fmla="*/ 42320 h 84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40" h="84716">
                  <a:moveTo>
                    <a:pt x="84640" y="42320"/>
                  </a:moveTo>
                  <a:cubicBezTo>
                    <a:pt x="84640" y="65688"/>
                    <a:pt x="65688" y="84717"/>
                    <a:pt x="42321" y="84717"/>
                  </a:cubicBezTo>
                  <a:cubicBezTo>
                    <a:pt x="18953" y="84717"/>
                    <a:pt x="0" y="65764"/>
                    <a:pt x="0" y="42320"/>
                  </a:cubicBezTo>
                  <a:cubicBezTo>
                    <a:pt x="0" y="18953"/>
                    <a:pt x="18953" y="0"/>
                    <a:pt x="42321" y="0"/>
                  </a:cubicBezTo>
                  <a:cubicBezTo>
                    <a:pt x="65688" y="-76"/>
                    <a:pt x="84640" y="18953"/>
                    <a:pt x="84640" y="42320"/>
                  </a:cubicBezTo>
                </a:path>
              </a:pathLst>
            </a:custGeom>
            <a:grpFill/>
            <a:ln w="7608" cap="flat">
              <a:noFill/>
              <a:prstDash val="solid"/>
              <a:miter/>
            </a:ln>
          </p:spPr>
          <p:txBody>
            <a:bodyPr rtlCol="0" anchor="ctr"/>
            <a:lstStyle/>
            <a:p>
              <a:endParaRPr lang="hi-IN"/>
            </a:p>
          </p:txBody>
        </p:sp>
        <p:sp>
          <p:nvSpPr>
            <p:cNvPr id="1779" name="Freeform: Shape 778"/>
            <p:cNvSpPr/>
            <p:nvPr/>
          </p:nvSpPr>
          <p:spPr>
            <a:xfrm>
              <a:off x="8920719" y="374640"/>
              <a:ext cx="81444" cy="81443"/>
            </a:xfrm>
            <a:custGeom>
              <a:avLst/>
              <a:gdLst>
                <a:gd name="connsiteX0" fmla="*/ 81444 w 81444"/>
                <a:gd name="connsiteY0" fmla="*/ 40722 h 81443"/>
                <a:gd name="connsiteX1" fmla="*/ 40722 w 81444"/>
                <a:gd name="connsiteY1" fmla="*/ 81443 h 81443"/>
                <a:gd name="connsiteX2" fmla="*/ 0 w 81444"/>
                <a:gd name="connsiteY2" fmla="*/ 40722 h 81443"/>
                <a:gd name="connsiteX3" fmla="*/ 40722 w 81444"/>
                <a:gd name="connsiteY3" fmla="*/ 0 h 81443"/>
                <a:gd name="connsiteX4" fmla="*/ 81444 w 81444"/>
                <a:gd name="connsiteY4" fmla="*/ 40722 h 8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4" h="81443">
                  <a:moveTo>
                    <a:pt x="81444" y="40722"/>
                  </a:moveTo>
                  <a:cubicBezTo>
                    <a:pt x="81444" y="63252"/>
                    <a:pt x="63176" y="81443"/>
                    <a:pt x="40722" y="81443"/>
                  </a:cubicBezTo>
                  <a:cubicBezTo>
                    <a:pt x="18268" y="81443"/>
                    <a:pt x="0" y="63176"/>
                    <a:pt x="0" y="40722"/>
                  </a:cubicBezTo>
                  <a:cubicBezTo>
                    <a:pt x="0" y="18192"/>
                    <a:pt x="18268" y="0"/>
                    <a:pt x="40722" y="0"/>
                  </a:cubicBezTo>
                  <a:cubicBezTo>
                    <a:pt x="63176" y="0"/>
                    <a:pt x="81444" y="18268"/>
                    <a:pt x="81444" y="40722"/>
                  </a:cubicBezTo>
                </a:path>
              </a:pathLst>
            </a:custGeom>
            <a:grpFill/>
            <a:ln w="7608" cap="flat">
              <a:noFill/>
              <a:prstDash val="solid"/>
              <a:miter/>
            </a:ln>
          </p:spPr>
          <p:txBody>
            <a:bodyPr rtlCol="0" anchor="ctr"/>
            <a:lstStyle/>
            <a:p>
              <a:endParaRPr lang="hi-IN"/>
            </a:p>
          </p:txBody>
        </p:sp>
        <p:sp>
          <p:nvSpPr>
            <p:cNvPr id="1780" name="Freeform: Shape 779"/>
            <p:cNvSpPr/>
            <p:nvPr/>
          </p:nvSpPr>
          <p:spPr>
            <a:xfrm>
              <a:off x="8752885" y="332243"/>
              <a:ext cx="77104" cy="77104"/>
            </a:xfrm>
            <a:custGeom>
              <a:avLst/>
              <a:gdLst>
                <a:gd name="connsiteX0" fmla="*/ 77104 w 77104"/>
                <a:gd name="connsiteY0" fmla="*/ 38591 h 77104"/>
                <a:gd name="connsiteX1" fmla="*/ 38590 w 77104"/>
                <a:gd name="connsiteY1" fmla="*/ 77105 h 77104"/>
                <a:gd name="connsiteX2" fmla="*/ 0 w 77104"/>
                <a:gd name="connsiteY2" fmla="*/ 38591 h 77104"/>
                <a:gd name="connsiteX3" fmla="*/ 38590 w 77104"/>
                <a:gd name="connsiteY3" fmla="*/ 0 h 77104"/>
                <a:gd name="connsiteX4" fmla="*/ 77104 w 77104"/>
                <a:gd name="connsiteY4" fmla="*/ 38591 h 77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04" h="77104">
                  <a:moveTo>
                    <a:pt x="77104" y="38591"/>
                  </a:moveTo>
                  <a:cubicBezTo>
                    <a:pt x="77104" y="59903"/>
                    <a:pt x="59827" y="77105"/>
                    <a:pt x="38590" y="77105"/>
                  </a:cubicBezTo>
                  <a:cubicBezTo>
                    <a:pt x="17277" y="77105"/>
                    <a:pt x="0" y="59827"/>
                    <a:pt x="0" y="38591"/>
                  </a:cubicBezTo>
                  <a:cubicBezTo>
                    <a:pt x="0" y="17278"/>
                    <a:pt x="17277" y="0"/>
                    <a:pt x="38590" y="0"/>
                  </a:cubicBezTo>
                  <a:cubicBezTo>
                    <a:pt x="59827" y="0"/>
                    <a:pt x="77104" y="17278"/>
                    <a:pt x="77104" y="38591"/>
                  </a:cubicBezTo>
                </a:path>
              </a:pathLst>
            </a:custGeom>
            <a:grpFill/>
            <a:ln w="7608" cap="flat">
              <a:noFill/>
              <a:prstDash val="solid"/>
              <a:miter/>
            </a:ln>
          </p:spPr>
          <p:txBody>
            <a:bodyPr rtlCol="0" anchor="ctr"/>
            <a:lstStyle/>
            <a:p>
              <a:endParaRPr lang="hi-IN"/>
            </a:p>
          </p:txBody>
        </p:sp>
        <p:sp>
          <p:nvSpPr>
            <p:cNvPr id="1781" name="Freeform: Shape 780"/>
            <p:cNvSpPr/>
            <p:nvPr/>
          </p:nvSpPr>
          <p:spPr>
            <a:xfrm>
              <a:off x="8582766" y="296621"/>
              <a:ext cx="73832" cy="73831"/>
            </a:xfrm>
            <a:custGeom>
              <a:avLst/>
              <a:gdLst>
                <a:gd name="connsiteX0" fmla="*/ 73833 w 73832"/>
                <a:gd name="connsiteY0" fmla="*/ 36916 h 73831"/>
                <a:gd name="connsiteX1" fmla="*/ 36917 w 73832"/>
                <a:gd name="connsiteY1" fmla="*/ 73832 h 73831"/>
                <a:gd name="connsiteX2" fmla="*/ 0 w 73832"/>
                <a:gd name="connsiteY2" fmla="*/ 36916 h 73831"/>
                <a:gd name="connsiteX3" fmla="*/ 36917 w 73832"/>
                <a:gd name="connsiteY3" fmla="*/ 0 h 73831"/>
                <a:gd name="connsiteX4" fmla="*/ 73833 w 73832"/>
                <a:gd name="connsiteY4" fmla="*/ 36916 h 7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2" h="73831">
                  <a:moveTo>
                    <a:pt x="73833" y="36916"/>
                  </a:moveTo>
                  <a:cubicBezTo>
                    <a:pt x="73833" y="57315"/>
                    <a:pt x="57315" y="73832"/>
                    <a:pt x="36917" y="73832"/>
                  </a:cubicBezTo>
                  <a:cubicBezTo>
                    <a:pt x="16517" y="73832"/>
                    <a:pt x="0" y="57315"/>
                    <a:pt x="0" y="36916"/>
                  </a:cubicBezTo>
                  <a:cubicBezTo>
                    <a:pt x="0" y="16517"/>
                    <a:pt x="16517" y="0"/>
                    <a:pt x="36917" y="0"/>
                  </a:cubicBezTo>
                  <a:cubicBezTo>
                    <a:pt x="57239" y="0"/>
                    <a:pt x="73833" y="16517"/>
                    <a:pt x="73833" y="36916"/>
                  </a:cubicBezTo>
                </a:path>
              </a:pathLst>
            </a:custGeom>
            <a:grpFill/>
            <a:ln w="7608" cap="flat">
              <a:noFill/>
              <a:prstDash val="solid"/>
              <a:miter/>
            </a:ln>
          </p:spPr>
          <p:txBody>
            <a:bodyPr rtlCol="0" anchor="ctr"/>
            <a:lstStyle/>
            <a:p>
              <a:endParaRPr lang="hi-IN"/>
            </a:p>
          </p:txBody>
        </p:sp>
        <p:sp>
          <p:nvSpPr>
            <p:cNvPr id="1782" name="Freeform: Shape 781"/>
            <p:cNvSpPr/>
            <p:nvPr/>
          </p:nvSpPr>
          <p:spPr>
            <a:xfrm>
              <a:off x="8411659" y="268839"/>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3966" y="0"/>
                    <a:pt x="69570" y="15604"/>
                    <a:pt x="69570" y="34785"/>
                  </a:cubicBezTo>
                </a:path>
              </a:pathLst>
            </a:custGeom>
            <a:grpFill/>
            <a:ln w="7608" cap="flat">
              <a:noFill/>
              <a:prstDash val="solid"/>
              <a:miter/>
            </a:ln>
          </p:spPr>
          <p:txBody>
            <a:bodyPr rtlCol="0" anchor="ctr"/>
            <a:lstStyle/>
            <a:p>
              <a:endParaRPr lang="hi-IN"/>
            </a:p>
          </p:txBody>
        </p:sp>
        <p:sp>
          <p:nvSpPr>
            <p:cNvPr id="1783" name="Freeform: Shape 782"/>
            <p:cNvSpPr/>
            <p:nvPr/>
          </p:nvSpPr>
          <p:spPr>
            <a:xfrm>
              <a:off x="8239562" y="248592"/>
              <a:ext cx="65155" cy="65154"/>
            </a:xfrm>
            <a:custGeom>
              <a:avLst/>
              <a:gdLst>
                <a:gd name="connsiteX0" fmla="*/ 65155 w 65155"/>
                <a:gd name="connsiteY0" fmla="*/ 32577 h 65154"/>
                <a:gd name="connsiteX1" fmla="*/ 32578 w 65155"/>
                <a:gd name="connsiteY1" fmla="*/ 65155 h 65154"/>
                <a:gd name="connsiteX2" fmla="*/ 0 w 65155"/>
                <a:gd name="connsiteY2" fmla="*/ 32577 h 65154"/>
                <a:gd name="connsiteX3" fmla="*/ 32578 w 65155"/>
                <a:gd name="connsiteY3" fmla="*/ 0 h 65154"/>
                <a:gd name="connsiteX4" fmla="*/ 65155 w 65155"/>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5" h="65154">
                  <a:moveTo>
                    <a:pt x="65155" y="32577"/>
                  </a:moveTo>
                  <a:cubicBezTo>
                    <a:pt x="65155" y="50541"/>
                    <a:pt x="50541" y="65155"/>
                    <a:pt x="32578" y="65155"/>
                  </a:cubicBezTo>
                  <a:cubicBezTo>
                    <a:pt x="14614" y="65155"/>
                    <a:pt x="0" y="50541"/>
                    <a:pt x="0" y="32577"/>
                  </a:cubicBezTo>
                  <a:cubicBezTo>
                    <a:pt x="0" y="14614"/>
                    <a:pt x="14614" y="0"/>
                    <a:pt x="32578" y="0"/>
                  </a:cubicBezTo>
                  <a:cubicBezTo>
                    <a:pt x="50541" y="0"/>
                    <a:pt x="65155" y="14538"/>
                    <a:pt x="65155" y="32577"/>
                  </a:cubicBezTo>
                </a:path>
              </a:pathLst>
            </a:custGeom>
            <a:grpFill/>
            <a:ln w="7608" cap="flat">
              <a:noFill/>
              <a:prstDash val="solid"/>
              <a:miter/>
            </a:ln>
          </p:spPr>
          <p:txBody>
            <a:bodyPr rtlCol="0" anchor="ctr"/>
            <a:lstStyle/>
            <a:p>
              <a:endParaRPr lang="hi-IN"/>
            </a:p>
          </p:txBody>
        </p:sp>
        <p:sp>
          <p:nvSpPr>
            <p:cNvPr id="1784" name="Freeform: Shape 783"/>
            <p:cNvSpPr/>
            <p:nvPr/>
          </p:nvSpPr>
          <p:spPr>
            <a:xfrm>
              <a:off x="8066704" y="235729"/>
              <a:ext cx="60739" cy="60816"/>
            </a:xfrm>
            <a:custGeom>
              <a:avLst/>
              <a:gdLst>
                <a:gd name="connsiteX0" fmla="*/ 60740 w 60739"/>
                <a:gd name="connsiteY0" fmla="*/ 30370 h 60816"/>
                <a:gd name="connsiteX1" fmla="*/ 30370 w 60739"/>
                <a:gd name="connsiteY1" fmla="*/ 60816 h 60816"/>
                <a:gd name="connsiteX2" fmla="*/ 0 w 60739"/>
                <a:gd name="connsiteY2" fmla="*/ 30370 h 60816"/>
                <a:gd name="connsiteX3" fmla="*/ 30370 w 60739"/>
                <a:gd name="connsiteY3" fmla="*/ 0 h 60816"/>
                <a:gd name="connsiteX4" fmla="*/ 60740 w 60739"/>
                <a:gd name="connsiteY4" fmla="*/ 30370 h 60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39" h="60816">
                  <a:moveTo>
                    <a:pt x="60740" y="30370"/>
                  </a:moveTo>
                  <a:cubicBezTo>
                    <a:pt x="60740" y="47192"/>
                    <a:pt x="47115" y="60816"/>
                    <a:pt x="30370" y="60816"/>
                  </a:cubicBezTo>
                  <a:cubicBezTo>
                    <a:pt x="13548" y="60816"/>
                    <a:pt x="0" y="47192"/>
                    <a:pt x="0" y="30370"/>
                  </a:cubicBezTo>
                  <a:cubicBezTo>
                    <a:pt x="0" y="13549"/>
                    <a:pt x="13624" y="0"/>
                    <a:pt x="30370" y="0"/>
                  </a:cubicBezTo>
                  <a:cubicBezTo>
                    <a:pt x="47115" y="0"/>
                    <a:pt x="60740" y="13625"/>
                    <a:pt x="60740" y="30370"/>
                  </a:cubicBezTo>
                </a:path>
              </a:pathLst>
            </a:custGeom>
            <a:grpFill/>
            <a:ln w="7608" cap="flat">
              <a:noFill/>
              <a:prstDash val="solid"/>
              <a:miter/>
            </a:ln>
          </p:spPr>
          <p:txBody>
            <a:bodyPr rtlCol="0" anchor="ctr"/>
            <a:lstStyle/>
            <a:p>
              <a:endParaRPr lang="hi-IN"/>
            </a:p>
          </p:txBody>
        </p:sp>
        <p:sp>
          <p:nvSpPr>
            <p:cNvPr id="1785" name="Freeform: Shape 784"/>
            <p:cNvSpPr/>
            <p:nvPr/>
          </p:nvSpPr>
          <p:spPr>
            <a:xfrm>
              <a:off x="7893161" y="230401"/>
              <a:ext cx="56477" cy="56477"/>
            </a:xfrm>
            <a:custGeom>
              <a:avLst/>
              <a:gdLst>
                <a:gd name="connsiteX0" fmla="*/ 56478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8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8" y="28239"/>
                  </a:moveTo>
                  <a:cubicBezTo>
                    <a:pt x="56478" y="43842"/>
                    <a:pt x="43843" y="56478"/>
                    <a:pt x="28239" y="56478"/>
                  </a:cubicBezTo>
                  <a:cubicBezTo>
                    <a:pt x="12635" y="56478"/>
                    <a:pt x="0" y="43842"/>
                    <a:pt x="0" y="28239"/>
                  </a:cubicBezTo>
                  <a:cubicBezTo>
                    <a:pt x="0" y="12635"/>
                    <a:pt x="12635" y="0"/>
                    <a:pt x="28239" y="0"/>
                  </a:cubicBezTo>
                  <a:cubicBezTo>
                    <a:pt x="43843" y="0"/>
                    <a:pt x="56478" y="12635"/>
                    <a:pt x="56478" y="28239"/>
                  </a:cubicBezTo>
                </a:path>
              </a:pathLst>
            </a:custGeom>
            <a:grpFill/>
            <a:ln w="7608" cap="flat">
              <a:noFill/>
              <a:prstDash val="solid"/>
              <a:miter/>
            </a:ln>
          </p:spPr>
          <p:txBody>
            <a:bodyPr rtlCol="0" anchor="ctr"/>
            <a:lstStyle/>
            <a:p>
              <a:endParaRPr lang="hi-IN"/>
            </a:p>
          </p:txBody>
        </p:sp>
        <p:sp>
          <p:nvSpPr>
            <p:cNvPr id="1786" name="Freeform: Shape 785"/>
            <p:cNvSpPr/>
            <p:nvPr/>
          </p:nvSpPr>
          <p:spPr>
            <a:xfrm>
              <a:off x="7719541" y="232608"/>
              <a:ext cx="52139" cy="52063"/>
            </a:xfrm>
            <a:custGeom>
              <a:avLst/>
              <a:gdLst>
                <a:gd name="connsiteX0" fmla="*/ 52139 w 52139"/>
                <a:gd name="connsiteY0" fmla="*/ 26032 h 52063"/>
                <a:gd name="connsiteX1" fmla="*/ 26108 w 52139"/>
                <a:gd name="connsiteY1" fmla="*/ 52063 h 52063"/>
                <a:gd name="connsiteX2" fmla="*/ 0 w 52139"/>
                <a:gd name="connsiteY2" fmla="*/ 26032 h 52063"/>
                <a:gd name="connsiteX3" fmla="*/ 26108 w 52139"/>
                <a:gd name="connsiteY3" fmla="*/ 0 h 52063"/>
                <a:gd name="connsiteX4" fmla="*/ 52139 w 52139"/>
                <a:gd name="connsiteY4" fmla="*/ 26032 h 52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9" h="52063">
                  <a:moveTo>
                    <a:pt x="52139" y="26032"/>
                  </a:moveTo>
                  <a:cubicBezTo>
                    <a:pt x="52139" y="40418"/>
                    <a:pt x="40493" y="52063"/>
                    <a:pt x="26108" y="52063"/>
                  </a:cubicBezTo>
                  <a:cubicBezTo>
                    <a:pt x="11722" y="52063"/>
                    <a:pt x="0" y="40418"/>
                    <a:pt x="0" y="26032"/>
                  </a:cubicBezTo>
                  <a:cubicBezTo>
                    <a:pt x="0" y="11646"/>
                    <a:pt x="11646" y="0"/>
                    <a:pt x="26108" y="0"/>
                  </a:cubicBezTo>
                  <a:cubicBezTo>
                    <a:pt x="40493" y="-76"/>
                    <a:pt x="52139" y="11646"/>
                    <a:pt x="52139" y="26032"/>
                  </a:cubicBezTo>
                </a:path>
              </a:pathLst>
            </a:custGeom>
            <a:grpFill/>
            <a:ln w="7608" cap="flat">
              <a:noFill/>
              <a:prstDash val="solid"/>
              <a:miter/>
            </a:ln>
          </p:spPr>
          <p:txBody>
            <a:bodyPr rtlCol="0" anchor="ctr"/>
            <a:lstStyle/>
            <a:p>
              <a:endParaRPr lang="hi-IN"/>
            </a:p>
          </p:txBody>
        </p:sp>
        <p:sp>
          <p:nvSpPr>
            <p:cNvPr id="1787" name="Freeform: Shape 786"/>
            <p:cNvSpPr/>
            <p:nvPr/>
          </p:nvSpPr>
          <p:spPr>
            <a:xfrm>
              <a:off x="7546151" y="242199"/>
              <a:ext cx="47800" cy="47800"/>
            </a:xfrm>
            <a:custGeom>
              <a:avLst/>
              <a:gdLst>
                <a:gd name="connsiteX0" fmla="*/ 47800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0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0" y="23900"/>
                  </a:moveTo>
                  <a:cubicBezTo>
                    <a:pt x="47800" y="37068"/>
                    <a:pt x="37068" y="47800"/>
                    <a:pt x="23900" y="47800"/>
                  </a:cubicBezTo>
                  <a:cubicBezTo>
                    <a:pt x="10732" y="47800"/>
                    <a:pt x="0" y="37068"/>
                    <a:pt x="0" y="23900"/>
                  </a:cubicBezTo>
                  <a:cubicBezTo>
                    <a:pt x="0" y="10732"/>
                    <a:pt x="10732" y="0"/>
                    <a:pt x="23900" y="0"/>
                  </a:cubicBezTo>
                  <a:cubicBezTo>
                    <a:pt x="37068" y="76"/>
                    <a:pt x="47800" y="10732"/>
                    <a:pt x="47800" y="23900"/>
                  </a:cubicBezTo>
                </a:path>
              </a:pathLst>
            </a:custGeom>
            <a:grpFill/>
            <a:ln w="7608" cap="flat">
              <a:noFill/>
              <a:prstDash val="solid"/>
              <a:miter/>
            </a:ln>
          </p:spPr>
          <p:txBody>
            <a:bodyPr rtlCol="0" anchor="ctr"/>
            <a:lstStyle/>
            <a:p>
              <a:endParaRPr lang="hi-IN"/>
            </a:p>
          </p:txBody>
        </p:sp>
        <p:sp>
          <p:nvSpPr>
            <p:cNvPr id="1788" name="Freeform: Shape 787"/>
            <p:cNvSpPr/>
            <p:nvPr/>
          </p:nvSpPr>
          <p:spPr>
            <a:xfrm>
              <a:off x="7373216" y="259477"/>
              <a:ext cx="43385" cy="43386"/>
            </a:xfrm>
            <a:custGeom>
              <a:avLst/>
              <a:gdLst>
                <a:gd name="connsiteX0" fmla="*/ 43386 w 43385"/>
                <a:gd name="connsiteY0" fmla="*/ 21693 h 43386"/>
                <a:gd name="connsiteX1" fmla="*/ 21693 w 43385"/>
                <a:gd name="connsiteY1" fmla="*/ 43386 h 43386"/>
                <a:gd name="connsiteX2" fmla="*/ 0 w 43385"/>
                <a:gd name="connsiteY2" fmla="*/ 21693 h 43386"/>
                <a:gd name="connsiteX3" fmla="*/ 21693 w 43385"/>
                <a:gd name="connsiteY3" fmla="*/ 0 h 43386"/>
                <a:gd name="connsiteX4" fmla="*/ 43386 w 43385"/>
                <a:gd name="connsiteY4" fmla="*/ 21693 h 43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5" h="43386">
                  <a:moveTo>
                    <a:pt x="43386" y="21693"/>
                  </a:moveTo>
                  <a:cubicBezTo>
                    <a:pt x="43386" y="33720"/>
                    <a:pt x="33643" y="43386"/>
                    <a:pt x="21693" y="43386"/>
                  </a:cubicBezTo>
                  <a:cubicBezTo>
                    <a:pt x="9667" y="43386"/>
                    <a:pt x="0" y="33643"/>
                    <a:pt x="0" y="21693"/>
                  </a:cubicBezTo>
                  <a:cubicBezTo>
                    <a:pt x="0" y="9667"/>
                    <a:pt x="9743" y="0"/>
                    <a:pt x="21693" y="0"/>
                  </a:cubicBezTo>
                  <a:cubicBezTo>
                    <a:pt x="33719" y="-76"/>
                    <a:pt x="43386" y="9667"/>
                    <a:pt x="43386" y="21693"/>
                  </a:cubicBezTo>
                </a:path>
              </a:pathLst>
            </a:custGeom>
            <a:grpFill/>
            <a:ln w="7608" cap="flat">
              <a:noFill/>
              <a:prstDash val="solid"/>
              <a:miter/>
            </a:ln>
          </p:spPr>
          <p:txBody>
            <a:bodyPr rtlCol="0" anchor="ctr"/>
            <a:lstStyle/>
            <a:p>
              <a:endParaRPr lang="hi-IN"/>
            </a:p>
          </p:txBody>
        </p:sp>
        <p:sp>
          <p:nvSpPr>
            <p:cNvPr id="1789" name="Freeform: Shape 788"/>
            <p:cNvSpPr/>
            <p:nvPr/>
          </p:nvSpPr>
          <p:spPr>
            <a:xfrm>
              <a:off x="7201043" y="284062"/>
              <a:ext cx="39123" cy="39123"/>
            </a:xfrm>
            <a:custGeom>
              <a:avLst/>
              <a:gdLst>
                <a:gd name="connsiteX0" fmla="*/ 39123 w 39123"/>
                <a:gd name="connsiteY0" fmla="*/ 19562 h 39123"/>
                <a:gd name="connsiteX1" fmla="*/ 19562 w 39123"/>
                <a:gd name="connsiteY1" fmla="*/ 39123 h 39123"/>
                <a:gd name="connsiteX2" fmla="*/ 0 w 39123"/>
                <a:gd name="connsiteY2" fmla="*/ 19562 h 39123"/>
                <a:gd name="connsiteX3" fmla="*/ 19562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2" y="39123"/>
                  </a:cubicBezTo>
                  <a:cubicBezTo>
                    <a:pt x="8753" y="39123"/>
                    <a:pt x="0" y="30370"/>
                    <a:pt x="0" y="19562"/>
                  </a:cubicBezTo>
                  <a:cubicBezTo>
                    <a:pt x="0" y="8753"/>
                    <a:pt x="8753" y="0"/>
                    <a:pt x="19562"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790" name="Freeform: Shape 789"/>
            <p:cNvSpPr/>
            <p:nvPr/>
          </p:nvSpPr>
          <p:spPr>
            <a:xfrm>
              <a:off x="7030088" y="316182"/>
              <a:ext cx="34709" cy="34709"/>
            </a:xfrm>
            <a:custGeom>
              <a:avLst/>
              <a:gdLst>
                <a:gd name="connsiteX0" fmla="*/ 34709 w 34709"/>
                <a:gd name="connsiteY0" fmla="*/ 17355 h 34709"/>
                <a:gd name="connsiteX1" fmla="*/ 17355 w 34709"/>
                <a:gd name="connsiteY1" fmla="*/ 34709 h 34709"/>
                <a:gd name="connsiteX2" fmla="*/ 0 w 34709"/>
                <a:gd name="connsiteY2" fmla="*/ 17355 h 34709"/>
                <a:gd name="connsiteX3" fmla="*/ 17355 w 34709"/>
                <a:gd name="connsiteY3" fmla="*/ 1 h 34709"/>
                <a:gd name="connsiteX4" fmla="*/ 34709 w 34709"/>
                <a:gd name="connsiteY4" fmla="*/ 17355 h 3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9">
                  <a:moveTo>
                    <a:pt x="34709" y="17355"/>
                  </a:moveTo>
                  <a:cubicBezTo>
                    <a:pt x="34709" y="26945"/>
                    <a:pt x="26945" y="34709"/>
                    <a:pt x="17355" y="34709"/>
                  </a:cubicBezTo>
                  <a:cubicBezTo>
                    <a:pt x="7764" y="34709"/>
                    <a:pt x="0" y="26945"/>
                    <a:pt x="0" y="17355"/>
                  </a:cubicBezTo>
                  <a:cubicBezTo>
                    <a:pt x="0" y="7764"/>
                    <a:pt x="7764" y="1"/>
                    <a:pt x="17355" y="1"/>
                  </a:cubicBezTo>
                  <a:cubicBezTo>
                    <a:pt x="26869" y="-76"/>
                    <a:pt x="34709" y="7764"/>
                    <a:pt x="34709" y="17355"/>
                  </a:cubicBezTo>
                </a:path>
              </a:pathLst>
            </a:custGeom>
            <a:grpFill/>
            <a:ln w="7608" cap="flat">
              <a:noFill/>
              <a:prstDash val="solid"/>
              <a:miter/>
            </a:ln>
          </p:spPr>
          <p:txBody>
            <a:bodyPr rtlCol="0" anchor="ctr"/>
            <a:lstStyle/>
            <a:p>
              <a:endParaRPr lang="hi-IN"/>
            </a:p>
          </p:txBody>
        </p:sp>
        <p:sp>
          <p:nvSpPr>
            <p:cNvPr id="1791" name="Freeform: Shape 790"/>
            <p:cNvSpPr/>
            <p:nvPr/>
          </p:nvSpPr>
          <p:spPr>
            <a:xfrm>
              <a:off x="6860427" y="355611"/>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1" y="30446"/>
                    <a:pt x="0" y="23672"/>
                    <a:pt x="0" y="15223"/>
                  </a:cubicBezTo>
                  <a:cubicBezTo>
                    <a:pt x="0" y="6850"/>
                    <a:pt x="6774" y="0"/>
                    <a:pt x="15223" y="0"/>
                  </a:cubicBezTo>
                  <a:cubicBezTo>
                    <a:pt x="23596" y="0"/>
                    <a:pt x="30446" y="6774"/>
                    <a:pt x="30446" y="15223"/>
                  </a:cubicBezTo>
                </a:path>
              </a:pathLst>
            </a:custGeom>
            <a:grpFill/>
            <a:ln w="7608" cap="flat">
              <a:noFill/>
              <a:prstDash val="solid"/>
              <a:miter/>
            </a:ln>
          </p:spPr>
          <p:txBody>
            <a:bodyPr rtlCol="0" anchor="ctr"/>
            <a:lstStyle/>
            <a:p>
              <a:endParaRPr lang="hi-IN"/>
            </a:p>
          </p:txBody>
        </p:sp>
        <p:sp>
          <p:nvSpPr>
            <p:cNvPr id="1792" name="Freeform: Shape 791"/>
            <p:cNvSpPr/>
            <p:nvPr/>
          </p:nvSpPr>
          <p:spPr>
            <a:xfrm>
              <a:off x="6692059" y="401813"/>
              <a:ext cx="27097" cy="27097"/>
            </a:xfrm>
            <a:custGeom>
              <a:avLst/>
              <a:gdLst>
                <a:gd name="connsiteX0" fmla="*/ 27097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7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7" y="13549"/>
                  </a:moveTo>
                  <a:cubicBezTo>
                    <a:pt x="27097" y="21008"/>
                    <a:pt x="21008" y="27097"/>
                    <a:pt x="13549" y="27097"/>
                  </a:cubicBezTo>
                  <a:cubicBezTo>
                    <a:pt x="6013" y="27097"/>
                    <a:pt x="0" y="21008"/>
                    <a:pt x="0" y="13549"/>
                  </a:cubicBezTo>
                  <a:cubicBezTo>
                    <a:pt x="0" y="6089"/>
                    <a:pt x="6089" y="0"/>
                    <a:pt x="13549" y="0"/>
                  </a:cubicBezTo>
                  <a:cubicBezTo>
                    <a:pt x="21084" y="0"/>
                    <a:pt x="27097" y="6089"/>
                    <a:pt x="27097" y="13549"/>
                  </a:cubicBezTo>
                </a:path>
              </a:pathLst>
            </a:custGeom>
            <a:grpFill/>
            <a:ln w="7608" cap="flat">
              <a:noFill/>
              <a:prstDash val="solid"/>
              <a:miter/>
            </a:ln>
          </p:spPr>
          <p:txBody>
            <a:bodyPr rtlCol="0" anchor="ctr"/>
            <a:lstStyle/>
            <a:p>
              <a:endParaRPr lang="hi-IN"/>
            </a:p>
          </p:txBody>
        </p:sp>
        <p:sp>
          <p:nvSpPr>
            <p:cNvPr id="1793" name="Freeform: Shape 792"/>
            <p:cNvSpPr/>
            <p:nvPr/>
          </p:nvSpPr>
          <p:spPr>
            <a:xfrm>
              <a:off x="6525747" y="455246"/>
              <a:ext cx="23899" cy="23900"/>
            </a:xfrm>
            <a:custGeom>
              <a:avLst/>
              <a:gdLst>
                <a:gd name="connsiteX0" fmla="*/ 23900 w 23899"/>
                <a:gd name="connsiteY0" fmla="*/ 11950 h 23900"/>
                <a:gd name="connsiteX1" fmla="*/ 11950 w 23899"/>
                <a:gd name="connsiteY1" fmla="*/ 23900 h 23900"/>
                <a:gd name="connsiteX2" fmla="*/ 0 w 23899"/>
                <a:gd name="connsiteY2" fmla="*/ 11950 h 23900"/>
                <a:gd name="connsiteX3" fmla="*/ 11950 w 23899"/>
                <a:gd name="connsiteY3" fmla="*/ 0 h 23900"/>
                <a:gd name="connsiteX4" fmla="*/ 23900 w 23899"/>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9" h="23900">
                  <a:moveTo>
                    <a:pt x="23900" y="11950"/>
                  </a:moveTo>
                  <a:cubicBezTo>
                    <a:pt x="23900" y="18572"/>
                    <a:pt x="18572" y="23900"/>
                    <a:pt x="11950" y="23900"/>
                  </a:cubicBezTo>
                  <a:cubicBezTo>
                    <a:pt x="5328" y="23900"/>
                    <a:pt x="0" y="18572"/>
                    <a:pt x="0" y="11950"/>
                  </a:cubicBezTo>
                  <a:cubicBezTo>
                    <a:pt x="0" y="5328"/>
                    <a:pt x="5328" y="0"/>
                    <a:pt x="11950" y="0"/>
                  </a:cubicBezTo>
                  <a:cubicBezTo>
                    <a:pt x="18496" y="0"/>
                    <a:pt x="23900" y="5328"/>
                    <a:pt x="23900" y="11950"/>
                  </a:cubicBezTo>
                </a:path>
              </a:pathLst>
            </a:custGeom>
            <a:grpFill/>
            <a:ln w="7608" cap="flat">
              <a:noFill/>
              <a:prstDash val="solid"/>
              <a:miter/>
            </a:ln>
          </p:spPr>
          <p:txBody>
            <a:bodyPr rtlCol="0" anchor="ctr"/>
            <a:lstStyle/>
            <a:p>
              <a:endParaRPr lang="hi-IN"/>
            </a:p>
          </p:txBody>
        </p:sp>
        <p:sp>
          <p:nvSpPr>
            <p:cNvPr id="1794" name="Freeform: Shape 793"/>
            <p:cNvSpPr/>
            <p:nvPr/>
          </p:nvSpPr>
          <p:spPr>
            <a:xfrm>
              <a:off x="6362403" y="516367"/>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339" y="0"/>
                    <a:pt x="9743" y="0"/>
                  </a:cubicBezTo>
                  <a:cubicBezTo>
                    <a:pt x="15071" y="0"/>
                    <a:pt x="19486" y="4339"/>
                    <a:pt x="19486" y="9743"/>
                  </a:cubicBezTo>
                </a:path>
              </a:pathLst>
            </a:custGeom>
            <a:grpFill/>
            <a:ln w="7608" cap="flat">
              <a:noFill/>
              <a:prstDash val="solid"/>
              <a:miter/>
            </a:ln>
          </p:spPr>
          <p:txBody>
            <a:bodyPr rtlCol="0" anchor="ctr"/>
            <a:lstStyle/>
            <a:p>
              <a:endParaRPr lang="hi-IN"/>
            </a:p>
          </p:txBody>
        </p:sp>
        <p:sp>
          <p:nvSpPr>
            <p:cNvPr id="1795" name="Freeform: Shape 794"/>
            <p:cNvSpPr/>
            <p:nvPr/>
          </p:nvSpPr>
          <p:spPr>
            <a:xfrm>
              <a:off x="6201039" y="583957"/>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4" y="16289"/>
                    <a:pt x="0" y="12635"/>
                    <a:pt x="0" y="8144"/>
                  </a:cubicBezTo>
                  <a:cubicBezTo>
                    <a:pt x="0" y="3654"/>
                    <a:pt x="3654"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796" name="Freeform: Shape 795"/>
            <p:cNvSpPr/>
            <p:nvPr/>
          </p:nvSpPr>
          <p:spPr>
            <a:xfrm>
              <a:off x="6042110" y="657865"/>
              <a:ext cx="14157" cy="14157"/>
            </a:xfrm>
            <a:custGeom>
              <a:avLst/>
              <a:gdLst>
                <a:gd name="connsiteX0" fmla="*/ 14158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8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8" y="7079"/>
                  </a:moveTo>
                  <a:cubicBezTo>
                    <a:pt x="14158" y="10961"/>
                    <a:pt x="10961" y="14157"/>
                    <a:pt x="7079" y="14157"/>
                  </a:cubicBezTo>
                  <a:cubicBezTo>
                    <a:pt x="3197" y="14157"/>
                    <a:pt x="0" y="10961"/>
                    <a:pt x="0" y="7079"/>
                  </a:cubicBezTo>
                  <a:cubicBezTo>
                    <a:pt x="0" y="3197"/>
                    <a:pt x="3121" y="0"/>
                    <a:pt x="7079" y="0"/>
                  </a:cubicBezTo>
                  <a:cubicBezTo>
                    <a:pt x="10961" y="0"/>
                    <a:pt x="14158" y="3197"/>
                    <a:pt x="14158" y="7079"/>
                  </a:cubicBezTo>
                </a:path>
              </a:pathLst>
            </a:custGeom>
            <a:grpFill/>
            <a:ln w="7608" cap="flat">
              <a:noFill/>
              <a:prstDash val="solid"/>
              <a:miter/>
            </a:ln>
          </p:spPr>
          <p:txBody>
            <a:bodyPr rtlCol="0" anchor="ctr"/>
            <a:lstStyle/>
            <a:p>
              <a:endParaRPr lang="hi-IN"/>
            </a:p>
          </p:txBody>
        </p:sp>
        <p:sp>
          <p:nvSpPr>
            <p:cNvPr id="1797" name="Freeform: Shape 796"/>
            <p:cNvSpPr/>
            <p:nvPr/>
          </p:nvSpPr>
          <p:spPr>
            <a:xfrm>
              <a:off x="5887139" y="739156"/>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6" y="10808"/>
                    <a:pt x="0" y="8373"/>
                    <a:pt x="0" y="5404"/>
                  </a:cubicBezTo>
                  <a:cubicBezTo>
                    <a:pt x="0" y="2436"/>
                    <a:pt x="2436"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798" name="Freeform: Shape 797"/>
            <p:cNvSpPr/>
            <p:nvPr/>
          </p:nvSpPr>
          <p:spPr>
            <a:xfrm>
              <a:off x="5735060" y="826461"/>
              <a:ext cx="8676" cy="8677"/>
            </a:xfrm>
            <a:custGeom>
              <a:avLst/>
              <a:gdLst>
                <a:gd name="connsiteX0" fmla="*/ 8677 w 8676"/>
                <a:gd name="connsiteY0" fmla="*/ 4339 h 8677"/>
                <a:gd name="connsiteX1" fmla="*/ 4339 w 8676"/>
                <a:gd name="connsiteY1" fmla="*/ 8677 h 8677"/>
                <a:gd name="connsiteX2" fmla="*/ 0 w 8676"/>
                <a:gd name="connsiteY2" fmla="*/ 4339 h 8677"/>
                <a:gd name="connsiteX3" fmla="*/ 4339 w 8676"/>
                <a:gd name="connsiteY3" fmla="*/ 0 h 8677"/>
                <a:gd name="connsiteX4" fmla="*/ 8677 w 8676"/>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6" h="8677">
                  <a:moveTo>
                    <a:pt x="8677" y="4339"/>
                  </a:moveTo>
                  <a:cubicBezTo>
                    <a:pt x="8677" y="6774"/>
                    <a:pt x="6698" y="8677"/>
                    <a:pt x="4339" y="8677"/>
                  </a:cubicBezTo>
                  <a:cubicBezTo>
                    <a:pt x="1979" y="8677"/>
                    <a:pt x="0" y="6698"/>
                    <a:pt x="0" y="4339"/>
                  </a:cubicBezTo>
                  <a:cubicBezTo>
                    <a:pt x="0" y="1979"/>
                    <a:pt x="1979"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799" name="Freeform: Shape 798"/>
            <p:cNvSpPr/>
            <p:nvPr/>
          </p:nvSpPr>
          <p:spPr>
            <a:xfrm>
              <a:off x="11588108" y="6467906"/>
              <a:ext cx="10807" cy="10810"/>
            </a:xfrm>
            <a:custGeom>
              <a:avLst/>
              <a:gdLst>
                <a:gd name="connsiteX0" fmla="*/ 10808 w 10807"/>
                <a:gd name="connsiteY0" fmla="*/ 5406 h 10810"/>
                <a:gd name="connsiteX1" fmla="*/ 5404 w 10807"/>
                <a:gd name="connsiteY1" fmla="*/ 10810 h 10810"/>
                <a:gd name="connsiteX2" fmla="*/ 0 w 10807"/>
                <a:gd name="connsiteY2" fmla="*/ 5406 h 10810"/>
                <a:gd name="connsiteX3" fmla="*/ 5404 w 10807"/>
                <a:gd name="connsiteY3" fmla="*/ 2 h 10810"/>
                <a:gd name="connsiteX4" fmla="*/ 10808 w 10807"/>
                <a:gd name="connsiteY4" fmla="*/ 5406 h 1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10">
                  <a:moveTo>
                    <a:pt x="10808" y="5406"/>
                  </a:moveTo>
                  <a:cubicBezTo>
                    <a:pt x="10808" y="8374"/>
                    <a:pt x="8373" y="10810"/>
                    <a:pt x="5404" y="10810"/>
                  </a:cubicBezTo>
                  <a:cubicBezTo>
                    <a:pt x="2435" y="10810"/>
                    <a:pt x="0" y="8374"/>
                    <a:pt x="0" y="5406"/>
                  </a:cubicBezTo>
                  <a:cubicBezTo>
                    <a:pt x="0" y="2437"/>
                    <a:pt x="2435" y="2"/>
                    <a:pt x="5404" y="2"/>
                  </a:cubicBezTo>
                  <a:cubicBezTo>
                    <a:pt x="8449" y="-74"/>
                    <a:pt x="10808" y="2361"/>
                    <a:pt x="10808" y="5406"/>
                  </a:cubicBezTo>
                </a:path>
              </a:pathLst>
            </a:custGeom>
            <a:grpFill/>
            <a:ln w="7608" cap="flat">
              <a:noFill/>
              <a:prstDash val="solid"/>
              <a:miter/>
            </a:ln>
          </p:spPr>
          <p:txBody>
            <a:bodyPr rtlCol="0" anchor="ctr"/>
            <a:lstStyle/>
            <a:p>
              <a:endParaRPr lang="hi-IN"/>
            </a:p>
          </p:txBody>
        </p:sp>
        <p:sp>
          <p:nvSpPr>
            <p:cNvPr id="1800" name="Freeform: Shape 799"/>
            <p:cNvSpPr/>
            <p:nvPr/>
          </p:nvSpPr>
          <p:spPr>
            <a:xfrm>
              <a:off x="11669094" y="6311110"/>
              <a:ext cx="14158" cy="14157"/>
            </a:xfrm>
            <a:custGeom>
              <a:avLst/>
              <a:gdLst>
                <a:gd name="connsiteX0" fmla="*/ 14158 w 14158"/>
                <a:gd name="connsiteY0" fmla="*/ 7079 h 14157"/>
                <a:gd name="connsiteX1" fmla="*/ 7079 w 14158"/>
                <a:gd name="connsiteY1" fmla="*/ 14157 h 14157"/>
                <a:gd name="connsiteX2" fmla="*/ 0 w 14158"/>
                <a:gd name="connsiteY2" fmla="*/ 7079 h 14157"/>
                <a:gd name="connsiteX3" fmla="*/ 7079 w 14158"/>
                <a:gd name="connsiteY3" fmla="*/ 0 h 14157"/>
                <a:gd name="connsiteX4" fmla="*/ 14158 w 14158"/>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8" h="14157">
                  <a:moveTo>
                    <a:pt x="14158" y="7079"/>
                  </a:moveTo>
                  <a:cubicBezTo>
                    <a:pt x="14158" y="10961"/>
                    <a:pt x="10961" y="14157"/>
                    <a:pt x="7079" y="14157"/>
                  </a:cubicBezTo>
                  <a:cubicBezTo>
                    <a:pt x="3197" y="14157"/>
                    <a:pt x="0" y="10961"/>
                    <a:pt x="0" y="7079"/>
                  </a:cubicBezTo>
                  <a:cubicBezTo>
                    <a:pt x="0" y="3197"/>
                    <a:pt x="3197" y="0"/>
                    <a:pt x="7079" y="0"/>
                  </a:cubicBezTo>
                  <a:cubicBezTo>
                    <a:pt x="10961" y="0"/>
                    <a:pt x="14158" y="3197"/>
                    <a:pt x="14158" y="7079"/>
                  </a:cubicBezTo>
                </a:path>
              </a:pathLst>
            </a:custGeom>
            <a:grpFill/>
            <a:ln w="7608" cap="flat">
              <a:noFill/>
              <a:prstDash val="solid"/>
              <a:miter/>
            </a:ln>
          </p:spPr>
          <p:txBody>
            <a:bodyPr rtlCol="0" anchor="ctr"/>
            <a:lstStyle/>
            <a:p>
              <a:endParaRPr lang="hi-IN"/>
            </a:p>
          </p:txBody>
        </p:sp>
        <p:sp>
          <p:nvSpPr>
            <p:cNvPr id="1801" name="Freeform: Shape 800"/>
            <p:cNvSpPr/>
            <p:nvPr/>
          </p:nvSpPr>
          <p:spPr>
            <a:xfrm>
              <a:off x="11744296" y="6151648"/>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4" y="16289"/>
                    <a:pt x="0" y="12635"/>
                    <a:pt x="0" y="8144"/>
                  </a:cubicBezTo>
                  <a:cubicBezTo>
                    <a:pt x="0" y="3653"/>
                    <a:pt x="3654" y="0"/>
                    <a:pt x="8145"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802" name="Freeform: Shape 801"/>
            <p:cNvSpPr/>
            <p:nvPr/>
          </p:nvSpPr>
          <p:spPr>
            <a:xfrm>
              <a:off x="11812496" y="5988760"/>
              <a:ext cx="19485" cy="19486"/>
            </a:xfrm>
            <a:custGeom>
              <a:avLst/>
              <a:gdLst>
                <a:gd name="connsiteX0" fmla="*/ 19485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5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5" y="9744"/>
                  </a:moveTo>
                  <a:cubicBezTo>
                    <a:pt x="19485" y="15148"/>
                    <a:pt x="15071" y="19487"/>
                    <a:pt x="9743" y="19487"/>
                  </a:cubicBezTo>
                  <a:cubicBezTo>
                    <a:pt x="4338" y="19487"/>
                    <a:pt x="0" y="15072"/>
                    <a:pt x="0" y="9744"/>
                  </a:cubicBezTo>
                  <a:cubicBezTo>
                    <a:pt x="0" y="4416"/>
                    <a:pt x="4414" y="1"/>
                    <a:pt x="9743" y="1"/>
                  </a:cubicBezTo>
                  <a:cubicBezTo>
                    <a:pt x="15071" y="-75"/>
                    <a:pt x="19485" y="4340"/>
                    <a:pt x="19485" y="9744"/>
                  </a:cubicBezTo>
                </a:path>
              </a:pathLst>
            </a:custGeom>
            <a:grpFill/>
            <a:ln w="7608" cap="flat">
              <a:noFill/>
              <a:prstDash val="solid"/>
              <a:miter/>
            </a:ln>
          </p:spPr>
          <p:txBody>
            <a:bodyPr rtlCol="0" anchor="ctr"/>
            <a:lstStyle/>
            <a:p>
              <a:endParaRPr lang="hi-IN"/>
            </a:p>
          </p:txBody>
        </p:sp>
        <p:sp>
          <p:nvSpPr>
            <p:cNvPr id="1803" name="Freeform: Shape 802"/>
            <p:cNvSpPr/>
            <p:nvPr/>
          </p:nvSpPr>
          <p:spPr>
            <a:xfrm>
              <a:off x="11873845" y="5822982"/>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76"/>
                    <a:pt x="22835" y="5176"/>
                    <a:pt x="22835" y="11417"/>
                  </a:cubicBezTo>
                </a:path>
              </a:pathLst>
            </a:custGeom>
            <a:grpFill/>
            <a:ln w="7608" cap="flat">
              <a:noFill/>
              <a:prstDash val="solid"/>
              <a:miter/>
            </a:ln>
          </p:spPr>
          <p:txBody>
            <a:bodyPr rtlCol="0" anchor="ctr"/>
            <a:lstStyle/>
            <a:p>
              <a:endParaRPr lang="hi-IN"/>
            </a:p>
          </p:txBody>
        </p:sp>
        <p:sp>
          <p:nvSpPr>
            <p:cNvPr id="1804" name="Freeform: Shape 803"/>
            <p:cNvSpPr/>
            <p:nvPr/>
          </p:nvSpPr>
          <p:spPr>
            <a:xfrm>
              <a:off x="11928115" y="5654386"/>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4"/>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805" name="Freeform: Shape 804"/>
            <p:cNvSpPr/>
            <p:nvPr/>
          </p:nvSpPr>
          <p:spPr>
            <a:xfrm>
              <a:off x="11975916" y="5484116"/>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774" y="30446"/>
                    <a:pt x="0" y="23672"/>
                    <a:pt x="0" y="15223"/>
                  </a:cubicBezTo>
                  <a:cubicBezTo>
                    <a:pt x="0" y="6851"/>
                    <a:pt x="6774" y="0"/>
                    <a:pt x="15223" y="0"/>
                  </a:cubicBezTo>
                  <a:cubicBezTo>
                    <a:pt x="23672" y="0"/>
                    <a:pt x="30446" y="6774"/>
                    <a:pt x="30446" y="15223"/>
                  </a:cubicBezTo>
                </a:path>
              </a:pathLst>
            </a:custGeom>
            <a:grpFill/>
            <a:ln w="7608" cap="flat">
              <a:noFill/>
              <a:prstDash val="solid"/>
              <a:miter/>
            </a:ln>
          </p:spPr>
          <p:txBody>
            <a:bodyPr rtlCol="0" anchor="ctr"/>
            <a:lstStyle/>
            <a:p>
              <a:endParaRPr lang="hi-IN"/>
            </a:p>
          </p:txBody>
        </p:sp>
        <p:sp>
          <p:nvSpPr>
            <p:cNvPr id="1806" name="Freeform: Shape 805"/>
            <p:cNvSpPr/>
            <p:nvPr/>
          </p:nvSpPr>
          <p:spPr>
            <a:xfrm>
              <a:off x="12016409" y="5311410"/>
              <a:ext cx="34709" cy="34708"/>
            </a:xfrm>
            <a:custGeom>
              <a:avLst/>
              <a:gdLst>
                <a:gd name="connsiteX0" fmla="*/ 34709 w 34709"/>
                <a:gd name="connsiteY0" fmla="*/ 17355 h 34708"/>
                <a:gd name="connsiteX1" fmla="*/ 17355 w 34709"/>
                <a:gd name="connsiteY1" fmla="*/ 34709 h 34708"/>
                <a:gd name="connsiteX2" fmla="*/ 0 w 34709"/>
                <a:gd name="connsiteY2" fmla="*/ 17355 h 34708"/>
                <a:gd name="connsiteX3" fmla="*/ 17355 w 34709"/>
                <a:gd name="connsiteY3" fmla="*/ 0 h 34708"/>
                <a:gd name="connsiteX4" fmla="*/ 34709 w 34709"/>
                <a:gd name="connsiteY4" fmla="*/ 17355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8">
                  <a:moveTo>
                    <a:pt x="34709" y="17355"/>
                  </a:moveTo>
                  <a:cubicBezTo>
                    <a:pt x="34709" y="26945"/>
                    <a:pt x="26945" y="34709"/>
                    <a:pt x="17355" y="34709"/>
                  </a:cubicBezTo>
                  <a:cubicBezTo>
                    <a:pt x="7764" y="34709"/>
                    <a:pt x="0" y="26945"/>
                    <a:pt x="0" y="17355"/>
                  </a:cubicBezTo>
                  <a:cubicBezTo>
                    <a:pt x="0" y="7764"/>
                    <a:pt x="7764" y="0"/>
                    <a:pt x="17355" y="0"/>
                  </a:cubicBezTo>
                  <a:cubicBezTo>
                    <a:pt x="26945" y="0"/>
                    <a:pt x="34709" y="7764"/>
                    <a:pt x="34709" y="17355"/>
                  </a:cubicBezTo>
                </a:path>
              </a:pathLst>
            </a:custGeom>
            <a:grpFill/>
            <a:ln w="7608" cap="flat">
              <a:noFill/>
              <a:prstDash val="solid"/>
              <a:miter/>
            </a:ln>
          </p:spPr>
          <p:txBody>
            <a:bodyPr rtlCol="0" anchor="ctr"/>
            <a:lstStyle/>
            <a:p>
              <a:endParaRPr lang="hi-IN"/>
            </a:p>
          </p:txBody>
        </p:sp>
        <p:sp>
          <p:nvSpPr>
            <p:cNvPr id="1807" name="Freeform: Shape 806"/>
            <p:cNvSpPr/>
            <p:nvPr/>
          </p:nvSpPr>
          <p:spPr>
            <a:xfrm>
              <a:off x="12049748" y="5137106"/>
              <a:ext cx="39123" cy="39123"/>
            </a:xfrm>
            <a:custGeom>
              <a:avLst/>
              <a:gdLst>
                <a:gd name="connsiteX0" fmla="*/ 39123 w 39123"/>
                <a:gd name="connsiteY0" fmla="*/ 19562 h 39123"/>
                <a:gd name="connsiteX1" fmla="*/ 19562 w 39123"/>
                <a:gd name="connsiteY1" fmla="*/ 39123 h 39123"/>
                <a:gd name="connsiteX2" fmla="*/ 0 w 39123"/>
                <a:gd name="connsiteY2" fmla="*/ 19562 h 39123"/>
                <a:gd name="connsiteX3" fmla="*/ 19562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2" y="39123"/>
                  </a:cubicBezTo>
                  <a:cubicBezTo>
                    <a:pt x="8753" y="39123"/>
                    <a:pt x="0" y="30370"/>
                    <a:pt x="0" y="19562"/>
                  </a:cubicBezTo>
                  <a:cubicBezTo>
                    <a:pt x="0" y="8753"/>
                    <a:pt x="8753" y="0"/>
                    <a:pt x="19562"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808" name="Freeform: Shape 807"/>
            <p:cNvSpPr/>
            <p:nvPr/>
          </p:nvSpPr>
          <p:spPr>
            <a:xfrm>
              <a:off x="12076237" y="4961508"/>
              <a:ext cx="43385" cy="43385"/>
            </a:xfrm>
            <a:custGeom>
              <a:avLst/>
              <a:gdLst>
                <a:gd name="connsiteX0" fmla="*/ 43385 w 43385"/>
                <a:gd name="connsiteY0" fmla="*/ 21693 h 43385"/>
                <a:gd name="connsiteX1" fmla="*/ 21693 w 43385"/>
                <a:gd name="connsiteY1" fmla="*/ 43385 h 43385"/>
                <a:gd name="connsiteX2" fmla="*/ 0 w 43385"/>
                <a:gd name="connsiteY2" fmla="*/ 21693 h 43385"/>
                <a:gd name="connsiteX3" fmla="*/ 21693 w 43385"/>
                <a:gd name="connsiteY3" fmla="*/ 0 h 43385"/>
                <a:gd name="connsiteX4" fmla="*/ 43385 w 43385"/>
                <a:gd name="connsiteY4" fmla="*/ 21693 h 43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5" h="43385">
                  <a:moveTo>
                    <a:pt x="43385" y="21693"/>
                  </a:moveTo>
                  <a:cubicBezTo>
                    <a:pt x="43385" y="33719"/>
                    <a:pt x="33642" y="43385"/>
                    <a:pt x="21693" y="43385"/>
                  </a:cubicBezTo>
                  <a:cubicBezTo>
                    <a:pt x="9666" y="43385"/>
                    <a:pt x="0" y="33643"/>
                    <a:pt x="0" y="21693"/>
                  </a:cubicBezTo>
                  <a:cubicBezTo>
                    <a:pt x="0" y="9666"/>
                    <a:pt x="9742" y="0"/>
                    <a:pt x="21693" y="0"/>
                  </a:cubicBezTo>
                  <a:cubicBezTo>
                    <a:pt x="33642" y="0"/>
                    <a:pt x="43385" y="9743"/>
                    <a:pt x="43385" y="21693"/>
                  </a:cubicBezTo>
                </a:path>
              </a:pathLst>
            </a:custGeom>
            <a:grpFill/>
            <a:ln w="7608" cap="flat">
              <a:noFill/>
              <a:prstDash val="solid"/>
              <a:miter/>
            </a:ln>
          </p:spPr>
          <p:txBody>
            <a:bodyPr rtlCol="0" anchor="ctr"/>
            <a:lstStyle/>
            <a:p>
              <a:endParaRPr lang="hi-IN"/>
            </a:p>
          </p:txBody>
        </p:sp>
        <p:sp>
          <p:nvSpPr>
            <p:cNvPr id="1809" name="Freeform: Shape 808"/>
            <p:cNvSpPr/>
            <p:nvPr/>
          </p:nvSpPr>
          <p:spPr>
            <a:xfrm>
              <a:off x="12095493" y="4784844"/>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0"/>
                    <a:pt x="47801" y="10732"/>
                    <a:pt x="47801" y="23900"/>
                  </a:cubicBezTo>
                </a:path>
              </a:pathLst>
            </a:custGeom>
            <a:grpFill/>
            <a:ln w="7608" cap="flat">
              <a:noFill/>
              <a:prstDash val="solid"/>
              <a:miter/>
            </a:ln>
          </p:spPr>
          <p:txBody>
            <a:bodyPr rtlCol="0" anchor="ctr"/>
            <a:lstStyle/>
            <a:p>
              <a:endParaRPr lang="hi-IN"/>
            </a:p>
          </p:txBody>
        </p:sp>
        <p:sp>
          <p:nvSpPr>
            <p:cNvPr id="1810" name="Freeform: Shape 809"/>
            <p:cNvSpPr/>
            <p:nvPr/>
          </p:nvSpPr>
          <p:spPr>
            <a:xfrm>
              <a:off x="12107596" y="4607571"/>
              <a:ext cx="52138" cy="52062"/>
            </a:xfrm>
            <a:custGeom>
              <a:avLst/>
              <a:gdLst>
                <a:gd name="connsiteX0" fmla="*/ 52139 w 52138"/>
                <a:gd name="connsiteY0" fmla="*/ 26031 h 52062"/>
                <a:gd name="connsiteX1" fmla="*/ 26107 w 52138"/>
                <a:gd name="connsiteY1" fmla="*/ 52063 h 52062"/>
                <a:gd name="connsiteX2" fmla="*/ 0 w 52138"/>
                <a:gd name="connsiteY2" fmla="*/ 26031 h 52062"/>
                <a:gd name="connsiteX3" fmla="*/ 26107 w 52138"/>
                <a:gd name="connsiteY3" fmla="*/ 0 h 52062"/>
                <a:gd name="connsiteX4" fmla="*/ 52139 w 52138"/>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8" h="52062">
                  <a:moveTo>
                    <a:pt x="52139" y="26031"/>
                  </a:moveTo>
                  <a:cubicBezTo>
                    <a:pt x="52139" y="40417"/>
                    <a:pt x="40493" y="52063"/>
                    <a:pt x="26107" y="52063"/>
                  </a:cubicBezTo>
                  <a:cubicBezTo>
                    <a:pt x="11721" y="52063"/>
                    <a:pt x="0" y="40417"/>
                    <a:pt x="0" y="26031"/>
                  </a:cubicBezTo>
                  <a:cubicBezTo>
                    <a:pt x="0" y="11645"/>
                    <a:pt x="11645" y="0"/>
                    <a:pt x="26107" y="0"/>
                  </a:cubicBezTo>
                  <a:cubicBezTo>
                    <a:pt x="40493" y="0"/>
                    <a:pt x="52139" y="11645"/>
                    <a:pt x="52139" y="26031"/>
                  </a:cubicBezTo>
                </a:path>
              </a:pathLst>
            </a:custGeom>
            <a:grpFill/>
            <a:ln w="7608" cap="flat">
              <a:noFill/>
              <a:prstDash val="solid"/>
              <a:miter/>
            </a:ln>
          </p:spPr>
          <p:txBody>
            <a:bodyPr rtlCol="0" anchor="ctr"/>
            <a:lstStyle/>
            <a:p>
              <a:endParaRPr lang="hi-IN"/>
            </a:p>
          </p:txBody>
        </p:sp>
        <p:sp>
          <p:nvSpPr>
            <p:cNvPr id="1811" name="Freeform: Shape 810"/>
            <p:cNvSpPr/>
            <p:nvPr/>
          </p:nvSpPr>
          <p:spPr>
            <a:xfrm>
              <a:off x="12112619" y="4429765"/>
              <a:ext cx="56477" cy="56477"/>
            </a:xfrm>
            <a:custGeom>
              <a:avLst/>
              <a:gdLst>
                <a:gd name="connsiteX0" fmla="*/ 56478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8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8" y="28239"/>
                  </a:moveTo>
                  <a:cubicBezTo>
                    <a:pt x="56478" y="43843"/>
                    <a:pt x="43843" y="56478"/>
                    <a:pt x="28239" y="56478"/>
                  </a:cubicBezTo>
                  <a:cubicBezTo>
                    <a:pt x="12635" y="56478"/>
                    <a:pt x="0" y="43843"/>
                    <a:pt x="0" y="28239"/>
                  </a:cubicBezTo>
                  <a:cubicBezTo>
                    <a:pt x="0" y="12635"/>
                    <a:pt x="12635" y="0"/>
                    <a:pt x="28239" y="0"/>
                  </a:cubicBezTo>
                  <a:cubicBezTo>
                    <a:pt x="43843" y="0"/>
                    <a:pt x="56478" y="12635"/>
                    <a:pt x="56478" y="28239"/>
                  </a:cubicBezTo>
                </a:path>
              </a:pathLst>
            </a:custGeom>
            <a:grpFill/>
            <a:ln w="7608" cap="flat">
              <a:noFill/>
              <a:prstDash val="solid"/>
              <a:miter/>
            </a:ln>
          </p:spPr>
          <p:txBody>
            <a:bodyPr rtlCol="0" anchor="ctr"/>
            <a:lstStyle/>
            <a:p>
              <a:endParaRPr lang="hi-IN"/>
            </a:p>
          </p:txBody>
        </p:sp>
        <p:sp>
          <p:nvSpPr>
            <p:cNvPr id="1812" name="Freeform: Shape 811"/>
            <p:cNvSpPr/>
            <p:nvPr/>
          </p:nvSpPr>
          <p:spPr>
            <a:xfrm>
              <a:off x="12110489" y="4251883"/>
              <a:ext cx="60816" cy="60740"/>
            </a:xfrm>
            <a:custGeom>
              <a:avLst/>
              <a:gdLst>
                <a:gd name="connsiteX0" fmla="*/ 60816 w 60816"/>
                <a:gd name="connsiteY0" fmla="*/ 30370 h 60740"/>
                <a:gd name="connsiteX1" fmla="*/ 30446 w 60816"/>
                <a:gd name="connsiteY1" fmla="*/ 60741 h 60740"/>
                <a:gd name="connsiteX2" fmla="*/ 0 w 60816"/>
                <a:gd name="connsiteY2" fmla="*/ 30370 h 60740"/>
                <a:gd name="connsiteX3" fmla="*/ 30446 w 60816"/>
                <a:gd name="connsiteY3" fmla="*/ 0 h 60740"/>
                <a:gd name="connsiteX4" fmla="*/ 60816 w 60816"/>
                <a:gd name="connsiteY4" fmla="*/ 30370 h 60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16" h="60740">
                  <a:moveTo>
                    <a:pt x="60816" y="30370"/>
                  </a:moveTo>
                  <a:cubicBezTo>
                    <a:pt x="60816" y="47192"/>
                    <a:pt x="47191" y="60741"/>
                    <a:pt x="30446" y="60741"/>
                  </a:cubicBezTo>
                  <a:cubicBezTo>
                    <a:pt x="13624" y="60741"/>
                    <a:pt x="0" y="47116"/>
                    <a:pt x="0" y="30370"/>
                  </a:cubicBezTo>
                  <a:cubicBezTo>
                    <a:pt x="0" y="13549"/>
                    <a:pt x="13624" y="0"/>
                    <a:pt x="30446" y="0"/>
                  </a:cubicBezTo>
                  <a:cubicBezTo>
                    <a:pt x="47191" y="-76"/>
                    <a:pt x="60816" y="13549"/>
                    <a:pt x="60816" y="30370"/>
                  </a:cubicBezTo>
                </a:path>
              </a:pathLst>
            </a:custGeom>
            <a:grpFill/>
            <a:ln w="7608" cap="flat">
              <a:noFill/>
              <a:prstDash val="solid"/>
              <a:miter/>
            </a:ln>
          </p:spPr>
          <p:txBody>
            <a:bodyPr rtlCol="0" anchor="ctr"/>
            <a:lstStyle/>
            <a:p>
              <a:endParaRPr lang="hi-IN"/>
            </a:p>
          </p:txBody>
        </p:sp>
        <p:sp>
          <p:nvSpPr>
            <p:cNvPr id="1813" name="Freeform: Shape 812"/>
            <p:cNvSpPr/>
            <p:nvPr/>
          </p:nvSpPr>
          <p:spPr>
            <a:xfrm>
              <a:off x="12100593" y="4073469"/>
              <a:ext cx="66220" cy="66220"/>
            </a:xfrm>
            <a:custGeom>
              <a:avLst/>
              <a:gdLst>
                <a:gd name="connsiteX0" fmla="*/ 66220 w 66220"/>
                <a:gd name="connsiteY0" fmla="*/ 33110 h 66220"/>
                <a:gd name="connsiteX1" fmla="*/ 33110 w 66220"/>
                <a:gd name="connsiteY1" fmla="*/ 66221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1"/>
                    <a:pt x="33110" y="66221"/>
                  </a:cubicBezTo>
                  <a:cubicBezTo>
                    <a:pt x="14842" y="66221"/>
                    <a:pt x="0" y="51378"/>
                    <a:pt x="0" y="33110"/>
                  </a:cubicBezTo>
                  <a:cubicBezTo>
                    <a:pt x="0" y="14843"/>
                    <a:pt x="14842" y="0"/>
                    <a:pt x="33110" y="0"/>
                  </a:cubicBezTo>
                  <a:cubicBezTo>
                    <a:pt x="51378" y="0"/>
                    <a:pt x="66220" y="14843"/>
                    <a:pt x="66220" y="33110"/>
                  </a:cubicBezTo>
                </a:path>
              </a:pathLst>
            </a:custGeom>
            <a:grpFill/>
            <a:ln w="7608" cap="flat">
              <a:noFill/>
              <a:prstDash val="solid"/>
              <a:miter/>
            </a:ln>
          </p:spPr>
          <p:txBody>
            <a:bodyPr rtlCol="0" anchor="ctr"/>
            <a:lstStyle/>
            <a:p>
              <a:endParaRPr lang="hi-IN"/>
            </a:p>
          </p:txBody>
        </p:sp>
        <p:sp>
          <p:nvSpPr>
            <p:cNvPr id="1814" name="Freeform: Shape 813"/>
            <p:cNvSpPr/>
            <p:nvPr/>
          </p:nvSpPr>
          <p:spPr>
            <a:xfrm>
              <a:off x="12084000" y="3896120"/>
              <a:ext cx="70635" cy="70635"/>
            </a:xfrm>
            <a:custGeom>
              <a:avLst/>
              <a:gdLst>
                <a:gd name="connsiteX0" fmla="*/ 70635 w 70635"/>
                <a:gd name="connsiteY0" fmla="*/ 35318 h 70635"/>
                <a:gd name="connsiteX1" fmla="*/ 35318 w 70635"/>
                <a:gd name="connsiteY1" fmla="*/ 70635 h 70635"/>
                <a:gd name="connsiteX2" fmla="*/ 0 w 70635"/>
                <a:gd name="connsiteY2" fmla="*/ 35318 h 70635"/>
                <a:gd name="connsiteX3" fmla="*/ 35318 w 70635"/>
                <a:gd name="connsiteY3" fmla="*/ 0 h 70635"/>
                <a:gd name="connsiteX4" fmla="*/ 70635 w 70635"/>
                <a:gd name="connsiteY4" fmla="*/ 35318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5" h="70635">
                  <a:moveTo>
                    <a:pt x="70635" y="35318"/>
                  </a:moveTo>
                  <a:cubicBezTo>
                    <a:pt x="70635" y="54803"/>
                    <a:pt x="54804" y="70635"/>
                    <a:pt x="35318" y="70635"/>
                  </a:cubicBezTo>
                  <a:cubicBezTo>
                    <a:pt x="15833" y="70635"/>
                    <a:pt x="0" y="54803"/>
                    <a:pt x="0" y="35318"/>
                  </a:cubicBezTo>
                  <a:cubicBezTo>
                    <a:pt x="0" y="15832"/>
                    <a:pt x="15833" y="0"/>
                    <a:pt x="35318" y="0"/>
                  </a:cubicBezTo>
                  <a:cubicBezTo>
                    <a:pt x="54880" y="0"/>
                    <a:pt x="70635" y="15832"/>
                    <a:pt x="70635" y="35318"/>
                  </a:cubicBezTo>
                </a:path>
              </a:pathLst>
            </a:custGeom>
            <a:grpFill/>
            <a:ln w="7608" cap="flat">
              <a:noFill/>
              <a:prstDash val="solid"/>
              <a:miter/>
            </a:ln>
          </p:spPr>
          <p:txBody>
            <a:bodyPr rtlCol="0" anchor="ctr"/>
            <a:lstStyle/>
            <a:p>
              <a:endParaRPr lang="hi-IN"/>
            </a:p>
          </p:txBody>
        </p:sp>
        <p:sp>
          <p:nvSpPr>
            <p:cNvPr id="1815" name="Freeform: Shape 814"/>
            <p:cNvSpPr/>
            <p:nvPr/>
          </p:nvSpPr>
          <p:spPr>
            <a:xfrm>
              <a:off x="12060480" y="3719532"/>
              <a:ext cx="74897" cy="74897"/>
            </a:xfrm>
            <a:custGeom>
              <a:avLst/>
              <a:gdLst>
                <a:gd name="connsiteX0" fmla="*/ 74897 w 74897"/>
                <a:gd name="connsiteY0" fmla="*/ 37449 h 74897"/>
                <a:gd name="connsiteX1" fmla="*/ 37449 w 74897"/>
                <a:gd name="connsiteY1" fmla="*/ 74898 h 74897"/>
                <a:gd name="connsiteX2" fmla="*/ 0 w 74897"/>
                <a:gd name="connsiteY2" fmla="*/ 37449 h 74897"/>
                <a:gd name="connsiteX3" fmla="*/ 37449 w 74897"/>
                <a:gd name="connsiteY3" fmla="*/ 0 h 74897"/>
                <a:gd name="connsiteX4" fmla="*/ 74897 w 74897"/>
                <a:gd name="connsiteY4" fmla="*/ 37449 h 7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97" h="74897">
                  <a:moveTo>
                    <a:pt x="74897" y="37449"/>
                  </a:moveTo>
                  <a:cubicBezTo>
                    <a:pt x="74897" y="58152"/>
                    <a:pt x="58152" y="74898"/>
                    <a:pt x="37449" y="74898"/>
                  </a:cubicBezTo>
                  <a:cubicBezTo>
                    <a:pt x="16746" y="74898"/>
                    <a:pt x="0" y="58152"/>
                    <a:pt x="0" y="37449"/>
                  </a:cubicBezTo>
                  <a:cubicBezTo>
                    <a:pt x="0" y="16745"/>
                    <a:pt x="16746" y="0"/>
                    <a:pt x="37449" y="0"/>
                  </a:cubicBezTo>
                  <a:cubicBezTo>
                    <a:pt x="58152" y="0"/>
                    <a:pt x="74897" y="16745"/>
                    <a:pt x="74897" y="37449"/>
                  </a:cubicBezTo>
                </a:path>
              </a:pathLst>
            </a:custGeom>
            <a:grpFill/>
            <a:ln w="7608" cap="flat">
              <a:noFill/>
              <a:prstDash val="solid"/>
              <a:miter/>
            </a:ln>
          </p:spPr>
          <p:txBody>
            <a:bodyPr rtlCol="0" anchor="ctr"/>
            <a:lstStyle/>
            <a:p>
              <a:endParaRPr lang="hi-IN"/>
            </a:p>
          </p:txBody>
        </p:sp>
        <p:sp>
          <p:nvSpPr>
            <p:cNvPr id="1816" name="Freeform: Shape 815"/>
            <p:cNvSpPr/>
            <p:nvPr/>
          </p:nvSpPr>
          <p:spPr>
            <a:xfrm>
              <a:off x="12029654" y="3543858"/>
              <a:ext cx="79311" cy="79312"/>
            </a:xfrm>
            <a:custGeom>
              <a:avLst/>
              <a:gdLst>
                <a:gd name="connsiteX0" fmla="*/ 79312 w 79311"/>
                <a:gd name="connsiteY0" fmla="*/ 39656 h 79312"/>
                <a:gd name="connsiteX1" fmla="*/ 39656 w 79311"/>
                <a:gd name="connsiteY1" fmla="*/ 79312 h 79312"/>
                <a:gd name="connsiteX2" fmla="*/ 0 w 79311"/>
                <a:gd name="connsiteY2" fmla="*/ 39656 h 79312"/>
                <a:gd name="connsiteX3" fmla="*/ 39656 w 79311"/>
                <a:gd name="connsiteY3" fmla="*/ 0 h 79312"/>
                <a:gd name="connsiteX4" fmla="*/ 79312 w 79311"/>
                <a:gd name="connsiteY4" fmla="*/ 39656 h 79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311" h="79312">
                  <a:moveTo>
                    <a:pt x="79312" y="39656"/>
                  </a:moveTo>
                  <a:cubicBezTo>
                    <a:pt x="79312" y="61577"/>
                    <a:pt x="61577" y="79312"/>
                    <a:pt x="39656" y="79312"/>
                  </a:cubicBezTo>
                  <a:cubicBezTo>
                    <a:pt x="17735" y="79312"/>
                    <a:pt x="0" y="61577"/>
                    <a:pt x="0" y="39656"/>
                  </a:cubicBezTo>
                  <a:cubicBezTo>
                    <a:pt x="0" y="17735"/>
                    <a:pt x="17735" y="0"/>
                    <a:pt x="39656" y="0"/>
                  </a:cubicBezTo>
                  <a:cubicBezTo>
                    <a:pt x="61577" y="76"/>
                    <a:pt x="79312" y="17811"/>
                    <a:pt x="79312" y="39656"/>
                  </a:cubicBezTo>
                </a:path>
              </a:pathLst>
            </a:custGeom>
            <a:grpFill/>
            <a:ln w="7608" cap="flat">
              <a:noFill/>
              <a:prstDash val="solid"/>
              <a:miter/>
            </a:ln>
          </p:spPr>
          <p:txBody>
            <a:bodyPr rtlCol="0" anchor="ctr"/>
            <a:lstStyle/>
            <a:p>
              <a:endParaRPr lang="hi-IN"/>
            </a:p>
          </p:txBody>
        </p:sp>
        <p:sp>
          <p:nvSpPr>
            <p:cNvPr id="1817" name="Freeform: Shape 816"/>
            <p:cNvSpPr/>
            <p:nvPr/>
          </p:nvSpPr>
          <p:spPr>
            <a:xfrm>
              <a:off x="11991976" y="3369630"/>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4" y="83575"/>
                    <a:pt x="0" y="64850"/>
                    <a:pt x="0" y="41787"/>
                  </a:cubicBezTo>
                  <a:cubicBezTo>
                    <a:pt x="0" y="18724"/>
                    <a:pt x="18724"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818" name="Freeform: Shape 817"/>
            <p:cNvSpPr/>
            <p:nvPr/>
          </p:nvSpPr>
          <p:spPr>
            <a:xfrm>
              <a:off x="11947678" y="3197456"/>
              <a:ext cx="86923" cy="86923"/>
            </a:xfrm>
            <a:custGeom>
              <a:avLst/>
              <a:gdLst>
                <a:gd name="connsiteX0" fmla="*/ 86923 w 86923"/>
                <a:gd name="connsiteY0" fmla="*/ 43462 h 86923"/>
                <a:gd name="connsiteX1" fmla="*/ 43462 w 86923"/>
                <a:gd name="connsiteY1" fmla="*/ 86924 h 86923"/>
                <a:gd name="connsiteX2" fmla="*/ 0 w 86923"/>
                <a:gd name="connsiteY2" fmla="*/ 43462 h 86923"/>
                <a:gd name="connsiteX3" fmla="*/ 43462 w 86923"/>
                <a:gd name="connsiteY3" fmla="*/ 0 h 86923"/>
                <a:gd name="connsiteX4" fmla="*/ 86923 w 86923"/>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3" h="86923">
                  <a:moveTo>
                    <a:pt x="86923" y="43462"/>
                  </a:moveTo>
                  <a:cubicBezTo>
                    <a:pt x="86923" y="67438"/>
                    <a:pt x="67438" y="86924"/>
                    <a:pt x="43462" y="86924"/>
                  </a:cubicBezTo>
                  <a:cubicBezTo>
                    <a:pt x="19485" y="86924"/>
                    <a:pt x="0" y="67515"/>
                    <a:pt x="0" y="43462"/>
                  </a:cubicBezTo>
                  <a:cubicBezTo>
                    <a:pt x="0" y="19486"/>
                    <a:pt x="19409" y="0"/>
                    <a:pt x="43462" y="0"/>
                  </a:cubicBezTo>
                  <a:cubicBezTo>
                    <a:pt x="67438" y="0"/>
                    <a:pt x="86923" y="19486"/>
                    <a:pt x="86923" y="43462"/>
                  </a:cubicBezTo>
                </a:path>
              </a:pathLst>
            </a:custGeom>
            <a:grpFill/>
            <a:ln w="7608" cap="flat">
              <a:noFill/>
              <a:prstDash val="solid"/>
              <a:miter/>
            </a:ln>
          </p:spPr>
          <p:txBody>
            <a:bodyPr rtlCol="0" anchor="ctr"/>
            <a:lstStyle/>
            <a:p>
              <a:endParaRPr lang="hi-IN"/>
            </a:p>
          </p:txBody>
        </p:sp>
        <p:sp>
          <p:nvSpPr>
            <p:cNvPr id="1819" name="Freeform: Shape 818"/>
            <p:cNvSpPr/>
            <p:nvPr/>
          </p:nvSpPr>
          <p:spPr>
            <a:xfrm>
              <a:off x="11896071" y="3026653"/>
              <a:ext cx="91186" cy="91186"/>
            </a:xfrm>
            <a:custGeom>
              <a:avLst/>
              <a:gdLst>
                <a:gd name="connsiteX0" fmla="*/ 91186 w 91186"/>
                <a:gd name="connsiteY0" fmla="*/ 45593 h 91186"/>
                <a:gd name="connsiteX1" fmla="*/ 45593 w 91186"/>
                <a:gd name="connsiteY1" fmla="*/ 91186 h 91186"/>
                <a:gd name="connsiteX2" fmla="*/ 0 w 91186"/>
                <a:gd name="connsiteY2" fmla="*/ 45593 h 91186"/>
                <a:gd name="connsiteX3" fmla="*/ 45593 w 91186"/>
                <a:gd name="connsiteY3" fmla="*/ 0 h 91186"/>
                <a:gd name="connsiteX4" fmla="*/ 91186 w 91186"/>
                <a:gd name="connsiteY4" fmla="*/ 45593 h 9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86" h="91186">
                  <a:moveTo>
                    <a:pt x="91186" y="45593"/>
                  </a:moveTo>
                  <a:cubicBezTo>
                    <a:pt x="91186" y="70787"/>
                    <a:pt x="70788" y="91186"/>
                    <a:pt x="45593" y="91186"/>
                  </a:cubicBezTo>
                  <a:cubicBezTo>
                    <a:pt x="20398" y="91186"/>
                    <a:pt x="0" y="70787"/>
                    <a:pt x="0" y="45593"/>
                  </a:cubicBezTo>
                  <a:cubicBezTo>
                    <a:pt x="0" y="20399"/>
                    <a:pt x="20398" y="0"/>
                    <a:pt x="45593" y="0"/>
                  </a:cubicBezTo>
                  <a:cubicBezTo>
                    <a:pt x="70788" y="0"/>
                    <a:pt x="91186" y="20399"/>
                    <a:pt x="91186" y="45593"/>
                  </a:cubicBezTo>
                </a:path>
              </a:pathLst>
            </a:custGeom>
            <a:grpFill/>
            <a:ln w="7608" cap="flat">
              <a:noFill/>
              <a:prstDash val="solid"/>
              <a:miter/>
            </a:ln>
          </p:spPr>
          <p:txBody>
            <a:bodyPr rtlCol="0" anchor="ctr"/>
            <a:lstStyle/>
            <a:p>
              <a:endParaRPr lang="hi-IN"/>
            </a:p>
          </p:txBody>
        </p:sp>
        <p:sp>
          <p:nvSpPr>
            <p:cNvPr id="1820" name="Freeform: Shape 819"/>
            <p:cNvSpPr/>
            <p:nvPr/>
          </p:nvSpPr>
          <p:spPr>
            <a:xfrm>
              <a:off x="11837995" y="2858514"/>
              <a:ext cx="94535" cy="94535"/>
            </a:xfrm>
            <a:custGeom>
              <a:avLst/>
              <a:gdLst>
                <a:gd name="connsiteX0" fmla="*/ 94536 w 94535"/>
                <a:gd name="connsiteY0" fmla="*/ 47268 h 94535"/>
                <a:gd name="connsiteX1" fmla="*/ 47267 w 94535"/>
                <a:gd name="connsiteY1" fmla="*/ 94535 h 94535"/>
                <a:gd name="connsiteX2" fmla="*/ 0 w 94535"/>
                <a:gd name="connsiteY2" fmla="*/ 47268 h 94535"/>
                <a:gd name="connsiteX3" fmla="*/ 47267 w 94535"/>
                <a:gd name="connsiteY3" fmla="*/ 0 h 94535"/>
                <a:gd name="connsiteX4" fmla="*/ 94536 w 94535"/>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 h="94535">
                  <a:moveTo>
                    <a:pt x="94536" y="47268"/>
                  </a:moveTo>
                  <a:cubicBezTo>
                    <a:pt x="94536" y="73375"/>
                    <a:pt x="73375" y="94535"/>
                    <a:pt x="47267" y="94535"/>
                  </a:cubicBezTo>
                  <a:cubicBezTo>
                    <a:pt x="21160" y="94535"/>
                    <a:pt x="0" y="73375"/>
                    <a:pt x="0" y="47268"/>
                  </a:cubicBezTo>
                  <a:cubicBezTo>
                    <a:pt x="0" y="21160"/>
                    <a:pt x="21160" y="0"/>
                    <a:pt x="47267" y="0"/>
                  </a:cubicBezTo>
                  <a:cubicBezTo>
                    <a:pt x="73375" y="0"/>
                    <a:pt x="94536" y="21160"/>
                    <a:pt x="94536" y="47268"/>
                  </a:cubicBezTo>
                </a:path>
              </a:pathLst>
            </a:custGeom>
            <a:grpFill/>
            <a:ln w="7608" cap="flat">
              <a:noFill/>
              <a:prstDash val="solid"/>
              <a:miter/>
            </a:ln>
          </p:spPr>
          <p:txBody>
            <a:bodyPr rtlCol="0" anchor="ctr"/>
            <a:lstStyle/>
            <a:p>
              <a:endParaRPr lang="hi-IN"/>
            </a:p>
          </p:txBody>
        </p:sp>
        <p:sp>
          <p:nvSpPr>
            <p:cNvPr id="1821" name="Freeform: Shape 820"/>
            <p:cNvSpPr/>
            <p:nvPr/>
          </p:nvSpPr>
          <p:spPr>
            <a:xfrm>
              <a:off x="11773297" y="2692887"/>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87" y="0"/>
                    <a:pt x="97732" y="21845"/>
                    <a:pt x="97732" y="48866"/>
                  </a:cubicBezTo>
                </a:path>
              </a:pathLst>
            </a:custGeom>
            <a:grpFill/>
            <a:ln w="7608" cap="flat">
              <a:noFill/>
              <a:prstDash val="solid"/>
              <a:miter/>
            </a:ln>
          </p:spPr>
          <p:txBody>
            <a:bodyPr rtlCol="0" anchor="ctr"/>
            <a:lstStyle/>
            <a:p>
              <a:endParaRPr lang="hi-IN"/>
            </a:p>
          </p:txBody>
        </p:sp>
        <p:sp>
          <p:nvSpPr>
            <p:cNvPr id="1822" name="Freeform: Shape 821"/>
            <p:cNvSpPr/>
            <p:nvPr/>
          </p:nvSpPr>
          <p:spPr>
            <a:xfrm>
              <a:off x="11701901" y="2529924"/>
              <a:ext cx="101005" cy="101005"/>
            </a:xfrm>
            <a:custGeom>
              <a:avLst/>
              <a:gdLst>
                <a:gd name="connsiteX0" fmla="*/ 101005 w 101005"/>
                <a:gd name="connsiteY0" fmla="*/ 50465 h 101005"/>
                <a:gd name="connsiteX1" fmla="*/ 50465 w 101005"/>
                <a:gd name="connsiteY1" fmla="*/ 101005 h 101005"/>
                <a:gd name="connsiteX2" fmla="*/ 0 w 101005"/>
                <a:gd name="connsiteY2" fmla="*/ 50465 h 101005"/>
                <a:gd name="connsiteX3" fmla="*/ 50465 w 101005"/>
                <a:gd name="connsiteY3" fmla="*/ 0 h 101005"/>
                <a:gd name="connsiteX4" fmla="*/ 101005 w 101005"/>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05" h="101005">
                  <a:moveTo>
                    <a:pt x="101005" y="50465"/>
                  </a:moveTo>
                  <a:cubicBezTo>
                    <a:pt x="101005" y="78323"/>
                    <a:pt x="78399" y="101005"/>
                    <a:pt x="50465" y="101005"/>
                  </a:cubicBezTo>
                  <a:cubicBezTo>
                    <a:pt x="22606" y="101005"/>
                    <a:pt x="0" y="78399"/>
                    <a:pt x="0" y="50465"/>
                  </a:cubicBezTo>
                  <a:cubicBezTo>
                    <a:pt x="0" y="22606"/>
                    <a:pt x="22606" y="0"/>
                    <a:pt x="50465" y="0"/>
                  </a:cubicBezTo>
                  <a:cubicBezTo>
                    <a:pt x="78399" y="0"/>
                    <a:pt x="101005" y="22606"/>
                    <a:pt x="101005" y="50465"/>
                  </a:cubicBezTo>
                </a:path>
              </a:pathLst>
            </a:custGeom>
            <a:grpFill/>
            <a:ln w="7608" cap="flat">
              <a:noFill/>
              <a:prstDash val="solid"/>
              <a:miter/>
            </a:ln>
          </p:spPr>
          <p:txBody>
            <a:bodyPr rtlCol="0" anchor="ctr"/>
            <a:lstStyle/>
            <a:p>
              <a:endParaRPr lang="hi-IN"/>
            </a:p>
          </p:txBody>
        </p:sp>
        <p:sp>
          <p:nvSpPr>
            <p:cNvPr id="1823" name="Freeform: Shape 822"/>
            <p:cNvSpPr/>
            <p:nvPr/>
          </p:nvSpPr>
          <p:spPr>
            <a:xfrm>
              <a:off x="11624567" y="2370462"/>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4"/>
                    <a:pt x="80150" y="103213"/>
                    <a:pt x="51606" y="103213"/>
                  </a:cubicBezTo>
                  <a:cubicBezTo>
                    <a:pt x="23139" y="103213"/>
                    <a:pt x="0" y="80150"/>
                    <a:pt x="0" y="51606"/>
                  </a:cubicBezTo>
                  <a:cubicBezTo>
                    <a:pt x="0" y="23139"/>
                    <a:pt x="23063" y="0"/>
                    <a:pt x="51606" y="0"/>
                  </a:cubicBezTo>
                  <a:cubicBezTo>
                    <a:pt x="80074" y="0"/>
                    <a:pt x="103213" y="23063"/>
                    <a:pt x="103213" y="51606"/>
                  </a:cubicBezTo>
                </a:path>
              </a:pathLst>
            </a:custGeom>
            <a:grpFill/>
            <a:ln w="7608" cap="flat">
              <a:noFill/>
              <a:prstDash val="solid"/>
              <a:miter/>
            </a:ln>
          </p:spPr>
          <p:txBody>
            <a:bodyPr rtlCol="0" anchor="ctr"/>
            <a:lstStyle/>
            <a:p>
              <a:endParaRPr lang="hi-IN"/>
            </a:p>
          </p:txBody>
        </p:sp>
        <p:sp>
          <p:nvSpPr>
            <p:cNvPr id="1824" name="Freeform: Shape 823"/>
            <p:cNvSpPr/>
            <p:nvPr/>
          </p:nvSpPr>
          <p:spPr>
            <a:xfrm>
              <a:off x="11540308" y="2213740"/>
              <a:ext cx="106409" cy="106409"/>
            </a:xfrm>
            <a:custGeom>
              <a:avLst/>
              <a:gdLst>
                <a:gd name="connsiteX0" fmla="*/ 106409 w 106409"/>
                <a:gd name="connsiteY0" fmla="*/ 53205 h 106409"/>
                <a:gd name="connsiteX1" fmla="*/ 53205 w 106409"/>
                <a:gd name="connsiteY1" fmla="*/ 106410 h 106409"/>
                <a:gd name="connsiteX2" fmla="*/ 0 w 106409"/>
                <a:gd name="connsiteY2" fmla="*/ 53205 h 106409"/>
                <a:gd name="connsiteX3" fmla="*/ 53205 w 106409"/>
                <a:gd name="connsiteY3" fmla="*/ 0 h 106409"/>
                <a:gd name="connsiteX4" fmla="*/ 106409 w 106409"/>
                <a:gd name="connsiteY4" fmla="*/ 53205 h 106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09" h="106409">
                  <a:moveTo>
                    <a:pt x="106409" y="53205"/>
                  </a:moveTo>
                  <a:cubicBezTo>
                    <a:pt x="106409" y="82585"/>
                    <a:pt x="82585" y="106410"/>
                    <a:pt x="53205" y="106410"/>
                  </a:cubicBezTo>
                  <a:cubicBezTo>
                    <a:pt x="23824" y="106410"/>
                    <a:pt x="0" y="82585"/>
                    <a:pt x="0" y="53205"/>
                  </a:cubicBezTo>
                  <a:cubicBezTo>
                    <a:pt x="0" y="23824"/>
                    <a:pt x="23824" y="0"/>
                    <a:pt x="53205" y="0"/>
                  </a:cubicBezTo>
                  <a:cubicBezTo>
                    <a:pt x="82585" y="-76"/>
                    <a:pt x="106409" y="23824"/>
                    <a:pt x="106409" y="53205"/>
                  </a:cubicBezTo>
                </a:path>
              </a:pathLst>
            </a:custGeom>
            <a:grpFill/>
            <a:ln w="7608" cap="flat">
              <a:noFill/>
              <a:prstDash val="solid"/>
              <a:miter/>
            </a:ln>
          </p:spPr>
          <p:txBody>
            <a:bodyPr rtlCol="0" anchor="ctr"/>
            <a:lstStyle/>
            <a:p>
              <a:endParaRPr lang="hi-IN"/>
            </a:p>
          </p:txBody>
        </p:sp>
        <p:sp>
          <p:nvSpPr>
            <p:cNvPr id="1825" name="Freeform: Shape 824"/>
            <p:cNvSpPr/>
            <p:nvPr/>
          </p:nvSpPr>
          <p:spPr>
            <a:xfrm>
              <a:off x="11450339" y="2061053"/>
              <a:ext cx="108540" cy="108540"/>
            </a:xfrm>
            <a:custGeom>
              <a:avLst/>
              <a:gdLst>
                <a:gd name="connsiteX0" fmla="*/ 108541 w 108540"/>
                <a:gd name="connsiteY0" fmla="*/ 54271 h 108540"/>
                <a:gd name="connsiteX1" fmla="*/ 54270 w 108540"/>
                <a:gd name="connsiteY1" fmla="*/ 108541 h 108540"/>
                <a:gd name="connsiteX2" fmla="*/ 0 w 108540"/>
                <a:gd name="connsiteY2" fmla="*/ 54271 h 108540"/>
                <a:gd name="connsiteX3" fmla="*/ 54270 w 108540"/>
                <a:gd name="connsiteY3" fmla="*/ 0 h 108540"/>
                <a:gd name="connsiteX4" fmla="*/ 108541 w 108540"/>
                <a:gd name="connsiteY4" fmla="*/ 54271 h 108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40" h="108540">
                  <a:moveTo>
                    <a:pt x="108541" y="54271"/>
                  </a:moveTo>
                  <a:cubicBezTo>
                    <a:pt x="108541" y="84260"/>
                    <a:pt x="84260" y="108541"/>
                    <a:pt x="54270" y="108541"/>
                  </a:cubicBezTo>
                  <a:cubicBezTo>
                    <a:pt x="24281" y="108541"/>
                    <a:pt x="0" y="84260"/>
                    <a:pt x="0" y="54271"/>
                  </a:cubicBezTo>
                  <a:cubicBezTo>
                    <a:pt x="0" y="24281"/>
                    <a:pt x="24281" y="0"/>
                    <a:pt x="54270" y="0"/>
                  </a:cubicBezTo>
                  <a:cubicBezTo>
                    <a:pt x="84260" y="-76"/>
                    <a:pt x="108541" y="24281"/>
                    <a:pt x="108541" y="54271"/>
                  </a:cubicBezTo>
                </a:path>
              </a:pathLst>
            </a:custGeom>
            <a:grpFill/>
            <a:ln w="7608" cap="flat">
              <a:noFill/>
              <a:prstDash val="solid"/>
              <a:miter/>
            </a:ln>
          </p:spPr>
          <p:txBody>
            <a:bodyPr rtlCol="0" anchor="ctr"/>
            <a:lstStyle/>
            <a:p>
              <a:endParaRPr lang="hi-IN"/>
            </a:p>
          </p:txBody>
        </p:sp>
        <p:sp>
          <p:nvSpPr>
            <p:cNvPr id="1826" name="Freeform: Shape 825"/>
            <p:cNvSpPr/>
            <p:nvPr/>
          </p:nvSpPr>
          <p:spPr>
            <a:xfrm>
              <a:off x="11354662" y="1912552"/>
              <a:ext cx="109758" cy="109758"/>
            </a:xfrm>
            <a:custGeom>
              <a:avLst/>
              <a:gdLst>
                <a:gd name="connsiteX0" fmla="*/ 109759 w 109758"/>
                <a:gd name="connsiteY0" fmla="*/ 54879 h 109758"/>
                <a:gd name="connsiteX1" fmla="*/ 54879 w 109758"/>
                <a:gd name="connsiteY1" fmla="*/ 109758 h 109758"/>
                <a:gd name="connsiteX2" fmla="*/ 0 w 109758"/>
                <a:gd name="connsiteY2" fmla="*/ 54879 h 109758"/>
                <a:gd name="connsiteX3" fmla="*/ 54879 w 109758"/>
                <a:gd name="connsiteY3" fmla="*/ 0 h 109758"/>
                <a:gd name="connsiteX4" fmla="*/ 109759 w 109758"/>
                <a:gd name="connsiteY4" fmla="*/ 54879 h 10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58" h="109758">
                  <a:moveTo>
                    <a:pt x="109759" y="54879"/>
                  </a:moveTo>
                  <a:cubicBezTo>
                    <a:pt x="109759" y="85173"/>
                    <a:pt x="85173" y="109758"/>
                    <a:pt x="54879" y="109758"/>
                  </a:cubicBezTo>
                  <a:cubicBezTo>
                    <a:pt x="24585" y="109758"/>
                    <a:pt x="0" y="85173"/>
                    <a:pt x="0" y="54879"/>
                  </a:cubicBezTo>
                  <a:cubicBezTo>
                    <a:pt x="0" y="24585"/>
                    <a:pt x="24585" y="0"/>
                    <a:pt x="54879" y="0"/>
                  </a:cubicBezTo>
                  <a:cubicBezTo>
                    <a:pt x="85173" y="0"/>
                    <a:pt x="109759" y="24585"/>
                    <a:pt x="109759" y="54879"/>
                  </a:cubicBezTo>
                </a:path>
              </a:pathLst>
            </a:custGeom>
            <a:grpFill/>
            <a:ln w="7608" cap="flat">
              <a:noFill/>
              <a:prstDash val="solid"/>
              <a:miter/>
            </a:ln>
          </p:spPr>
          <p:txBody>
            <a:bodyPr rtlCol="0" anchor="ctr"/>
            <a:lstStyle/>
            <a:p>
              <a:endParaRPr lang="hi-IN"/>
            </a:p>
          </p:txBody>
        </p:sp>
        <p:sp>
          <p:nvSpPr>
            <p:cNvPr id="1827" name="Freeform: Shape 826"/>
            <p:cNvSpPr/>
            <p:nvPr/>
          </p:nvSpPr>
          <p:spPr>
            <a:xfrm>
              <a:off x="11252667" y="1767628"/>
              <a:ext cx="111890" cy="111889"/>
            </a:xfrm>
            <a:custGeom>
              <a:avLst/>
              <a:gdLst>
                <a:gd name="connsiteX0" fmla="*/ 111890 w 111890"/>
                <a:gd name="connsiteY0" fmla="*/ 55945 h 111889"/>
                <a:gd name="connsiteX1" fmla="*/ 55945 w 111890"/>
                <a:gd name="connsiteY1" fmla="*/ 111890 h 111889"/>
                <a:gd name="connsiteX2" fmla="*/ 0 w 111890"/>
                <a:gd name="connsiteY2" fmla="*/ 55945 h 111889"/>
                <a:gd name="connsiteX3" fmla="*/ 55945 w 111890"/>
                <a:gd name="connsiteY3" fmla="*/ 0 h 111889"/>
                <a:gd name="connsiteX4" fmla="*/ 111890 w 111890"/>
                <a:gd name="connsiteY4" fmla="*/ 55945 h 11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890" h="111889">
                  <a:moveTo>
                    <a:pt x="111890" y="55945"/>
                  </a:moveTo>
                  <a:cubicBezTo>
                    <a:pt x="111890" y="86848"/>
                    <a:pt x="86848" y="111890"/>
                    <a:pt x="55945" y="111890"/>
                  </a:cubicBezTo>
                  <a:cubicBezTo>
                    <a:pt x="25042" y="111890"/>
                    <a:pt x="0" y="86848"/>
                    <a:pt x="0" y="55945"/>
                  </a:cubicBezTo>
                  <a:cubicBezTo>
                    <a:pt x="0" y="25042"/>
                    <a:pt x="25042" y="0"/>
                    <a:pt x="55945" y="0"/>
                  </a:cubicBezTo>
                  <a:cubicBezTo>
                    <a:pt x="86848" y="0"/>
                    <a:pt x="111890" y="25042"/>
                    <a:pt x="111890" y="55945"/>
                  </a:cubicBezTo>
                </a:path>
              </a:pathLst>
            </a:custGeom>
            <a:grpFill/>
            <a:ln w="7608" cap="flat">
              <a:noFill/>
              <a:prstDash val="solid"/>
              <a:miter/>
            </a:ln>
          </p:spPr>
          <p:txBody>
            <a:bodyPr rtlCol="0" anchor="ctr"/>
            <a:lstStyle/>
            <a:p>
              <a:endParaRPr lang="hi-IN"/>
            </a:p>
          </p:txBody>
        </p:sp>
        <p:sp>
          <p:nvSpPr>
            <p:cNvPr id="1828" name="Freeform: Shape 827"/>
            <p:cNvSpPr/>
            <p:nvPr/>
          </p:nvSpPr>
          <p:spPr>
            <a:xfrm>
              <a:off x="11145345" y="1627500"/>
              <a:ext cx="112955" cy="112955"/>
            </a:xfrm>
            <a:custGeom>
              <a:avLst/>
              <a:gdLst>
                <a:gd name="connsiteX0" fmla="*/ 112955 w 112955"/>
                <a:gd name="connsiteY0" fmla="*/ 56478 h 112955"/>
                <a:gd name="connsiteX1" fmla="*/ 56478 w 112955"/>
                <a:gd name="connsiteY1" fmla="*/ 112955 h 112955"/>
                <a:gd name="connsiteX2" fmla="*/ 0 w 112955"/>
                <a:gd name="connsiteY2" fmla="*/ 56478 h 112955"/>
                <a:gd name="connsiteX3" fmla="*/ 56478 w 112955"/>
                <a:gd name="connsiteY3" fmla="*/ 0 h 112955"/>
                <a:gd name="connsiteX4" fmla="*/ 112955 w 112955"/>
                <a:gd name="connsiteY4" fmla="*/ 56478 h 11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55" h="112955">
                  <a:moveTo>
                    <a:pt x="112955" y="56478"/>
                  </a:moveTo>
                  <a:cubicBezTo>
                    <a:pt x="112955" y="87685"/>
                    <a:pt x="87685" y="112955"/>
                    <a:pt x="56478" y="112955"/>
                  </a:cubicBezTo>
                  <a:cubicBezTo>
                    <a:pt x="25270" y="112955"/>
                    <a:pt x="0" y="87685"/>
                    <a:pt x="0" y="56478"/>
                  </a:cubicBezTo>
                  <a:cubicBezTo>
                    <a:pt x="0" y="25270"/>
                    <a:pt x="25270" y="0"/>
                    <a:pt x="56478" y="0"/>
                  </a:cubicBezTo>
                  <a:cubicBezTo>
                    <a:pt x="87685" y="0"/>
                    <a:pt x="112955" y="25270"/>
                    <a:pt x="112955" y="56478"/>
                  </a:cubicBezTo>
                </a:path>
              </a:pathLst>
            </a:custGeom>
            <a:grpFill/>
            <a:ln w="7608" cap="flat">
              <a:noFill/>
              <a:prstDash val="solid"/>
              <a:miter/>
            </a:ln>
          </p:spPr>
          <p:txBody>
            <a:bodyPr rtlCol="0" anchor="ctr"/>
            <a:lstStyle/>
            <a:p>
              <a:endParaRPr lang="hi-IN"/>
            </a:p>
          </p:txBody>
        </p:sp>
        <p:sp>
          <p:nvSpPr>
            <p:cNvPr id="1829" name="Freeform: Shape 828"/>
            <p:cNvSpPr/>
            <p:nvPr/>
          </p:nvSpPr>
          <p:spPr>
            <a:xfrm>
              <a:off x="11032466" y="1491786"/>
              <a:ext cx="114020" cy="114020"/>
            </a:xfrm>
            <a:custGeom>
              <a:avLst/>
              <a:gdLst>
                <a:gd name="connsiteX0" fmla="*/ 114021 w 114020"/>
                <a:gd name="connsiteY0" fmla="*/ 57010 h 114020"/>
                <a:gd name="connsiteX1" fmla="*/ 57010 w 114020"/>
                <a:gd name="connsiteY1" fmla="*/ 114021 h 114020"/>
                <a:gd name="connsiteX2" fmla="*/ 0 w 114020"/>
                <a:gd name="connsiteY2" fmla="*/ 57010 h 114020"/>
                <a:gd name="connsiteX3" fmla="*/ 57010 w 114020"/>
                <a:gd name="connsiteY3" fmla="*/ 0 h 114020"/>
                <a:gd name="connsiteX4" fmla="*/ 114021 w 114020"/>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0">
                  <a:moveTo>
                    <a:pt x="114021" y="57010"/>
                  </a:moveTo>
                  <a:cubicBezTo>
                    <a:pt x="114021" y="88522"/>
                    <a:pt x="88522" y="114021"/>
                    <a:pt x="57010" y="114021"/>
                  </a:cubicBezTo>
                  <a:cubicBezTo>
                    <a:pt x="25498" y="114021"/>
                    <a:pt x="0" y="88522"/>
                    <a:pt x="0" y="57010"/>
                  </a:cubicBezTo>
                  <a:cubicBezTo>
                    <a:pt x="0" y="25499"/>
                    <a:pt x="25498" y="0"/>
                    <a:pt x="57010" y="0"/>
                  </a:cubicBezTo>
                  <a:cubicBezTo>
                    <a:pt x="88522" y="0"/>
                    <a:pt x="114021" y="25499"/>
                    <a:pt x="114021" y="57010"/>
                  </a:cubicBezTo>
                </a:path>
              </a:pathLst>
            </a:custGeom>
            <a:grpFill/>
            <a:ln w="7608" cap="flat">
              <a:noFill/>
              <a:prstDash val="solid"/>
              <a:miter/>
            </a:ln>
          </p:spPr>
          <p:txBody>
            <a:bodyPr rtlCol="0" anchor="ctr"/>
            <a:lstStyle/>
            <a:p>
              <a:endParaRPr lang="hi-IN"/>
            </a:p>
          </p:txBody>
        </p:sp>
        <p:sp>
          <p:nvSpPr>
            <p:cNvPr id="1830" name="Freeform: Shape 829"/>
            <p:cNvSpPr/>
            <p:nvPr/>
          </p:nvSpPr>
          <p:spPr>
            <a:xfrm>
              <a:off x="10914714" y="1361324"/>
              <a:ext cx="114021" cy="114020"/>
            </a:xfrm>
            <a:custGeom>
              <a:avLst/>
              <a:gdLst>
                <a:gd name="connsiteX0" fmla="*/ 114022 w 114021"/>
                <a:gd name="connsiteY0" fmla="*/ 57010 h 114020"/>
                <a:gd name="connsiteX1" fmla="*/ 57010 w 114021"/>
                <a:gd name="connsiteY1" fmla="*/ 114021 h 114020"/>
                <a:gd name="connsiteX2" fmla="*/ 0 w 114021"/>
                <a:gd name="connsiteY2" fmla="*/ 57010 h 114020"/>
                <a:gd name="connsiteX3" fmla="*/ 57010 w 114021"/>
                <a:gd name="connsiteY3" fmla="*/ 0 h 114020"/>
                <a:gd name="connsiteX4" fmla="*/ 114022 w 114021"/>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1" h="114020">
                  <a:moveTo>
                    <a:pt x="114022" y="57010"/>
                  </a:moveTo>
                  <a:cubicBezTo>
                    <a:pt x="114022" y="88522"/>
                    <a:pt x="88522" y="114021"/>
                    <a:pt x="57010" y="114021"/>
                  </a:cubicBezTo>
                  <a:cubicBezTo>
                    <a:pt x="25499" y="114021"/>
                    <a:pt x="0" y="88522"/>
                    <a:pt x="0" y="57010"/>
                  </a:cubicBezTo>
                  <a:cubicBezTo>
                    <a:pt x="0" y="25499"/>
                    <a:pt x="25499" y="0"/>
                    <a:pt x="57010" y="0"/>
                  </a:cubicBezTo>
                  <a:cubicBezTo>
                    <a:pt x="88446" y="0"/>
                    <a:pt x="114022" y="25499"/>
                    <a:pt x="114022" y="57010"/>
                  </a:cubicBezTo>
                </a:path>
              </a:pathLst>
            </a:custGeom>
            <a:grpFill/>
            <a:ln w="7608" cap="flat">
              <a:noFill/>
              <a:prstDash val="solid"/>
              <a:miter/>
            </a:ln>
          </p:spPr>
          <p:txBody>
            <a:bodyPr rtlCol="0" anchor="ctr"/>
            <a:lstStyle/>
            <a:p>
              <a:endParaRPr lang="hi-IN"/>
            </a:p>
          </p:txBody>
        </p:sp>
        <p:sp>
          <p:nvSpPr>
            <p:cNvPr id="1831" name="Freeform: Shape 830"/>
            <p:cNvSpPr/>
            <p:nvPr/>
          </p:nvSpPr>
          <p:spPr>
            <a:xfrm>
              <a:off x="10791636" y="1235810"/>
              <a:ext cx="114020" cy="114020"/>
            </a:xfrm>
            <a:custGeom>
              <a:avLst/>
              <a:gdLst>
                <a:gd name="connsiteX0" fmla="*/ 114021 w 114020"/>
                <a:gd name="connsiteY0" fmla="*/ 57010 h 114020"/>
                <a:gd name="connsiteX1" fmla="*/ 57010 w 114020"/>
                <a:gd name="connsiteY1" fmla="*/ 114021 h 114020"/>
                <a:gd name="connsiteX2" fmla="*/ 0 w 114020"/>
                <a:gd name="connsiteY2" fmla="*/ 57010 h 114020"/>
                <a:gd name="connsiteX3" fmla="*/ 57010 w 114020"/>
                <a:gd name="connsiteY3" fmla="*/ 0 h 114020"/>
                <a:gd name="connsiteX4" fmla="*/ 114021 w 114020"/>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0">
                  <a:moveTo>
                    <a:pt x="114021" y="57010"/>
                  </a:moveTo>
                  <a:cubicBezTo>
                    <a:pt x="114021" y="88522"/>
                    <a:pt x="88522" y="114021"/>
                    <a:pt x="57010" y="114021"/>
                  </a:cubicBezTo>
                  <a:cubicBezTo>
                    <a:pt x="25498" y="114021"/>
                    <a:pt x="0" y="88522"/>
                    <a:pt x="0" y="57010"/>
                  </a:cubicBezTo>
                  <a:cubicBezTo>
                    <a:pt x="0" y="25499"/>
                    <a:pt x="25498" y="0"/>
                    <a:pt x="57010" y="0"/>
                  </a:cubicBezTo>
                  <a:cubicBezTo>
                    <a:pt x="88522" y="0"/>
                    <a:pt x="114021" y="25499"/>
                    <a:pt x="114021" y="57010"/>
                  </a:cubicBezTo>
                </a:path>
              </a:pathLst>
            </a:custGeom>
            <a:grpFill/>
            <a:ln w="7608" cap="flat">
              <a:noFill/>
              <a:prstDash val="solid"/>
              <a:miter/>
            </a:ln>
          </p:spPr>
          <p:txBody>
            <a:bodyPr rtlCol="0" anchor="ctr"/>
            <a:lstStyle/>
            <a:p>
              <a:endParaRPr lang="hi-IN"/>
            </a:p>
          </p:txBody>
        </p:sp>
        <p:sp>
          <p:nvSpPr>
            <p:cNvPr id="1832" name="Freeform: Shape 831"/>
            <p:cNvSpPr/>
            <p:nvPr/>
          </p:nvSpPr>
          <p:spPr>
            <a:xfrm>
              <a:off x="10663610" y="1115395"/>
              <a:ext cx="114020" cy="114021"/>
            </a:xfrm>
            <a:custGeom>
              <a:avLst/>
              <a:gdLst>
                <a:gd name="connsiteX0" fmla="*/ 114021 w 114020"/>
                <a:gd name="connsiteY0" fmla="*/ 57011 h 114021"/>
                <a:gd name="connsiteX1" fmla="*/ 57010 w 114020"/>
                <a:gd name="connsiteY1" fmla="*/ 114021 h 114021"/>
                <a:gd name="connsiteX2" fmla="*/ 0 w 114020"/>
                <a:gd name="connsiteY2" fmla="*/ 57011 h 114021"/>
                <a:gd name="connsiteX3" fmla="*/ 57010 w 114020"/>
                <a:gd name="connsiteY3" fmla="*/ 0 h 114021"/>
                <a:gd name="connsiteX4" fmla="*/ 114021 w 114020"/>
                <a:gd name="connsiteY4" fmla="*/ 57011 h 114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1">
                  <a:moveTo>
                    <a:pt x="114021" y="57011"/>
                  </a:moveTo>
                  <a:cubicBezTo>
                    <a:pt x="114021" y="88522"/>
                    <a:pt x="88522" y="114021"/>
                    <a:pt x="57010" y="114021"/>
                  </a:cubicBezTo>
                  <a:cubicBezTo>
                    <a:pt x="25498" y="114021"/>
                    <a:pt x="0" y="88522"/>
                    <a:pt x="0" y="57011"/>
                  </a:cubicBezTo>
                  <a:cubicBezTo>
                    <a:pt x="0" y="25499"/>
                    <a:pt x="25498" y="0"/>
                    <a:pt x="57010" y="0"/>
                  </a:cubicBezTo>
                  <a:cubicBezTo>
                    <a:pt x="88522" y="-76"/>
                    <a:pt x="114021" y="25499"/>
                    <a:pt x="114021" y="57011"/>
                  </a:cubicBezTo>
                </a:path>
              </a:pathLst>
            </a:custGeom>
            <a:grpFill/>
            <a:ln w="7608" cap="flat">
              <a:noFill/>
              <a:prstDash val="solid"/>
              <a:miter/>
            </a:ln>
          </p:spPr>
          <p:txBody>
            <a:bodyPr rtlCol="0" anchor="ctr"/>
            <a:lstStyle/>
            <a:p>
              <a:endParaRPr lang="hi-IN"/>
            </a:p>
          </p:txBody>
        </p:sp>
        <p:sp>
          <p:nvSpPr>
            <p:cNvPr id="1833" name="Freeform: Shape 832"/>
            <p:cNvSpPr/>
            <p:nvPr/>
          </p:nvSpPr>
          <p:spPr>
            <a:xfrm>
              <a:off x="10531321" y="1000765"/>
              <a:ext cx="112955" cy="112955"/>
            </a:xfrm>
            <a:custGeom>
              <a:avLst/>
              <a:gdLst>
                <a:gd name="connsiteX0" fmla="*/ 112956 w 112955"/>
                <a:gd name="connsiteY0" fmla="*/ 56478 h 112955"/>
                <a:gd name="connsiteX1" fmla="*/ 56478 w 112955"/>
                <a:gd name="connsiteY1" fmla="*/ 112955 h 112955"/>
                <a:gd name="connsiteX2" fmla="*/ 0 w 112955"/>
                <a:gd name="connsiteY2" fmla="*/ 56478 h 112955"/>
                <a:gd name="connsiteX3" fmla="*/ 56478 w 112955"/>
                <a:gd name="connsiteY3" fmla="*/ 0 h 112955"/>
                <a:gd name="connsiteX4" fmla="*/ 112956 w 112955"/>
                <a:gd name="connsiteY4" fmla="*/ 56478 h 11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55" h="112955">
                  <a:moveTo>
                    <a:pt x="112956" y="56478"/>
                  </a:moveTo>
                  <a:cubicBezTo>
                    <a:pt x="112956" y="87685"/>
                    <a:pt x="87685" y="112955"/>
                    <a:pt x="56478" y="112955"/>
                  </a:cubicBezTo>
                  <a:cubicBezTo>
                    <a:pt x="25271" y="112955"/>
                    <a:pt x="0" y="87685"/>
                    <a:pt x="0" y="56478"/>
                  </a:cubicBezTo>
                  <a:cubicBezTo>
                    <a:pt x="0" y="25270"/>
                    <a:pt x="25271" y="0"/>
                    <a:pt x="56478" y="0"/>
                  </a:cubicBezTo>
                  <a:cubicBezTo>
                    <a:pt x="87685" y="0"/>
                    <a:pt x="112956" y="25346"/>
                    <a:pt x="112956" y="56478"/>
                  </a:cubicBezTo>
                </a:path>
              </a:pathLst>
            </a:custGeom>
            <a:grpFill/>
            <a:ln w="7608" cap="flat">
              <a:noFill/>
              <a:prstDash val="solid"/>
              <a:miter/>
            </a:ln>
          </p:spPr>
          <p:txBody>
            <a:bodyPr rtlCol="0" anchor="ctr"/>
            <a:lstStyle/>
            <a:p>
              <a:endParaRPr lang="hi-IN"/>
            </a:p>
          </p:txBody>
        </p:sp>
        <p:sp>
          <p:nvSpPr>
            <p:cNvPr id="1834" name="Freeform: Shape 833"/>
            <p:cNvSpPr/>
            <p:nvPr/>
          </p:nvSpPr>
          <p:spPr>
            <a:xfrm>
              <a:off x="10394466" y="891768"/>
              <a:ext cx="111890" cy="111889"/>
            </a:xfrm>
            <a:custGeom>
              <a:avLst/>
              <a:gdLst>
                <a:gd name="connsiteX0" fmla="*/ 111890 w 111890"/>
                <a:gd name="connsiteY0" fmla="*/ 55945 h 111889"/>
                <a:gd name="connsiteX1" fmla="*/ 55945 w 111890"/>
                <a:gd name="connsiteY1" fmla="*/ 111890 h 111889"/>
                <a:gd name="connsiteX2" fmla="*/ 0 w 111890"/>
                <a:gd name="connsiteY2" fmla="*/ 55945 h 111889"/>
                <a:gd name="connsiteX3" fmla="*/ 55945 w 111890"/>
                <a:gd name="connsiteY3" fmla="*/ 0 h 111889"/>
                <a:gd name="connsiteX4" fmla="*/ 111890 w 111890"/>
                <a:gd name="connsiteY4" fmla="*/ 55945 h 11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890" h="111889">
                  <a:moveTo>
                    <a:pt x="111890" y="55945"/>
                  </a:moveTo>
                  <a:cubicBezTo>
                    <a:pt x="111890" y="86848"/>
                    <a:pt x="86848" y="111890"/>
                    <a:pt x="55945" y="111890"/>
                  </a:cubicBezTo>
                  <a:cubicBezTo>
                    <a:pt x="25042" y="111890"/>
                    <a:pt x="0" y="86848"/>
                    <a:pt x="0" y="55945"/>
                  </a:cubicBezTo>
                  <a:cubicBezTo>
                    <a:pt x="0" y="25042"/>
                    <a:pt x="25042" y="0"/>
                    <a:pt x="55945" y="0"/>
                  </a:cubicBezTo>
                  <a:cubicBezTo>
                    <a:pt x="86848" y="0"/>
                    <a:pt x="111890" y="25042"/>
                    <a:pt x="111890" y="55945"/>
                  </a:cubicBezTo>
                </a:path>
              </a:pathLst>
            </a:custGeom>
            <a:grpFill/>
            <a:ln w="7608" cap="flat">
              <a:noFill/>
              <a:prstDash val="solid"/>
              <a:miter/>
            </a:ln>
          </p:spPr>
          <p:txBody>
            <a:bodyPr rtlCol="0" anchor="ctr"/>
            <a:lstStyle/>
            <a:p>
              <a:endParaRPr lang="hi-IN"/>
            </a:p>
          </p:txBody>
        </p:sp>
        <p:sp>
          <p:nvSpPr>
            <p:cNvPr id="1835" name="Freeform: Shape 834"/>
            <p:cNvSpPr/>
            <p:nvPr/>
          </p:nvSpPr>
          <p:spPr>
            <a:xfrm>
              <a:off x="10253196" y="788403"/>
              <a:ext cx="110823" cy="110824"/>
            </a:xfrm>
            <a:custGeom>
              <a:avLst/>
              <a:gdLst>
                <a:gd name="connsiteX0" fmla="*/ 110824 w 110823"/>
                <a:gd name="connsiteY0" fmla="*/ 55412 h 110824"/>
                <a:gd name="connsiteX1" fmla="*/ 55411 w 110823"/>
                <a:gd name="connsiteY1" fmla="*/ 110824 h 110824"/>
                <a:gd name="connsiteX2" fmla="*/ 0 w 110823"/>
                <a:gd name="connsiteY2" fmla="*/ 55412 h 110824"/>
                <a:gd name="connsiteX3" fmla="*/ 55411 w 110823"/>
                <a:gd name="connsiteY3" fmla="*/ 0 h 110824"/>
                <a:gd name="connsiteX4" fmla="*/ 110824 w 110823"/>
                <a:gd name="connsiteY4" fmla="*/ 55412 h 110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23" h="110824">
                  <a:moveTo>
                    <a:pt x="110824" y="55412"/>
                  </a:moveTo>
                  <a:cubicBezTo>
                    <a:pt x="110824" y="86010"/>
                    <a:pt x="86010" y="110824"/>
                    <a:pt x="55411" y="110824"/>
                  </a:cubicBezTo>
                  <a:cubicBezTo>
                    <a:pt x="24814" y="110824"/>
                    <a:pt x="0" y="86010"/>
                    <a:pt x="0" y="55412"/>
                  </a:cubicBezTo>
                  <a:cubicBezTo>
                    <a:pt x="0" y="24814"/>
                    <a:pt x="24814" y="0"/>
                    <a:pt x="55411" y="0"/>
                  </a:cubicBezTo>
                  <a:cubicBezTo>
                    <a:pt x="86010" y="0"/>
                    <a:pt x="110824" y="24814"/>
                    <a:pt x="110824" y="55412"/>
                  </a:cubicBezTo>
                </a:path>
              </a:pathLst>
            </a:custGeom>
            <a:grpFill/>
            <a:ln w="7608" cap="flat">
              <a:noFill/>
              <a:prstDash val="solid"/>
              <a:miter/>
            </a:ln>
          </p:spPr>
          <p:txBody>
            <a:bodyPr rtlCol="0" anchor="ctr"/>
            <a:lstStyle/>
            <a:p>
              <a:endParaRPr lang="hi-IN"/>
            </a:p>
          </p:txBody>
        </p:sp>
        <p:sp>
          <p:nvSpPr>
            <p:cNvPr id="1836" name="Freeform: Shape 835"/>
            <p:cNvSpPr/>
            <p:nvPr/>
          </p:nvSpPr>
          <p:spPr>
            <a:xfrm>
              <a:off x="10107815" y="690899"/>
              <a:ext cx="109758" cy="109758"/>
            </a:xfrm>
            <a:custGeom>
              <a:avLst/>
              <a:gdLst>
                <a:gd name="connsiteX0" fmla="*/ 109759 w 109758"/>
                <a:gd name="connsiteY0" fmla="*/ 54879 h 109758"/>
                <a:gd name="connsiteX1" fmla="*/ 54880 w 109758"/>
                <a:gd name="connsiteY1" fmla="*/ 109758 h 109758"/>
                <a:gd name="connsiteX2" fmla="*/ 0 w 109758"/>
                <a:gd name="connsiteY2" fmla="*/ 54879 h 109758"/>
                <a:gd name="connsiteX3" fmla="*/ 54880 w 109758"/>
                <a:gd name="connsiteY3" fmla="*/ 0 h 109758"/>
                <a:gd name="connsiteX4" fmla="*/ 109759 w 109758"/>
                <a:gd name="connsiteY4" fmla="*/ 54879 h 10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58" h="109758">
                  <a:moveTo>
                    <a:pt x="109759" y="54879"/>
                  </a:moveTo>
                  <a:cubicBezTo>
                    <a:pt x="109759" y="85173"/>
                    <a:pt x="85250" y="109758"/>
                    <a:pt x="54880" y="109758"/>
                  </a:cubicBezTo>
                  <a:cubicBezTo>
                    <a:pt x="24586" y="109758"/>
                    <a:pt x="0" y="85173"/>
                    <a:pt x="0" y="54879"/>
                  </a:cubicBezTo>
                  <a:cubicBezTo>
                    <a:pt x="0" y="24585"/>
                    <a:pt x="24586" y="0"/>
                    <a:pt x="54880" y="0"/>
                  </a:cubicBezTo>
                  <a:cubicBezTo>
                    <a:pt x="85250" y="0"/>
                    <a:pt x="109759" y="24585"/>
                    <a:pt x="109759" y="54879"/>
                  </a:cubicBezTo>
                </a:path>
              </a:pathLst>
            </a:custGeom>
            <a:grpFill/>
            <a:ln w="7608" cap="flat">
              <a:noFill/>
              <a:prstDash val="solid"/>
              <a:miter/>
            </a:ln>
          </p:spPr>
          <p:txBody>
            <a:bodyPr rtlCol="0" anchor="ctr"/>
            <a:lstStyle/>
            <a:p>
              <a:endParaRPr lang="hi-IN"/>
            </a:p>
          </p:txBody>
        </p:sp>
        <p:sp>
          <p:nvSpPr>
            <p:cNvPr id="1837" name="Freeform: Shape 836"/>
            <p:cNvSpPr/>
            <p:nvPr/>
          </p:nvSpPr>
          <p:spPr>
            <a:xfrm>
              <a:off x="9959238" y="600017"/>
              <a:ext cx="107474" cy="107474"/>
            </a:xfrm>
            <a:custGeom>
              <a:avLst/>
              <a:gdLst>
                <a:gd name="connsiteX0" fmla="*/ 107475 w 107474"/>
                <a:gd name="connsiteY0" fmla="*/ 53737 h 107474"/>
                <a:gd name="connsiteX1" fmla="*/ 53737 w 107474"/>
                <a:gd name="connsiteY1" fmla="*/ 107475 h 107474"/>
                <a:gd name="connsiteX2" fmla="*/ 0 w 107474"/>
                <a:gd name="connsiteY2" fmla="*/ 53737 h 107474"/>
                <a:gd name="connsiteX3" fmla="*/ 53737 w 107474"/>
                <a:gd name="connsiteY3" fmla="*/ 0 h 107474"/>
                <a:gd name="connsiteX4" fmla="*/ 107475 w 107474"/>
                <a:gd name="connsiteY4" fmla="*/ 53737 h 107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74" h="107474">
                  <a:moveTo>
                    <a:pt x="107475" y="53737"/>
                  </a:moveTo>
                  <a:cubicBezTo>
                    <a:pt x="107475" y="83423"/>
                    <a:pt x="83422" y="107475"/>
                    <a:pt x="53737" y="107475"/>
                  </a:cubicBezTo>
                  <a:cubicBezTo>
                    <a:pt x="24052" y="107475"/>
                    <a:pt x="0" y="83423"/>
                    <a:pt x="0" y="53737"/>
                  </a:cubicBezTo>
                  <a:cubicBezTo>
                    <a:pt x="0" y="24052"/>
                    <a:pt x="24052" y="0"/>
                    <a:pt x="53737" y="0"/>
                  </a:cubicBezTo>
                  <a:cubicBezTo>
                    <a:pt x="83422" y="0"/>
                    <a:pt x="107475" y="24052"/>
                    <a:pt x="107475" y="53737"/>
                  </a:cubicBezTo>
                </a:path>
              </a:pathLst>
            </a:custGeom>
            <a:grpFill/>
            <a:ln w="7608" cap="flat">
              <a:noFill/>
              <a:prstDash val="solid"/>
              <a:miter/>
            </a:ln>
          </p:spPr>
          <p:txBody>
            <a:bodyPr rtlCol="0" anchor="ctr"/>
            <a:lstStyle/>
            <a:p>
              <a:endParaRPr lang="hi-IN"/>
            </a:p>
          </p:txBody>
        </p:sp>
        <p:sp>
          <p:nvSpPr>
            <p:cNvPr id="1838" name="Freeform: Shape 837"/>
            <p:cNvSpPr/>
            <p:nvPr/>
          </p:nvSpPr>
          <p:spPr>
            <a:xfrm>
              <a:off x="9807387" y="515834"/>
              <a:ext cx="104278" cy="104278"/>
            </a:xfrm>
            <a:custGeom>
              <a:avLst/>
              <a:gdLst>
                <a:gd name="connsiteX0" fmla="*/ 104279 w 104278"/>
                <a:gd name="connsiteY0" fmla="*/ 52139 h 104278"/>
                <a:gd name="connsiteX1" fmla="*/ 52139 w 104278"/>
                <a:gd name="connsiteY1" fmla="*/ 104278 h 104278"/>
                <a:gd name="connsiteX2" fmla="*/ 0 w 104278"/>
                <a:gd name="connsiteY2" fmla="*/ 52139 h 104278"/>
                <a:gd name="connsiteX3" fmla="*/ 52139 w 104278"/>
                <a:gd name="connsiteY3" fmla="*/ 0 h 104278"/>
                <a:gd name="connsiteX4" fmla="*/ 104279 w 104278"/>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8" h="104278">
                  <a:moveTo>
                    <a:pt x="104279" y="52139"/>
                  </a:moveTo>
                  <a:cubicBezTo>
                    <a:pt x="104279" y="80911"/>
                    <a:pt x="80911" y="104278"/>
                    <a:pt x="52139" y="104278"/>
                  </a:cubicBezTo>
                  <a:cubicBezTo>
                    <a:pt x="23368" y="104278"/>
                    <a:pt x="0" y="80911"/>
                    <a:pt x="0" y="52139"/>
                  </a:cubicBezTo>
                  <a:cubicBezTo>
                    <a:pt x="0" y="23367"/>
                    <a:pt x="23368" y="0"/>
                    <a:pt x="52139" y="0"/>
                  </a:cubicBezTo>
                  <a:cubicBezTo>
                    <a:pt x="80987" y="0"/>
                    <a:pt x="104279" y="23367"/>
                    <a:pt x="104279" y="52139"/>
                  </a:cubicBezTo>
                </a:path>
              </a:pathLst>
            </a:custGeom>
            <a:grpFill/>
            <a:ln w="7608" cap="flat">
              <a:noFill/>
              <a:prstDash val="solid"/>
              <a:miter/>
            </a:ln>
          </p:spPr>
          <p:txBody>
            <a:bodyPr rtlCol="0" anchor="ctr"/>
            <a:lstStyle/>
            <a:p>
              <a:endParaRPr lang="hi-IN"/>
            </a:p>
          </p:txBody>
        </p:sp>
        <p:sp>
          <p:nvSpPr>
            <p:cNvPr id="1839" name="Freeform: Shape 838"/>
            <p:cNvSpPr/>
            <p:nvPr/>
          </p:nvSpPr>
          <p:spPr>
            <a:xfrm>
              <a:off x="9651732" y="437435"/>
              <a:ext cx="102146" cy="102146"/>
            </a:xfrm>
            <a:custGeom>
              <a:avLst/>
              <a:gdLst>
                <a:gd name="connsiteX0" fmla="*/ 102146 w 102146"/>
                <a:gd name="connsiteY0" fmla="*/ 51073 h 102146"/>
                <a:gd name="connsiteX1" fmla="*/ 51073 w 102146"/>
                <a:gd name="connsiteY1" fmla="*/ 102147 h 102146"/>
                <a:gd name="connsiteX2" fmla="*/ 0 w 102146"/>
                <a:gd name="connsiteY2" fmla="*/ 51073 h 102146"/>
                <a:gd name="connsiteX3" fmla="*/ 51073 w 102146"/>
                <a:gd name="connsiteY3" fmla="*/ 0 h 102146"/>
                <a:gd name="connsiteX4" fmla="*/ 102146 w 102146"/>
                <a:gd name="connsiteY4" fmla="*/ 51073 h 102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46" h="102146">
                  <a:moveTo>
                    <a:pt x="102146" y="51073"/>
                  </a:moveTo>
                  <a:cubicBezTo>
                    <a:pt x="102146" y="79236"/>
                    <a:pt x="79312" y="102147"/>
                    <a:pt x="51073" y="102147"/>
                  </a:cubicBezTo>
                  <a:cubicBezTo>
                    <a:pt x="22911" y="102147"/>
                    <a:pt x="0" y="79312"/>
                    <a:pt x="0" y="51073"/>
                  </a:cubicBezTo>
                  <a:cubicBezTo>
                    <a:pt x="0" y="22911"/>
                    <a:pt x="22835" y="0"/>
                    <a:pt x="51073" y="0"/>
                  </a:cubicBezTo>
                  <a:cubicBezTo>
                    <a:pt x="79236" y="0"/>
                    <a:pt x="102146" y="22911"/>
                    <a:pt x="102146" y="51073"/>
                  </a:cubicBezTo>
                </a:path>
              </a:pathLst>
            </a:custGeom>
            <a:grpFill/>
            <a:ln w="7608" cap="flat">
              <a:noFill/>
              <a:prstDash val="solid"/>
              <a:miter/>
            </a:ln>
          </p:spPr>
          <p:txBody>
            <a:bodyPr rtlCol="0" anchor="ctr"/>
            <a:lstStyle/>
            <a:p>
              <a:endParaRPr lang="hi-IN"/>
            </a:p>
          </p:txBody>
        </p:sp>
        <p:sp>
          <p:nvSpPr>
            <p:cNvPr id="1840" name="Freeform: Shape 839"/>
            <p:cNvSpPr/>
            <p:nvPr/>
          </p:nvSpPr>
          <p:spPr>
            <a:xfrm>
              <a:off x="9493564" y="366114"/>
              <a:ext cx="98797" cy="98798"/>
            </a:xfrm>
            <a:custGeom>
              <a:avLst/>
              <a:gdLst>
                <a:gd name="connsiteX0" fmla="*/ 98798 w 98797"/>
                <a:gd name="connsiteY0" fmla="*/ 49399 h 98798"/>
                <a:gd name="connsiteX1" fmla="*/ 49399 w 98797"/>
                <a:gd name="connsiteY1" fmla="*/ 98798 h 98798"/>
                <a:gd name="connsiteX2" fmla="*/ 0 w 98797"/>
                <a:gd name="connsiteY2" fmla="*/ 49399 h 98798"/>
                <a:gd name="connsiteX3" fmla="*/ 49399 w 98797"/>
                <a:gd name="connsiteY3" fmla="*/ 0 h 98798"/>
                <a:gd name="connsiteX4" fmla="*/ 98798 w 98797"/>
                <a:gd name="connsiteY4" fmla="*/ 49399 h 98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797" h="98798">
                  <a:moveTo>
                    <a:pt x="98798" y="49399"/>
                  </a:moveTo>
                  <a:cubicBezTo>
                    <a:pt x="98798" y="76725"/>
                    <a:pt x="76648" y="98798"/>
                    <a:pt x="49399" y="98798"/>
                  </a:cubicBezTo>
                  <a:cubicBezTo>
                    <a:pt x="22074" y="98798"/>
                    <a:pt x="0" y="76648"/>
                    <a:pt x="0" y="49399"/>
                  </a:cubicBezTo>
                  <a:cubicBezTo>
                    <a:pt x="0" y="22150"/>
                    <a:pt x="22150" y="0"/>
                    <a:pt x="49399" y="0"/>
                  </a:cubicBezTo>
                  <a:cubicBezTo>
                    <a:pt x="76648" y="-76"/>
                    <a:pt x="98798" y="22074"/>
                    <a:pt x="98798" y="49399"/>
                  </a:cubicBezTo>
                </a:path>
              </a:pathLst>
            </a:custGeom>
            <a:grpFill/>
            <a:ln w="7608" cap="flat">
              <a:noFill/>
              <a:prstDash val="solid"/>
              <a:miter/>
            </a:ln>
          </p:spPr>
          <p:txBody>
            <a:bodyPr rtlCol="0" anchor="ctr"/>
            <a:lstStyle/>
            <a:p>
              <a:endParaRPr lang="hi-IN"/>
            </a:p>
          </p:txBody>
        </p:sp>
        <p:sp>
          <p:nvSpPr>
            <p:cNvPr id="1841" name="Freeform: Shape 840"/>
            <p:cNvSpPr/>
            <p:nvPr/>
          </p:nvSpPr>
          <p:spPr>
            <a:xfrm>
              <a:off x="9332351" y="301264"/>
              <a:ext cx="95601" cy="95600"/>
            </a:xfrm>
            <a:custGeom>
              <a:avLst/>
              <a:gdLst>
                <a:gd name="connsiteX0" fmla="*/ 95601 w 95601"/>
                <a:gd name="connsiteY0" fmla="*/ 47800 h 95600"/>
                <a:gd name="connsiteX1" fmla="*/ 47801 w 95601"/>
                <a:gd name="connsiteY1" fmla="*/ 95601 h 95600"/>
                <a:gd name="connsiteX2" fmla="*/ 0 w 95601"/>
                <a:gd name="connsiteY2" fmla="*/ 47800 h 95600"/>
                <a:gd name="connsiteX3" fmla="*/ 47801 w 95601"/>
                <a:gd name="connsiteY3" fmla="*/ 0 h 95600"/>
                <a:gd name="connsiteX4" fmla="*/ 95601 w 95601"/>
                <a:gd name="connsiteY4" fmla="*/ 47800 h 9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01" h="95600">
                  <a:moveTo>
                    <a:pt x="95601" y="47800"/>
                  </a:moveTo>
                  <a:cubicBezTo>
                    <a:pt x="95601" y="74213"/>
                    <a:pt x="74213" y="95601"/>
                    <a:pt x="47801" y="95601"/>
                  </a:cubicBezTo>
                  <a:cubicBezTo>
                    <a:pt x="21389" y="95601"/>
                    <a:pt x="0" y="74213"/>
                    <a:pt x="0" y="47800"/>
                  </a:cubicBezTo>
                  <a:cubicBezTo>
                    <a:pt x="0" y="21388"/>
                    <a:pt x="21389" y="0"/>
                    <a:pt x="47801" y="0"/>
                  </a:cubicBezTo>
                  <a:cubicBezTo>
                    <a:pt x="74213" y="0"/>
                    <a:pt x="95601" y="21388"/>
                    <a:pt x="95601" y="47800"/>
                  </a:cubicBezTo>
                </a:path>
              </a:pathLst>
            </a:custGeom>
            <a:grpFill/>
            <a:ln w="7608" cap="flat">
              <a:noFill/>
              <a:prstDash val="solid"/>
              <a:miter/>
            </a:ln>
          </p:spPr>
          <p:txBody>
            <a:bodyPr rtlCol="0" anchor="ctr"/>
            <a:lstStyle/>
            <a:p>
              <a:endParaRPr lang="hi-IN"/>
            </a:p>
          </p:txBody>
        </p:sp>
        <p:sp>
          <p:nvSpPr>
            <p:cNvPr id="1842" name="Freeform: Shape 841"/>
            <p:cNvSpPr/>
            <p:nvPr/>
          </p:nvSpPr>
          <p:spPr>
            <a:xfrm>
              <a:off x="9168779" y="243188"/>
              <a:ext cx="92251" cy="92251"/>
            </a:xfrm>
            <a:custGeom>
              <a:avLst/>
              <a:gdLst>
                <a:gd name="connsiteX0" fmla="*/ 92252 w 92251"/>
                <a:gd name="connsiteY0" fmla="*/ 46126 h 92251"/>
                <a:gd name="connsiteX1" fmla="*/ 46126 w 92251"/>
                <a:gd name="connsiteY1" fmla="*/ 92252 h 92251"/>
                <a:gd name="connsiteX2" fmla="*/ 0 w 92251"/>
                <a:gd name="connsiteY2" fmla="*/ 46126 h 92251"/>
                <a:gd name="connsiteX3" fmla="*/ 46126 w 92251"/>
                <a:gd name="connsiteY3" fmla="*/ 0 h 92251"/>
                <a:gd name="connsiteX4" fmla="*/ 92252 w 92251"/>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51" h="92251">
                  <a:moveTo>
                    <a:pt x="92252" y="46126"/>
                  </a:moveTo>
                  <a:cubicBezTo>
                    <a:pt x="92252" y="71625"/>
                    <a:pt x="71549" y="92252"/>
                    <a:pt x="46126" y="92252"/>
                  </a:cubicBezTo>
                  <a:cubicBezTo>
                    <a:pt x="20628" y="92252"/>
                    <a:pt x="0" y="71548"/>
                    <a:pt x="0" y="46126"/>
                  </a:cubicBezTo>
                  <a:cubicBezTo>
                    <a:pt x="0" y="20627"/>
                    <a:pt x="20628" y="0"/>
                    <a:pt x="46126" y="0"/>
                  </a:cubicBezTo>
                  <a:cubicBezTo>
                    <a:pt x="71625" y="0"/>
                    <a:pt x="92252" y="20627"/>
                    <a:pt x="92252" y="46126"/>
                  </a:cubicBezTo>
                </a:path>
              </a:pathLst>
            </a:custGeom>
            <a:grpFill/>
            <a:ln w="7608" cap="flat">
              <a:noFill/>
              <a:prstDash val="solid"/>
              <a:miter/>
            </a:ln>
          </p:spPr>
          <p:txBody>
            <a:bodyPr rtlCol="0" anchor="ctr"/>
            <a:lstStyle/>
            <a:p>
              <a:endParaRPr lang="hi-IN"/>
            </a:p>
          </p:txBody>
        </p:sp>
        <p:sp>
          <p:nvSpPr>
            <p:cNvPr id="1843" name="Freeform: Shape 842"/>
            <p:cNvSpPr/>
            <p:nvPr/>
          </p:nvSpPr>
          <p:spPr>
            <a:xfrm>
              <a:off x="9002772" y="191810"/>
              <a:ext cx="89054" cy="89055"/>
            </a:xfrm>
            <a:custGeom>
              <a:avLst/>
              <a:gdLst>
                <a:gd name="connsiteX0" fmla="*/ 89055 w 89054"/>
                <a:gd name="connsiteY0" fmla="*/ 44528 h 89055"/>
                <a:gd name="connsiteX1" fmla="*/ 44527 w 89054"/>
                <a:gd name="connsiteY1" fmla="*/ 89055 h 89055"/>
                <a:gd name="connsiteX2" fmla="*/ 0 w 89054"/>
                <a:gd name="connsiteY2" fmla="*/ 44528 h 89055"/>
                <a:gd name="connsiteX3" fmla="*/ 44527 w 89054"/>
                <a:gd name="connsiteY3" fmla="*/ 0 h 89055"/>
                <a:gd name="connsiteX4" fmla="*/ 89055 w 89054"/>
                <a:gd name="connsiteY4" fmla="*/ 44528 h 89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54" h="89055">
                  <a:moveTo>
                    <a:pt x="89055" y="44528"/>
                  </a:moveTo>
                  <a:cubicBezTo>
                    <a:pt x="89055" y="69113"/>
                    <a:pt x="69112" y="89055"/>
                    <a:pt x="44527" y="89055"/>
                  </a:cubicBezTo>
                  <a:cubicBezTo>
                    <a:pt x="19942" y="89055"/>
                    <a:pt x="0" y="69113"/>
                    <a:pt x="0" y="44528"/>
                  </a:cubicBezTo>
                  <a:cubicBezTo>
                    <a:pt x="0" y="19942"/>
                    <a:pt x="19942" y="0"/>
                    <a:pt x="44527" y="0"/>
                  </a:cubicBezTo>
                  <a:cubicBezTo>
                    <a:pt x="69112" y="0"/>
                    <a:pt x="89055" y="19942"/>
                    <a:pt x="89055" y="44528"/>
                  </a:cubicBezTo>
                </a:path>
              </a:pathLst>
            </a:custGeom>
            <a:grpFill/>
            <a:ln w="7608" cap="flat">
              <a:noFill/>
              <a:prstDash val="solid"/>
              <a:miter/>
            </a:ln>
          </p:spPr>
          <p:txBody>
            <a:bodyPr rtlCol="0" anchor="ctr"/>
            <a:lstStyle/>
            <a:p>
              <a:endParaRPr lang="hi-IN"/>
            </a:p>
          </p:txBody>
        </p:sp>
        <p:sp>
          <p:nvSpPr>
            <p:cNvPr id="1844" name="Freeform: Shape 843"/>
            <p:cNvSpPr/>
            <p:nvPr/>
          </p:nvSpPr>
          <p:spPr>
            <a:xfrm>
              <a:off x="8834709" y="147359"/>
              <a:ext cx="85857" cy="85858"/>
            </a:xfrm>
            <a:custGeom>
              <a:avLst/>
              <a:gdLst>
                <a:gd name="connsiteX0" fmla="*/ 85857 w 85857"/>
                <a:gd name="connsiteY0" fmla="*/ 42929 h 85858"/>
                <a:gd name="connsiteX1" fmla="*/ 42928 w 85857"/>
                <a:gd name="connsiteY1" fmla="*/ 85858 h 85858"/>
                <a:gd name="connsiteX2" fmla="*/ 0 w 85857"/>
                <a:gd name="connsiteY2" fmla="*/ 42929 h 85858"/>
                <a:gd name="connsiteX3" fmla="*/ 42928 w 85857"/>
                <a:gd name="connsiteY3" fmla="*/ 0 h 85858"/>
                <a:gd name="connsiteX4" fmla="*/ 85857 w 85857"/>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7" h="85858">
                  <a:moveTo>
                    <a:pt x="85857" y="42929"/>
                  </a:moveTo>
                  <a:cubicBezTo>
                    <a:pt x="85857" y="66601"/>
                    <a:pt x="66676" y="85858"/>
                    <a:pt x="42928" y="85858"/>
                  </a:cubicBezTo>
                  <a:cubicBezTo>
                    <a:pt x="19256" y="85858"/>
                    <a:pt x="0" y="66677"/>
                    <a:pt x="0" y="42929"/>
                  </a:cubicBezTo>
                  <a:cubicBezTo>
                    <a:pt x="0" y="19257"/>
                    <a:pt x="19180" y="0"/>
                    <a:pt x="42928" y="0"/>
                  </a:cubicBezTo>
                  <a:cubicBezTo>
                    <a:pt x="66676" y="76"/>
                    <a:pt x="85857" y="19257"/>
                    <a:pt x="85857" y="42929"/>
                  </a:cubicBezTo>
                </a:path>
              </a:pathLst>
            </a:custGeom>
            <a:grpFill/>
            <a:ln w="7608" cap="flat">
              <a:noFill/>
              <a:prstDash val="solid"/>
              <a:miter/>
            </a:ln>
          </p:spPr>
          <p:txBody>
            <a:bodyPr rtlCol="0" anchor="ctr"/>
            <a:lstStyle/>
            <a:p>
              <a:endParaRPr lang="hi-IN"/>
            </a:p>
          </p:txBody>
        </p:sp>
        <p:sp>
          <p:nvSpPr>
            <p:cNvPr id="1845" name="Freeform: Shape 844"/>
            <p:cNvSpPr/>
            <p:nvPr/>
          </p:nvSpPr>
          <p:spPr>
            <a:xfrm>
              <a:off x="8665580" y="110443"/>
              <a:ext cx="81444" cy="81443"/>
            </a:xfrm>
            <a:custGeom>
              <a:avLst/>
              <a:gdLst>
                <a:gd name="connsiteX0" fmla="*/ 81444 w 81444"/>
                <a:gd name="connsiteY0" fmla="*/ 40722 h 81443"/>
                <a:gd name="connsiteX1" fmla="*/ 40722 w 81444"/>
                <a:gd name="connsiteY1" fmla="*/ 81444 h 81443"/>
                <a:gd name="connsiteX2" fmla="*/ 0 w 81444"/>
                <a:gd name="connsiteY2" fmla="*/ 40722 h 81443"/>
                <a:gd name="connsiteX3" fmla="*/ 40722 w 81444"/>
                <a:gd name="connsiteY3" fmla="*/ 0 h 81443"/>
                <a:gd name="connsiteX4" fmla="*/ 81444 w 81444"/>
                <a:gd name="connsiteY4" fmla="*/ 40722 h 8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4" h="81443">
                  <a:moveTo>
                    <a:pt x="81444" y="40722"/>
                  </a:moveTo>
                  <a:cubicBezTo>
                    <a:pt x="81444" y="63176"/>
                    <a:pt x="63176" y="81444"/>
                    <a:pt x="40722" y="81444"/>
                  </a:cubicBezTo>
                  <a:cubicBezTo>
                    <a:pt x="18268" y="81444"/>
                    <a:pt x="0" y="63176"/>
                    <a:pt x="0" y="40722"/>
                  </a:cubicBezTo>
                  <a:cubicBezTo>
                    <a:pt x="0" y="18192"/>
                    <a:pt x="18268" y="0"/>
                    <a:pt x="40722" y="0"/>
                  </a:cubicBezTo>
                  <a:cubicBezTo>
                    <a:pt x="63252" y="0"/>
                    <a:pt x="81444" y="18268"/>
                    <a:pt x="81444" y="40722"/>
                  </a:cubicBezTo>
                </a:path>
              </a:pathLst>
            </a:custGeom>
            <a:grpFill/>
            <a:ln w="7608" cap="flat">
              <a:noFill/>
              <a:prstDash val="solid"/>
              <a:miter/>
            </a:ln>
          </p:spPr>
          <p:txBody>
            <a:bodyPr rtlCol="0" anchor="ctr"/>
            <a:lstStyle/>
            <a:p>
              <a:endParaRPr lang="hi-IN"/>
            </a:p>
          </p:txBody>
        </p:sp>
        <p:sp>
          <p:nvSpPr>
            <p:cNvPr id="1846" name="Freeform: Shape 845"/>
            <p:cNvSpPr/>
            <p:nvPr/>
          </p:nvSpPr>
          <p:spPr>
            <a:xfrm>
              <a:off x="8494853" y="80605"/>
              <a:ext cx="77181" cy="77105"/>
            </a:xfrm>
            <a:custGeom>
              <a:avLst/>
              <a:gdLst>
                <a:gd name="connsiteX0" fmla="*/ 77181 w 77181"/>
                <a:gd name="connsiteY0" fmla="*/ 38515 h 77105"/>
                <a:gd name="connsiteX1" fmla="*/ 38590 w 77181"/>
                <a:gd name="connsiteY1" fmla="*/ 77105 h 77105"/>
                <a:gd name="connsiteX2" fmla="*/ 0 w 77181"/>
                <a:gd name="connsiteY2" fmla="*/ 38515 h 77105"/>
                <a:gd name="connsiteX3" fmla="*/ 38590 w 77181"/>
                <a:gd name="connsiteY3" fmla="*/ 0 h 77105"/>
                <a:gd name="connsiteX4" fmla="*/ 77181 w 77181"/>
                <a:gd name="connsiteY4" fmla="*/ 38515 h 77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81" h="77105">
                  <a:moveTo>
                    <a:pt x="77181" y="38515"/>
                  </a:moveTo>
                  <a:cubicBezTo>
                    <a:pt x="77181" y="59827"/>
                    <a:pt x="59903" y="77105"/>
                    <a:pt x="38590" y="77105"/>
                  </a:cubicBezTo>
                  <a:cubicBezTo>
                    <a:pt x="17278" y="77105"/>
                    <a:pt x="0" y="59827"/>
                    <a:pt x="0" y="38515"/>
                  </a:cubicBezTo>
                  <a:cubicBezTo>
                    <a:pt x="0" y="17202"/>
                    <a:pt x="17278" y="0"/>
                    <a:pt x="38590" y="0"/>
                  </a:cubicBezTo>
                  <a:cubicBezTo>
                    <a:pt x="59979" y="-76"/>
                    <a:pt x="77181" y="17202"/>
                    <a:pt x="77181" y="38515"/>
                  </a:cubicBezTo>
                </a:path>
              </a:pathLst>
            </a:custGeom>
            <a:grpFill/>
            <a:ln w="7608" cap="flat">
              <a:noFill/>
              <a:prstDash val="solid"/>
              <a:miter/>
            </a:ln>
          </p:spPr>
          <p:txBody>
            <a:bodyPr rtlCol="0" anchor="ctr"/>
            <a:lstStyle/>
            <a:p>
              <a:endParaRPr lang="hi-IN"/>
            </a:p>
          </p:txBody>
        </p:sp>
        <p:sp>
          <p:nvSpPr>
            <p:cNvPr id="1847" name="Freeform: Shape 846"/>
            <p:cNvSpPr/>
            <p:nvPr/>
          </p:nvSpPr>
          <p:spPr>
            <a:xfrm>
              <a:off x="8323137" y="57695"/>
              <a:ext cx="72766" cy="72766"/>
            </a:xfrm>
            <a:custGeom>
              <a:avLst/>
              <a:gdLst>
                <a:gd name="connsiteX0" fmla="*/ 72767 w 72766"/>
                <a:gd name="connsiteY0" fmla="*/ 36383 h 72766"/>
                <a:gd name="connsiteX1" fmla="*/ 36383 w 72766"/>
                <a:gd name="connsiteY1" fmla="*/ 72766 h 72766"/>
                <a:gd name="connsiteX2" fmla="*/ 0 w 72766"/>
                <a:gd name="connsiteY2" fmla="*/ 36383 h 72766"/>
                <a:gd name="connsiteX3" fmla="*/ 36383 w 72766"/>
                <a:gd name="connsiteY3" fmla="*/ 0 h 72766"/>
                <a:gd name="connsiteX4" fmla="*/ 72767 w 72766"/>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6" h="72766">
                  <a:moveTo>
                    <a:pt x="72767" y="36383"/>
                  </a:moveTo>
                  <a:cubicBezTo>
                    <a:pt x="72767" y="56478"/>
                    <a:pt x="56478" y="72766"/>
                    <a:pt x="36383" y="72766"/>
                  </a:cubicBezTo>
                  <a:cubicBezTo>
                    <a:pt x="16289" y="72766"/>
                    <a:pt x="0" y="56478"/>
                    <a:pt x="0" y="36383"/>
                  </a:cubicBezTo>
                  <a:cubicBezTo>
                    <a:pt x="0" y="16289"/>
                    <a:pt x="16289" y="0"/>
                    <a:pt x="36383" y="0"/>
                  </a:cubicBezTo>
                  <a:cubicBezTo>
                    <a:pt x="56478" y="0"/>
                    <a:pt x="72767" y="16289"/>
                    <a:pt x="72767" y="36383"/>
                  </a:cubicBezTo>
                </a:path>
              </a:pathLst>
            </a:custGeom>
            <a:grpFill/>
            <a:ln w="7608" cap="flat">
              <a:noFill/>
              <a:prstDash val="solid"/>
              <a:miter/>
            </a:ln>
          </p:spPr>
          <p:txBody>
            <a:bodyPr rtlCol="0" anchor="ctr"/>
            <a:lstStyle/>
            <a:p>
              <a:endParaRPr lang="hi-IN"/>
            </a:p>
          </p:txBody>
        </p:sp>
        <p:sp>
          <p:nvSpPr>
            <p:cNvPr id="1848" name="Freeform: Shape 847"/>
            <p:cNvSpPr/>
            <p:nvPr/>
          </p:nvSpPr>
          <p:spPr>
            <a:xfrm>
              <a:off x="8150431" y="42015"/>
              <a:ext cx="68427" cy="68427"/>
            </a:xfrm>
            <a:custGeom>
              <a:avLst/>
              <a:gdLst>
                <a:gd name="connsiteX0" fmla="*/ 68428 w 68427"/>
                <a:gd name="connsiteY0" fmla="*/ 34176 h 68427"/>
                <a:gd name="connsiteX1" fmla="*/ 34176 w 68427"/>
                <a:gd name="connsiteY1" fmla="*/ 68428 h 68427"/>
                <a:gd name="connsiteX2" fmla="*/ 0 w 68427"/>
                <a:gd name="connsiteY2" fmla="*/ 34176 h 68427"/>
                <a:gd name="connsiteX3" fmla="*/ 34176 w 68427"/>
                <a:gd name="connsiteY3" fmla="*/ 0 h 68427"/>
                <a:gd name="connsiteX4" fmla="*/ 68428 w 68427"/>
                <a:gd name="connsiteY4" fmla="*/ 34176 h 6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427">
                  <a:moveTo>
                    <a:pt x="68428" y="34176"/>
                  </a:moveTo>
                  <a:cubicBezTo>
                    <a:pt x="68428" y="53052"/>
                    <a:pt x="53128" y="68428"/>
                    <a:pt x="34176" y="68428"/>
                  </a:cubicBezTo>
                  <a:cubicBezTo>
                    <a:pt x="15299" y="68428"/>
                    <a:pt x="0" y="53129"/>
                    <a:pt x="0" y="34176"/>
                  </a:cubicBezTo>
                  <a:cubicBezTo>
                    <a:pt x="0" y="15299"/>
                    <a:pt x="15299" y="0"/>
                    <a:pt x="34176" y="0"/>
                  </a:cubicBezTo>
                  <a:cubicBezTo>
                    <a:pt x="53128" y="0"/>
                    <a:pt x="68428" y="15299"/>
                    <a:pt x="68428" y="34176"/>
                  </a:cubicBezTo>
                </a:path>
              </a:pathLst>
            </a:custGeom>
            <a:grpFill/>
            <a:ln w="7608" cap="flat">
              <a:noFill/>
              <a:prstDash val="solid"/>
              <a:miter/>
            </a:ln>
          </p:spPr>
          <p:txBody>
            <a:bodyPr rtlCol="0" anchor="ctr"/>
            <a:lstStyle/>
            <a:p>
              <a:endParaRPr lang="hi-IN"/>
            </a:p>
          </p:txBody>
        </p:sp>
        <p:sp>
          <p:nvSpPr>
            <p:cNvPr id="1849" name="Freeform: Shape 848"/>
            <p:cNvSpPr/>
            <p:nvPr/>
          </p:nvSpPr>
          <p:spPr>
            <a:xfrm>
              <a:off x="7977725" y="33947"/>
              <a:ext cx="63023" cy="63023"/>
            </a:xfrm>
            <a:custGeom>
              <a:avLst/>
              <a:gdLst>
                <a:gd name="connsiteX0" fmla="*/ 63024 w 63023"/>
                <a:gd name="connsiteY0" fmla="*/ 31512 h 63023"/>
                <a:gd name="connsiteX1" fmla="*/ 31512 w 63023"/>
                <a:gd name="connsiteY1" fmla="*/ 63024 h 63023"/>
                <a:gd name="connsiteX2" fmla="*/ 0 w 63023"/>
                <a:gd name="connsiteY2" fmla="*/ 31512 h 63023"/>
                <a:gd name="connsiteX3" fmla="*/ 31512 w 63023"/>
                <a:gd name="connsiteY3" fmla="*/ 0 h 63023"/>
                <a:gd name="connsiteX4" fmla="*/ 63024 w 63023"/>
                <a:gd name="connsiteY4" fmla="*/ 31512 h 63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23" h="63023">
                  <a:moveTo>
                    <a:pt x="63024" y="31512"/>
                  </a:moveTo>
                  <a:cubicBezTo>
                    <a:pt x="63024" y="48866"/>
                    <a:pt x="48943" y="63024"/>
                    <a:pt x="31512" y="63024"/>
                  </a:cubicBezTo>
                  <a:cubicBezTo>
                    <a:pt x="14157" y="63024"/>
                    <a:pt x="0" y="48942"/>
                    <a:pt x="0" y="31512"/>
                  </a:cubicBezTo>
                  <a:cubicBezTo>
                    <a:pt x="0" y="14157"/>
                    <a:pt x="14081" y="0"/>
                    <a:pt x="31512" y="0"/>
                  </a:cubicBezTo>
                  <a:cubicBezTo>
                    <a:pt x="48943" y="0"/>
                    <a:pt x="63024" y="14081"/>
                    <a:pt x="63024" y="31512"/>
                  </a:cubicBezTo>
                </a:path>
              </a:pathLst>
            </a:custGeom>
            <a:grpFill/>
            <a:ln w="7608" cap="flat">
              <a:noFill/>
              <a:prstDash val="solid"/>
              <a:miter/>
            </a:ln>
          </p:spPr>
          <p:txBody>
            <a:bodyPr rtlCol="0" anchor="ctr"/>
            <a:lstStyle/>
            <a:p>
              <a:endParaRPr lang="hi-IN"/>
            </a:p>
          </p:txBody>
        </p:sp>
        <p:sp>
          <p:nvSpPr>
            <p:cNvPr id="1850" name="Freeform: Shape 849"/>
            <p:cNvSpPr/>
            <p:nvPr/>
          </p:nvSpPr>
          <p:spPr>
            <a:xfrm>
              <a:off x="7804258" y="32577"/>
              <a:ext cx="58608" cy="58609"/>
            </a:xfrm>
            <a:custGeom>
              <a:avLst/>
              <a:gdLst>
                <a:gd name="connsiteX0" fmla="*/ 58609 w 58608"/>
                <a:gd name="connsiteY0" fmla="*/ 29305 h 58609"/>
                <a:gd name="connsiteX1" fmla="*/ 29304 w 58608"/>
                <a:gd name="connsiteY1" fmla="*/ 58609 h 58609"/>
                <a:gd name="connsiteX2" fmla="*/ 0 w 58608"/>
                <a:gd name="connsiteY2" fmla="*/ 29305 h 58609"/>
                <a:gd name="connsiteX3" fmla="*/ 29304 w 58608"/>
                <a:gd name="connsiteY3" fmla="*/ 0 h 58609"/>
                <a:gd name="connsiteX4" fmla="*/ 58609 w 58608"/>
                <a:gd name="connsiteY4" fmla="*/ 29305 h 58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08" h="58609">
                  <a:moveTo>
                    <a:pt x="58609" y="29305"/>
                  </a:moveTo>
                  <a:cubicBezTo>
                    <a:pt x="58609" y="45517"/>
                    <a:pt x="45517" y="58609"/>
                    <a:pt x="29304" y="58609"/>
                  </a:cubicBezTo>
                  <a:cubicBezTo>
                    <a:pt x="13092" y="58609"/>
                    <a:pt x="0" y="45441"/>
                    <a:pt x="0" y="29305"/>
                  </a:cubicBezTo>
                  <a:cubicBezTo>
                    <a:pt x="0" y="13092"/>
                    <a:pt x="13092" y="0"/>
                    <a:pt x="29304" y="0"/>
                  </a:cubicBezTo>
                  <a:cubicBezTo>
                    <a:pt x="45441" y="-76"/>
                    <a:pt x="58609" y="13092"/>
                    <a:pt x="58609" y="29305"/>
                  </a:cubicBezTo>
                </a:path>
              </a:pathLst>
            </a:custGeom>
            <a:grpFill/>
            <a:ln w="7608" cap="flat">
              <a:noFill/>
              <a:prstDash val="solid"/>
              <a:miter/>
            </a:ln>
          </p:spPr>
          <p:txBody>
            <a:bodyPr rtlCol="0" anchor="ctr"/>
            <a:lstStyle/>
            <a:p>
              <a:endParaRPr lang="hi-IN"/>
            </a:p>
          </p:txBody>
        </p:sp>
        <p:sp>
          <p:nvSpPr>
            <p:cNvPr id="1851" name="Freeform: Shape 850"/>
            <p:cNvSpPr/>
            <p:nvPr/>
          </p:nvSpPr>
          <p:spPr>
            <a:xfrm>
              <a:off x="7630562" y="38286"/>
              <a:ext cx="54346" cy="54346"/>
            </a:xfrm>
            <a:custGeom>
              <a:avLst/>
              <a:gdLst>
                <a:gd name="connsiteX0" fmla="*/ 54347 w 54346"/>
                <a:gd name="connsiteY0" fmla="*/ 27173 h 54346"/>
                <a:gd name="connsiteX1" fmla="*/ 27173 w 54346"/>
                <a:gd name="connsiteY1" fmla="*/ 54346 h 54346"/>
                <a:gd name="connsiteX2" fmla="*/ 0 w 54346"/>
                <a:gd name="connsiteY2" fmla="*/ 27173 h 54346"/>
                <a:gd name="connsiteX3" fmla="*/ 27173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6"/>
                    <a:pt x="27173" y="54346"/>
                  </a:cubicBezTo>
                  <a:cubicBezTo>
                    <a:pt x="12179" y="54346"/>
                    <a:pt x="0" y="42168"/>
                    <a:pt x="0" y="27173"/>
                  </a:cubicBezTo>
                  <a:cubicBezTo>
                    <a:pt x="0" y="12178"/>
                    <a:pt x="12179" y="0"/>
                    <a:pt x="27173" y="0"/>
                  </a:cubicBezTo>
                  <a:cubicBezTo>
                    <a:pt x="42244" y="0"/>
                    <a:pt x="54347" y="12178"/>
                    <a:pt x="54347" y="27173"/>
                  </a:cubicBezTo>
                </a:path>
              </a:pathLst>
            </a:custGeom>
            <a:grpFill/>
            <a:ln w="7608" cap="flat">
              <a:noFill/>
              <a:prstDash val="solid"/>
              <a:miter/>
            </a:ln>
          </p:spPr>
          <p:txBody>
            <a:bodyPr rtlCol="0" anchor="ctr"/>
            <a:lstStyle/>
            <a:p>
              <a:endParaRPr lang="hi-IN"/>
            </a:p>
          </p:txBody>
        </p:sp>
        <p:sp>
          <p:nvSpPr>
            <p:cNvPr id="1852" name="Freeform: Shape 851"/>
            <p:cNvSpPr/>
            <p:nvPr/>
          </p:nvSpPr>
          <p:spPr>
            <a:xfrm>
              <a:off x="7457400" y="51225"/>
              <a:ext cx="49931" cy="49931"/>
            </a:xfrm>
            <a:custGeom>
              <a:avLst/>
              <a:gdLst>
                <a:gd name="connsiteX0" fmla="*/ 49932 w 49931"/>
                <a:gd name="connsiteY0" fmla="*/ 24966 h 49931"/>
                <a:gd name="connsiteX1" fmla="*/ 24966 w 49931"/>
                <a:gd name="connsiteY1" fmla="*/ 49932 h 49931"/>
                <a:gd name="connsiteX2" fmla="*/ 0 w 49931"/>
                <a:gd name="connsiteY2" fmla="*/ 24966 h 49931"/>
                <a:gd name="connsiteX3" fmla="*/ 24966 w 49931"/>
                <a:gd name="connsiteY3" fmla="*/ 0 h 49931"/>
                <a:gd name="connsiteX4" fmla="*/ 49932 w 49931"/>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1" h="49931">
                  <a:moveTo>
                    <a:pt x="49932" y="24966"/>
                  </a:moveTo>
                  <a:cubicBezTo>
                    <a:pt x="49932" y="38743"/>
                    <a:pt x="38743" y="49932"/>
                    <a:pt x="24966" y="49932"/>
                  </a:cubicBezTo>
                  <a:cubicBezTo>
                    <a:pt x="11189" y="49932"/>
                    <a:pt x="0" y="38743"/>
                    <a:pt x="0" y="24966"/>
                  </a:cubicBezTo>
                  <a:cubicBezTo>
                    <a:pt x="0" y="11189"/>
                    <a:pt x="11189" y="0"/>
                    <a:pt x="24966" y="0"/>
                  </a:cubicBezTo>
                  <a:cubicBezTo>
                    <a:pt x="38743" y="0"/>
                    <a:pt x="49932" y="11189"/>
                    <a:pt x="49932" y="24966"/>
                  </a:cubicBezTo>
                </a:path>
              </a:pathLst>
            </a:custGeom>
            <a:grpFill/>
            <a:ln w="7608" cap="flat">
              <a:noFill/>
              <a:prstDash val="solid"/>
              <a:miter/>
            </a:ln>
          </p:spPr>
          <p:txBody>
            <a:bodyPr rtlCol="0" anchor="ctr"/>
            <a:lstStyle/>
            <a:p>
              <a:endParaRPr lang="hi-IN"/>
            </a:p>
          </p:txBody>
        </p:sp>
        <p:sp>
          <p:nvSpPr>
            <p:cNvPr id="1853" name="Freeform: Shape 852"/>
            <p:cNvSpPr/>
            <p:nvPr/>
          </p:nvSpPr>
          <p:spPr>
            <a:xfrm>
              <a:off x="7284618" y="71244"/>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854" name="Freeform: Shape 853"/>
            <p:cNvSpPr/>
            <p:nvPr/>
          </p:nvSpPr>
          <p:spPr>
            <a:xfrm>
              <a:off x="7112901" y="98493"/>
              <a:ext cx="41254" cy="41254"/>
            </a:xfrm>
            <a:custGeom>
              <a:avLst/>
              <a:gdLst>
                <a:gd name="connsiteX0" fmla="*/ 41255 w 41254"/>
                <a:gd name="connsiteY0" fmla="*/ 20627 h 41254"/>
                <a:gd name="connsiteX1" fmla="*/ 20627 w 41254"/>
                <a:gd name="connsiteY1" fmla="*/ 41255 h 41254"/>
                <a:gd name="connsiteX2" fmla="*/ 0 w 41254"/>
                <a:gd name="connsiteY2" fmla="*/ 20627 h 41254"/>
                <a:gd name="connsiteX3" fmla="*/ 20627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5"/>
                    <a:pt x="32045" y="41255"/>
                    <a:pt x="20627" y="41255"/>
                  </a:cubicBezTo>
                  <a:cubicBezTo>
                    <a:pt x="9210" y="41255"/>
                    <a:pt x="0" y="32045"/>
                    <a:pt x="0" y="20627"/>
                  </a:cubicBezTo>
                  <a:cubicBezTo>
                    <a:pt x="0" y="9210"/>
                    <a:pt x="9210" y="0"/>
                    <a:pt x="20627" y="0"/>
                  </a:cubicBezTo>
                  <a:cubicBezTo>
                    <a:pt x="32045" y="0"/>
                    <a:pt x="41255" y="9210"/>
                    <a:pt x="41255" y="20627"/>
                  </a:cubicBezTo>
                </a:path>
              </a:pathLst>
            </a:custGeom>
            <a:grpFill/>
            <a:ln w="7608" cap="flat">
              <a:noFill/>
              <a:prstDash val="solid"/>
              <a:miter/>
            </a:ln>
          </p:spPr>
          <p:txBody>
            <a:bodyPr rtlCol="0" anchor="ctr"/>
            <a:lstStyle/>
            <a:p>
              <a:endParaRPr lang="hi-IN"/>
            </a:p>
          </p:txBody>
        </p:sp>
        <p:sp>
          <p:nvSpPr>
            <p:cNvPr id="1855" name="Freeform: Shape 854"/>
            <p:cNvSpPr/>
            <p:nvPr/>
          </p:nvSpPr>
          <p:spPr>
            <a:xfrm>
              <a:off x="6942175" y="132669"/>
              <a:ext cx="36992" cy="36992"/>
            </a:xfrm>
            <a:custGeom>
              <a:avLst/>
              <a:gdLst>
                <a:gd name="connsiteX0" fmla="*/ 36992 w 36992"/>
                <a:gd name="connsiteY0" fmla="*/ 18496 h 36992"/>
                <a:gd name="connsiteX1" fmla="*/ 18496 w 36992"/>
                <a:gd name="connsiteY1" fmla="*/ 36992 h 36992"/>
                <a:gd name="connsiteX2" fmla="*/ 0 w 36992"/>
                <a:gd name="connsiteY2" fmla="*/ 18496 h 36992"/>
                <a:gd name="connsiteX3" fmla="*/ 18496 w 36992"/>
                <a:gd name="connsiteY3" fmla="*/ 0 h 36992"/>
                <a:gd name="connsiteX4" fmla="*/ 36992 w 36992"/>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2" h="36992">
                  <a:moveTo>
                    <a:pt x="36992" y="18496"/>
                  </a:moveTo>
                  <a:cubicBezTo>
                    <a:pt x="36992" y="28696"/>
                    <a:pt x="28696" y="36992"/>
                    <a:pt x="18496" y="36992"/>
                  </a:cubicBezTo>
                  <a:cubicBezTo>
                    <a:pt x="8297" y="36992"/>
                    <a:pt x="0" y="28772"/>
                    <a:pt x="0" y="18496"/>
                  </a:cubicBezTo>
                  <a:cubicBezTo>
                    <a:pt x="0" y="8297"/>
                    <a:pt x="8297" y="0"/>
                    <a:pt x="18496" y="0"/>
                  </a:cubicBezTo>
                  <a:cubicBezTo>
                    <a:pt x="28772" y="76"/>
                    <a:pt x="36992" y="8297"/>
                    <a:pt x="36992" y="18496"/>
                  </a:cubicBezTo>
                </a:path>
              </a:pathLst>
            </a:custGeom>
            <a:grpFill/>
            <a:ln w="7608" cap="flat">
              <a:noFill/>
              <a:prstDash val="solid"/>
              <a:miter/>
            </a:ln>
          </p:spPr>
          <p:txBody>
            <a:bodyPr rtlCol="0" anchor="ctr"/>
            <a:lstStyle/>
            <a:p>
              <a:endParaRPr lang="hi-IN"/>
            </a:p>
          </p:txBody>
        </p:sp>
        <p:sp>
          <p:nvSpPr>
            <p:cNvPr id="1856" name="Freeform: Shape 855"/>
            <p:cNvSpPr/>
            <p:nvPr/>
          </p:nvSpPr>
          <p:spPr>
            <a:xfrm>
              <a:off x="6773046" y="173999"/>
              <a:ext cx="32577" cy="32577"/>
            </a:xfrm>
            <a:custGeom>
              <a:avLst/>
              <a:gdLst>
                <a:gd name="connsiteX0" fmla="*/ 32577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7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7" y="16289"/>
                  </a:moveTo>
                  <a:cubicBezTo>
                    <a:pt x="32577" y="25270"/>
                    <a:pt x="25270" y="32577"/>
                    <a:pt x="16289" y="32577"/>
                  </a:cubicBezTo>
                  <a:cubicBezTo>
                    <a:pt x="7307" y="32577"/>
                    <a:pt x="0" y="25270"/>
                    <a:pt x="0" y="16289"/>
                  </a:cubicBezTo>
                  <a:cubicBezTo>
                    <a:pt x="0" y="7307"/>
                    <a:pt x="7307" y="0"/>
                    <a:pt x="16289" y="0"/>
                  </a:cubicBezTo>
                  <a:cubicBezTo>
                    <a:pt x="25347" y="0"/>
                    <a:pt x="32577" y="7307"/>
                    <a:pt x="32577" y="16289"/>
                  </a:cubicBezTo>
                </a:path>
              </a:pathLst>
            </a:custGeom>
            <a:grpFill/>
            <a:ln w="7608" cap="flat">
              <a:noFill/>
              <a:prstDash val="solid"/>
              <a:miter/>
            </a:ln>
          </p:spPr>
          <p:txBody>
            <a:bodyPr rtlCol="0" anchor="ctr"/>
            <a:lstStyle/>
            <a:p>
              <a:endParaRPr lang="hi-IN"/>
            </a:p>
          </p:txBody>
        </p:sp>
        <p:sp>
          <p:nvSpPr>
            <p:cNvPr id="1857" name="Freeform: Shape 856"/>
            <p:cNvSpPr/>
            <p:nvPr/>
          </p:nvSpPr>
          <p:spPr>
            <a:xfrm>
              <a:off x="6605059" y="221648"/>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0" y="29381"/>
                  </a:cubicBezTo>
                  <a:cubicBezTo>
                    <a:pt x="6622" y="29381"/>
                    <a:pt x="0" y="22835"/>
                    <a:pt x="0" y="14690"/>
                  </a:cubicBezTo>
                  <a:cubicBezTo>
                    <a:pt x="0" y="6622"/>
                    <a:pt x="6546" y="0"/>
                    <a:pt x="14690" y="0"/>
                  </a:cubicBezTo>
                  <a:cubicBezTo>
                    <a:pt x="22758" y="76"/>
                    <a:pt x="29380" y="6622"/>
                    <a:pt x="29380" y="14690"/>
                  </a:cubicBezTo>
                </a:path>
              </a:pathLst>
            </a:custGeom>
            <a:grpFill/>
            <a:ln w="7608" cap="flat">
              <a:noFill/>
              <a:prstDash val="solid"/>
              <a:miter/>
            </a:ln>
          </p:spPr>
          <p:txBody>
            <a:bodyPr rtlCol="0" anchor="ctr"/>
            <a:lstStyle/>
            <a:p>
              <a:endParaRPr lang="hi-IN"/>
            </a:p>
          </p:txBody>
        </p:sp>
        <p:sp>
          <p:nvSpPr>
            <p:cNvPr id="1858" name="Freeform: Shape 857"/>
            <p:cNvSpPr/>
            <p:nvPr/>
          </p:nvSpPr>
          <p:spPr>
            <a:xfrm>
              <a:off x="6439661" y="276831"/>
              <a:ext cx="24965" cy="24965"/>
            </a:xfrm>
            <a:custGeom>
              <a:avLst/>
              <a:gdLst>
                <a:gd name="connsiteX0" fmla="*/ 24966 w 24965"/>
                <a:gd name="connsiteY0" fmla="*/ 12483 h 24965"/>
                <a:gd name="connsiteX1" fmla="*/ 12483 w 24965"/>
                <a:gd name="connsiteY1" fmla="*/ 24966 h 24965"/>
                <a:gd name="connsiteX2" fmla="*/ 0 w 24965"/>
                <a:gd name="connsiteY2" fmla="*/ 12483 h 24965"/>
                <a:gd name="connsiteX3" fmla="*/ 12483 w 24965"/>
                <a:gd name="connsiteY3" fmla="*/ 0 h 24965"/>
                <a:gd name="connsiteX4" fmla="*/ 24966 w 24965"/>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5" h="24965">
                  <a:moveTo>
                    <a:pt x="24966" y="12483"/>
                  </a:moveTo>
                  <a:cubicBezTo>
                    <a:pt x="24966" y="19409"/>
                    <a:pt x="19409" y="24966"/>
                    <a:pt x="12483" y="24966"/>
                  </a:cubicBezTo>
                  <a:cubicBezTo>
                    <a:pt x="5556" y="24966"/>
                    <a:pt x="0" y="19409"/>
                    <a:pt x="0" y="12483"/>
                  </a:cubicBezTo>
                  <a:cubicBezTo>
                    <a:pt x="0" y="5556"/>
                    <a:pt x="5632" y="0"/>
                    <a:pt x="12483" y="0"/>
                  </a:cubicBezTo>
                  <a:cubicBezTo>
                    <a:pt x="19409" y="0"/>
                    <a:pt x="24966" y="5556"/>
                    <a:pt x="24966" y="12483"/>
                  </a:cubicBezTo>
                </a:path>
              </a:pathLst>
            </a:custGeom>
            <a:grpFill/>
            <a:ln w="7608" cap="flat">
              <a:noFill/>
              <a:prstDash val="solid"/>
              <a:miter/>
            </a:ln>
          </p:spPr>
          <p:txBody>
            <a:bodyPr rtlCol="0" anchor="ctr"/>
            <a:lstStyle/>
            <a:p>
              <a:endParaRPr lang="hi-IN"/>
            </a:p>
          </p:txBody>
        </p:sp>
        <p:sp>
          <p:nvSpPr>
            <p:cNvPr id="1859" name="Freeform: Shape 858"/>
            <p:cNvSpPr/>
            <p:nvPr/>
          </p:nvSpPr>
          <p:spPr>
            <a:xfrm>
              <a:off x="6275936" y="338180"/>
              <a:ext cx="21768" cy="21769"/>
            </a:xfrm>
            <a:custGeom>
              <a:avLst/>
              <a:gdLst>
                <a:gd name="connsiteX0" fmla="*/ 21769 w 21768"/>
                <a:gd name="connsiteY0" fmla="*/ 10885 h 21769"/>
                <a:gd name="connsiteX1" fmla="*/ 10884 w 21768"/>
                <a:gd name="connsiteY1" fmla="*/ 21769 h 21769"/>
                <a:gd name="connsiteX2" fmla="*/ 0 w 21768"/>
                <a:gd name="connsiteY2" fmla="*/ 10885 h 21769"/>
                <a:gd name="connsiteX3" fmla="*/ 10884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4" y="21769"/>
                  </a:cubicBezTo>
                  <a:cubicBezTo>
                    <a:pt x="4871" y="21769"/>
                    <a:pt x="0" y="16898"/>
                    <a:pt x="0" y="10885"/>
                  </a:cubicBezTo>
                  <a:cubicBezTo>
                    <a:pt x="0" y="4871"/>
                    <a:pt x="4871" y="0"/>
                    <a:pt x="10884"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860" name="Freeform: Shape 859"/>
            <p:cNvSpPr/>
            <p:nvPr/>
          </p:nvSpPr>
          <p:spPr>
            <a:xfrm>
              <a:off x="6114952" y="406303"/>
              <a:ext cx="18419" cy="18420"/>
            </a:xfrm>
            <a:custGeom>
              <a:avLst/>
              <a:gdLst>
                <a:gd name="connsiteX0" fmla="*/ 18420 w 18419"/>
                <a:gd name="connsiteY0" fmla="*/ 9211 h 18420"/>
                <a:gd name="connsiteX1" fmla="*/ 9210 w 18419"/>
                <a:gd name="connsiteY1" fmla="*/ 18421 h 18420"/>
                <a:gd name="connsiteX2" fmla="*/ 0 w 18419"/>
                <a:gd name="connsiteY2" fmla="*/ 9211 h 18420"/>
                <a:gd name="connsiteX3" fmla="*/ 9210 w 18419"/>
                <a:gd name="connsiteY3" fmla="*/ 1 h 18420"/>
                <a:gd name="connsiteX4" fmla="*/ 18420 w 18419"/>
                <a:gd name="connsiteY4" fmla="*/ 921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20">
                  <a:moveTo>
                    <a:pt x="18420" y="9211"/>
                  </a:moveTo>
                  <a:cubicBezTo>
                    <a:pt x="18420" y="14311"/>
                    <a:pt x="14310" y="18421"/>
                    <a:pt x="9210" y="18421"/>
                  </a:cubicBezTo>
                  <a:cubicBezTo>
                    <a:pt x="4111" y="18421"/>
                    <a:pt x="0" y="14311"/>
                    <a:pt x="0" y="9211"/>
                  </a:cubicBezTo>
                  <a:cubicBezTo>
                    <a:pt x="0" y="4111"/>
                    <a:pt x="4111" y="1"/>
                    <a:pt x="9210" y="1"/>
                  </a:cubicBezTo>
                  <a:cubicBezTo>
                    <a:pt x="14234" y="-75"/>
                    <a:pt x="18420" y="4111"/>
                    <a:pt x="18420" y="9211"/>
                  </a:cubicBezTo>
                </a:path>
              </a:pathLst>
            </a:custGeom>
            <a:grpFill/>
            <a:ln w="7608" cap="flat">
              <a:noFill/>
              <a:prstDash val="solid"/>
              <a:miter/>
            </a:ln>
          </p:spPr>
          <p:txBody>
            <a:bodyPr rtlCol="0" anchor="ctr"/>
            <a:lstStyle/>
            <a:p>
              <a:endParaRPr lang="hi-IN"/>
            </a:p>
          </p:txBody>
        </p:sp>
        <p:sp>
          <p:nvSpPr>
            <p:cNvPr id="1861" name="Freeform: Shape 860"/>
            <p:cNvSpPr/>
            <p:nvPr/>
          </p:nvSpPr>
          <p:spPr>
            <a:xfrm>
              <a:off x="5956632" y="480897"/>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862" name="Freeform: Shape 861"/>
            <p:cNvSpPr/>
            <p:nvPr/>
          </p:nvSpPr>
          <p:spPr>
            <a:xfrm>
              <a:off x="5801509" y="562036"/>
              <a:ext cx="11950" cy="11874"/>
            </a:xfrm>
            <a:custGeom>
              <a:avLst/>
              <a:gdLst>
                <a:gd name="connsiteX0" fmla="*/ 11950 w 11950"/>
                <a:gd name="connsiteY0" fmla="*/ 5937 h 11874"/>
                <a:gd name="connsiteX1" fmla="*/ 5937 w 11950"/>
                <a:gd name="connsiteY1" fmla="*/ 11874 h 11874"/>
                <a:gd name="connsiteX2" fmla="*/ 0 w 11950"/>
                <a:gd name="connsiteY2" fmla="*/ 5937 h 11874"/>
                <a:gd name="connsiteX3" fmla="*/ 5937 w 11950"/>
                <a:gd name="connsiteY3" fmla="*/ 0 h 11874"/>
                <a:gd name="connsiteX4" fmla="*/ 11950 w 11950"/>
                <a:gd name="connsiteY4" fmla="*/ 5937 h 11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4">
                  <a:moveTo>
                    <a:pt x="11950" y="5937"/>
                  </a:moveTo>
                  <a:cubicBezTo>
                    <a:pt x="11950" y="9210"/>
                    <a:pt x="9286" y="11874"/>
                    <a:pt x="5937" y="11874"/>
                  </a:cubicBezTo>
                  <a:cubicBezTo>
                    <a:pt x="2664" y="11874"/>
                    <a:pt x="0" y="9210"/>
                    <a:pt x="0" y="5937"/>
                  </a:cubicBezTo>
                  <a:cubicBezTo>
                    <a:pt x="0" y="2664"/>
                    <a:pt x="2664" y="0"/>
                    <a:pt x="5937"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863" name="Freeform: Shape 862"/>
            <p:cNvSpPr/>
            <p:nvPr/>
          </p:nvSpPr>
          <p:spPr>
            <a:xfrm>
              <a:off x="5649202" y="648884"/>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131" y="9743"/>
                    <a:pt x="0" y="7535"/>
                    <a:pt x="0" y="4871"/>
                  </a:cubicBezTo>
                  <a:cubicBezTo>
                    <a:pt x="0" y="2207"/>
                    <a:pt x="2208" y="0"/>
                    <a:pt x="4871" y="0"/>
                  </a:cubicBezTo>
                  <a:cubicBezTo>
                    <a:pt x="7612" y="0"/>
                    <a:pt x="9743" y="2207"/>
                    <a:pt x="9743" y="4871"/>
                  </a:cubicBezTo>
                </a:path>
              </a:pathLst>
            </a:custGeom>
            <a:grpFill/>
            <a:ln w="7608" cap="flat">
              <a:noFill/>
              <a:prstDash val="solid"/>
              <a:miter/>
            </a:ln>
          </p:spPr>
          <p:txBody>
            <a:bodyPr rtlCol="0" anchor="ctr"/>
            <a:lstStyle/>
            <a:p>
              <a:endParaRPr lang="hi-IN"/>
            </a:p>
          </p:txBody>
        </p:sp>
        <p:sp>
          <p:nvSpPr>
            <p:cNvPr id="1864" name="Freeform: Shape 863"/>
            <p:cNvSpPr/>
            <p:nvPr/>
          </p:nvSpPr>
          <p:spPr>
            <a:xfrm>
              <a:off x="11743383" y="6591291"/>
              <a:ext cx="10808" cy="10808"/>
            </a:xfrm>
            <a:custGeom>
              <a:avLst/>
              <a:gdLst>
                <a:gd name="connsiteX0" fmla="*/ 10809 w 10808"/>
                <a:gd name="connsiteY0" fmla="*/ 5404 h 10808"/>
                <a:gd name="connsiteX1" fmla="*/ 5405 w 10808"/>
                <a:gd name="connsiteY1" fmla="*/ 10808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5" y="10808"/>
                  </a:cubicBezTo>
                  <a:cubicBezTo>
                    <a:pt x="2436" y="10808"/>
                    <a:pt x="0" y="8373"/>
                    <a:pt x="0" y="5404"/>
                  </a:cubicBezTo>
                  <a:cubicBezTo>
                    <a:pt x="0" y="2436"/>
                    <a:pt x="2436" y="0"/>
                    <a:pt x="5405"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865" name="Freeform: Shape 864"/>
            <p:cNvSpPr/>
            <p:nvPr/>
          </p:nvSpPr>
          <p:spPr>
            <a:xfrm>
              <a:off x="11825512" y="6435178"/>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7"/>
                    <a:pt x="7079" y="14157"/>
                  </a:cubicBezTo>
                  <a:cubicBezTo>
                    <a:pt x="3197" y="14157"/>
                    <a:pt x="0" y="10961"/>
                    <a:pt x="0" y="7079"/>
                  </a:cubicBezTo>
                  <a:cubicBezTo>
                    <a:pt x="0" y="3197"/>
                    <a:pt x="3197" y="0"/>
                    <a:pt x="7079" y="0"/>
                  </a:cubicBezTo>
                  <a:cubicBezTo>
                    <a:pt x="10961" y="0"/>
                    <a:pt x="14157" y="3197"/>
                    <a:pt x="14157" y="7079"/>
                  </a:cubicBezTo>
                </a:path>
              </a:pathLst>
            </a:custGeom>
            <a:grpFill/>
            <a:ln w="7608" cap="flat">
              <a:noFill/>
              <a:prstDash val="solid"/>
              <a:miter/>
            </a:ln>
          </p:spPr>
          <p:txBody>
            <a:bodyPr rtlCol="0" anchor="ctr"/>
            <a:lstStyle/>
            <a:p>
              <a:endParaRPr lang="hi-IN"/>
            </a:p>
          </p:txBody>
        </p:sp>
        <p:sp>
          <p:nvSpPr>
            <p:cNvPr id="1866" name="Freeform: Shape 865"/>
            <p:cNvSpPr/>
            <p:nvPr/>
          </p:nvSpPr>
          <p:spPr>
            <a:xfrm>
              <a:off x="11902312" y="6276477"/>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4" y="16289"/>
                    <a:pt x="0" y="12635"/>
                    <a:pt x="0" y="8144"/>
                  </a:cubicBezTo>
                  <a:cubicBezTo>
                    <a:pt x="0" y="3654"/>
                    <a:pt x="3654" y="0"/>
                    <a:pt x="8145" y="0"/>
                  </a:cubicBezTo>
                  <a:cubicBezTo>
                    <a:pt x="12635" y="76"/>
                    <a:pt x="16289" y="3654"/>
                    <a:pt x="16289" y="8144"/>
                  </a:cubicBezTo>
                </a:path>
              </a:pathLst>
            </a:custGeom>
            <a:grpFill/>
            <a:ln w="7608" cap="flat">
              <a:noFill/>
              <a:prstDash val="solid"/>
              <a:miter/>
            </a:ln>
          </p:spPr>
          <p:txBody>
            <a:bodyPr rtlCol="0" anchor="ctr"/>
            <a:lstStyle/>
            <a:p>
              <a:endParaRPr lang="hi-IN"/>
            </a:p>
          </p:txBody>
        </p:sp>
        <p:sp>
          <p:nvSpPr>
            <p:cNvPr id="1867" name="Freeform: Shape 866"/>
            <p:cNvSpPr/>
            <p:nvPr/>
          </p:nvSpPr>
          <p:spPr>
            <a:xfrm>
              <a:off x="11971729" y="6113819"/>
              <a:ext cx="20627" cy="20703"/>
            </a:xfrm>
            <a:custGeom>
              <a:avLst/>
              <a:gdLst>
                <a:gd name="connsiteX0" fmla="*/ 20628 w 20627"/>
                <a:gd name="connsiteY0" fmla="*/ 10352 h 20703"/>
                <a:gd name="connsiteX1" fmla="*/ 10276 w 20627"/>
                <a:gd name="connsiteY1" fmla="*/ 20704 h 20703"/>
                <a:gd name="connsiteX2" fmla="*/ 0 w 20627"/>
                <a:gd name="connsiteY2" fmla="*/ 10352 h 20703"/>
                <a:gd name="connsiteX3" fmla="*/ 10276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1"/>
                    <a:pt x="15985" y="20704"/>
                    <a:pt x="10276" y="20704"/>
                  </a:cubicBezTo>
                  <a:cubicBezTo>
                    <a:pt x="4568" y="20704"/>
                    <a:pt x="0" y="16061"/>
                    <a:pt x="0" y="10352"/>
                  </a:cubicBezTo>
                  <a:cubicBezTo>
                    <a:pt x="0" y="4643"/>
                    <a:pt x="4644" y="0"/>
                    <a:pt x="10276" y="0"/>
                  </a:cubicBezTo>
                  <a:cubicBezTo>
                    <a:pt x="15985" y="0"/>
                    <a:pt x="20628" y="4643"/>
                    <a:pt x="20628" y="10352"/>
                  </a:cubicBezTo>
                </a:path>
              </a:pathLst>
            </a:custGeom>
            <a:grpFill/>
            <a:ln w="7608" cap="flat">
              <a:noFill/>
              <a:prstDash val="solid"/>
              <a:miter/>
            </a:ln>
          </p:spPr>
          <p:txBody>
            <a:bodyPr rtlCol="0" anchor="ctr"/>
            <a:lstStyle/>
            <a:p>
              <a:endParaRPr lang="hi-IN"/>
            </a:p>
          </p:txBody>
        </p:sp>
        <p:sp>
          <p:nvSpPr>
            <p:cNvPr id="1868" name="Freeform: Shape 867"/>
            <p:cNvSpPr/>
            <p:nvPr/>
          </p:nvSpPr>
          <p:spPr>
            <a:xfrm>
              <a:off x="12035363" y="5949029"/>
              <a:ext cx="23899" cy="23899"/>
            </a:xfrm>
            <a:custGeom>
              <a:avLst/>
              <a:gdLst>
                <a:gd name="connsiteX0" fmla="*/ 23899 w 23899"/>
                <a:gd name="connsiteY0" fmla="*/ 11950 h 23899"/>
                <a:gd name="connsiteX1" fmla="*/ 11950 w 23899"/>
                <a:gd name="connsiteY1" fmla="*/ 23900 h 23899"/>
                <a:gd name="connsiteX2" fmla="*/ 0 w 23899"/>
                <a:gd name="connsiteY2" fmla="*/ 11950 h 23899"/>
                <a:gd name="connsiteX3" fmla="*/ 11950 w 23899"/>
                <a:gd name="connsiteY3" fmla="*/ 0 h 23899"/>
                <a:gd name="connsiteX4" fmla="*/ 23899 w 23899"/>
                <a:gd name="connsiteY4" fmla="*/ 11950 h 23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9" h="23899">
                  <a:moveTo>
                    <a:pt x="23899" y="11950"/>
                  </a:moveTo>
                  <a:cubicBezTo>
                    <a:pt x="23899" y="18572"/>
                    <a:pt x="18572" y="23900"/>
                    <a:pt x="11950" y="23900"/>
                  </a:cubicBezTo>
                  <a:cubicBezTo>
                    <a:pt x="5328" y="23900"/>
                    <a:pt x="0" y="18572"/>
                    <a:pt x="0" y="11950"/>
                  </a:cubicBezTo>
                  <a:cubicBezTo>
                    <a:pt x="0" y="5328"/>
                    <a:pt x="5328" y="0"/>
                    <a:pt x="11950" y="0"/>
                  </a:cubicBezTo>
                  <a:cubicBezTo>
                    <a:pt x="18572" y="0"/>
                    <a:pt x="23899" y="5328"/>
                    <a:pt x="23899" y="11950"/>
                  </a:cubicBezTo>
                </a:path>
              </a:pathLst>
            </a:custGeom>
            <a:grpFill/>
            <a:ln w="7608" cap="flat">
              <a:noFill/>
              <a:prstDash val="solid"/>
              <a:miter/>
            </a:ln>
          </p:spPr>
          <p:txBody>
            <a:bodyPr rtlCol="0" anchor="ctr"/>
            <a:lstStyle/>
            <a:p>
              <a:endParaRPr lang="hi-IN"/>
            </a:p>
          </p:txBody>
        </p:sp>
        <p:sp>
          <p:nvSpPr>
            <p:cNvPr id="1869" name="Freeform: Shape 868"/>
            <p:cNvSpPr/>
            <p:nvPr/>
          </p:nvSpPr>
          <p:spPr>
            <a:xfrm>
              <a:off x="12092068" y="5781270"/>
              <a:ext cx="28238" cy="28239"/>
            </a:xfrm>
            <a:custGeom>
              <a:avLst/>
              <a:gdLst>
                <a:gd name="connsiteX0" fmla="*/ 28239 w 28238"/>
                <a:gd name="connsiteY0" fmla="*/ 14082 h 28239"/>
                <a:gd name="connsiteX1" fmla="*/ 14081 w 28238"/>
                <a:gd name="connsiteY1" fmla="*/ 28240 h 28239"/>
                <a:gd name="connsiteX2" fmla="*/ 0 w 28238"/>
                <a:gd name="connsiteY2" fmla="*/ 14082 h 28239"/>
                <a:gd name="connsiteX3" fmla="*/ 14081 w 28238"/>
                <a:gd name="connsiteY3" fmla="*/ 1 h 28239"/>
                <a:gd name="connsiteX4" fmla="*/ 28239 w 28238"/>
                <a:gd name="connsiteY4" fmla="*/ 14082 h 28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239">
                  <a:moveTo>
                    <a:pt x="28239" y="14082"/>
                  </a:moveTo>
                  <a:cubicBezTo>
                    <a:pt x="28239" y="21846"/>
                    <a:pt x="21921" y="28240"/>
                    <a:pt x="14081" y="28240"/>
                  </a:cubicBezTo>
                  <a:cubicBezTo>
                    <a:pt x="6317" y="28240"/>
                    <a:pt x="0" y="21922"/>
                    <a:pt x="0" y="14082"/>
                  </a:cubicBezTo>
                  <a:cubicBezTo>
                    <a:pt x="0" y="6318"/>
                    <a:pt x="6317" y="1"/>
                    <a:pt x="14081" y="1"/>
                  </a:cubicBezTo>
                  <a:cubicBezTo>
                    <a:pt x="21921" y="-75"/>
                    <a:pt x="28239" y="6242"/>
                    <a:pt x="28239" y="14082"/>
                  </a:cubicBezTo>
                </a:path>
              </a:pathLst>
            </a:custGeom>
            <a:grpFill/>
            <a:ln w="7608" cap="flat">
              <a:noFill/>
              <a:prstDash val="solid"/>
              <a:miter/>
            </a:ln>
          </p:spPr>
          <p:txBody>
            <a:bodyPr rtlCol="0" anchor="ctr"/>
            <a:lstStyle/>
            <a:p>
              <a:endParaRPr lang="hi-IN"/>
            </a:p>
          </p:txBody>
        </p:sp>
        <p:sp>
          <p:nvSpPr>
            <p:cNvPr id="1870" name="Freeform: Shape 869"/>
            <p:cNvSpPr/>
            <p:nvPr/>
          </p:nvSpPr>
          <p:spPr>
            <a:xfrm>
              <a:off x="12142761" y="5611762"/>
              <a:ext cx="31511" cy="31511"/>
            </a:xfrm>
            <a:custGeom>
              <a:avLst/>
              <a:gdLst>
                <a:gd name="connsiteX0" fmla="*/ 31512 w 31511"/>
                <a:gd name="connsiteY0" fmla="*/ 15756 h 31511"/>
                <a:gd name="connsiteX1" fmla="*/ 15755 w 31511"/>
                <a:gd name="connsiteY1" fmla="*/ 31511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1"/>
                    <a:pt x="15755" y="31511"/>
                  </a:cubicBezTo>
                  <a:cubicBezTo>
                    <a:pt x="7078" y="31511"/>
                    <a:pt x="0" y="24433"/>
                    <a:pt x="0" y="15756"/>
                  </a:cubicBezTo>
                  <a:cubicBezTo>
                    <a:pt x="0" y="7079"/>
                    <a:pt x="7078" y="0"/>
                    <a:pt x="15755" y="0"/>
                  </a:cubicBezTo>
                  <a:cubicBezTo>
                    <a:pt x="24433" y="0"/>
                    <a:pt x="31512" y="7079"/>
                    <a:pt x="31512" y="15756"/>
                  </a:cubicBezTo>
                </a:path>
              </a:pathLst>
            </a:custGeom>
            <a:grpFill/>
            <a:ln w="7608" cap="flat">
              <a:noFill/>
              <a:prstDash val="solid"/>
              <a:miter/>
            </a:ln>
          </p:spPr>
          <p:txBody>
            <a:bodyPr rtlCol="0" anchor="ctr"/>
            <a:lstStyle/>
            <a:p>
              <a:endParaRPr lang="hi-IN"/>
            </a:p>
          </p:txBody>
        </p:sp>
        <p:sp>
          <p:nvSpPr>
            <p:cNvPr id="1871" name="Freeform: Shape 870"/>
            <p:cNvSpPr/>
            <p:nvPr/>
          </p:nvSpPr>
          <p:spPr>
            <a:xfrm>
              <a:off x="12134921" y="3149960"/>
              <a:ext cx="50312" cy="94535"/>
            </a:xfrm>
            <a:custGeom>
              <a:avLst/>
              <a:gdLst>
                <a:gd name="connsiteX0" fmla="*/ 50312 w 50312"/>
                <a:gd name="connsiteY0" fmla="*/ 94231 h 94535"/>
                <a:gd name="connsiteX1" fmla="*/ 47267 w 50312"/>
                <a:gd name="connsiteY1" fmla="*/ 94535 h 94535"/>
                <a:gd name="connsiteX2" fmla="*/ 0 w 50312"/>
                <a:gd name="connsiteY2" fmla="*/ 47268 h 94535"/>
                <a:gd name="connsiteX3" fmla="*/ 47267 w 50312"/>
                <a:gd name="connsiteY3" fmla="*/ 0 h 94535"/>
                <a:gd name="connsiteX4" fmla="*/ 50312 w 50312"/>
                <a:gd name="connsiteY4" fmla="*/ 305 h 94535"/>
                <a:gd name="connsiteX5" fmla="*/ 50312 w 50312"/>
                <a:gd name="connsiteY5" fmla="*/ 94231 h 9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12" h="94535">
                  <a:moveTo>
                    <a:pt x="50312" y="94231"/>
                  </a:moveTo>
                  <a:cubicBezTo>
                    <a:pt x="49323" y="94307"/>
                    <a:pt x="48333" y="94535"/>
                    <a:pt x="47267" y="94535"/>
                  </a:cubicBezTo>
                  <a:cubicBezTo>
                    <a:pt x="21160" y="94535"/>
                    <a:pt x="0" y="73375"/>
                    <a:pt x="0" y="47268"/>
                  </a:cubicBezTo>
                  <a:cubicBezTo>
                    <a:pt x="0" y="21160"/>
                    <a:pt x="21160" y="0"/>
                    <a:pt x="47267" y="0"/>
                  </a:cubicBezTo>
                  <a:cubicBezTo>
                    <a:pt x="48333" y="0"/>
                    <a:pt x="49246" y="228"/>
                    <a:pt x="50312" y="305"/>
                  </a:cubicBezTo>
                  <a:lnTo>
                    <a:pt x="50312" y="94231"/>
                  </a:lnTo>
                  <a:close/>
                </a:path>
              </a:pathLst>
            </a:custGeom>
            <a:grpFill/>
            <a:ln w="7608" cap="flat">
              <a:noFill/>
              <a:prstDash val="solid"/>
              <a:miter/>
            </a:ln>
          </p:spPr>
          <p:txBody>
            <a:bodyPr rtlCol="0" anchor="ctr"/>
            <a:lstStyle/>
            <a:p>
              <a:endParaRPr lang="hi-IN"/>
            </a:p>
          </p:txBody>
        </p:sp>
        <p:sp>
          <p:nvSpPr>
            <p:cNvPr id="1872" name="Freeform: Shape 871"/>
            <p:cNvSpPr/>
            <p:nvPr/>
          </p:nvSpPr>
          <p:spPr>
            <a:xfrm>
              <a:off x="12084304" y="2979614"/>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11" y="0"/>
                    <a:pt x="97732" y="21921"/>
                    <a:pt x="97732" y="48866"/>
                  </a:cubicBezTo>
                </a:path>
              </a:pathLst>
            </a:custGeom>
            <a:grpFill/>
            <a:ln w="7608" cap="flat">
              <a:noFill/>
              <a:prstDash val="solid"/>
              <a:miter/>
            </a:ln>
          </p:spPr>
          <p:txBody>
            <a:bodyPr rtlCol="0" anchor="ctr"/>
            <a:lstStyle/>
            <a:p>
              <a:endParaRPr lang="hi-IN"/>
            </a:p>
          </p:txBody>
        </p:sp>
        <p:sp>
          <p:nvSpPr>
            <p:cNvPr id="1873" name="Freeform: Shape 872"/>
            <p:cNvSpPr/>
            <p:nvPr/>
          </p:nvSpPr>
          <p:spPr>
            <a:xfrm>
              <a:off x="12026457" y="2810714"/>
              <a:ext cx="102147" cy="102147"/>
            </a:xfrm>
            <a:custGeom>
              <a:avLst/>
              <a:gdLst>
                <a:gd name="connsiteX0" fmla="*/ 102147 w 102147"/>
                <a:gd name="connsiteY0" fmla="*/ 51074 h 102147"/>
                <a:gd name="connsiteX1" fmla="*/ 51073 w 102147"/>
                <a:gd name="connsiteY1" fmla="*/ 102147 h 102147"/>
                <a:gd name="connsiteX2" fmla="*/ 0 w 102147"/>
                <a:gd name="connsiteY2" fmla="*/ 51074 h 102147"/>
                <a:gd name="connsiteX3" fmla="*/ 51073 w 102147"/>
                <a:gd name="connsiteY3" fmla="*/ 0 h 102147"/>
                <a:gd name="connsiteX4" fmla="*/ 102147 w 102147"/>
                <a:gd name="connsiteY4" fmla="*/ 51074 h 102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47" h="102147">
                  <a:moveTo>
                    <a:pt x="102147" y="51074"/>
                  </a:moveTo>
                  <a:cubicBezTo>
                    <a:pt x="102147" y="79236"/>
                    <a:pt x="79313" y="102147"/>
                    <a:pt x="51073" y="102147"/>
                  </a:cubicBezTo>
                  <a:cubicBezTo>
                    <a:pt x="22911" y="102147"/>
                    <a:pt x="0" y="79312"/>
                    <a:pt x="0" y="51074"/>
                  </a:cubicBezTo>
                  <a:cubicBezTo>
                    <a:pt x="0" y="22911"/>
                    <a:pt x="22835" y="0"/>
                    <a:pt x="51073" y="0"/>
                  </a:cubicBezTo>
                  <a:cubicBezTo>
                    <a:pt x="79236" y="0"/>
                    <a:pt x="102147" y="22911"/>
                    <a:pt x="102147" y="51074"/>
                  </a:cubicBezTo>
                </a:path>
              </a:pathLst>
            </a:custGeom>
            <a:grpFill/>
            <a:ln w="7608" cap="flat">
              <a:noFill/>
              <a:prstDash val="solid"/>
              <a:miter/>
            </a:ln>
          </p:spPr>
          <p:txBody>
            <a:bodyPr rtlCol="0" anchor="ctr"/>
            <a:lstStyle/>
            <a:p>
              <a:endParaRPr lang="hi-IN"/>
            </a:p>
          </p:txBody>
        </p:sp>
        <p:sp>
          <p:nvSpPr>
            <p:cNvPr id="1874" name="Freeform: Shape 873"/>
            <p:cNvSpPr/>
            <p:nvPr/>
          </p:nvSpPr>
          <p:spPr>
            <a:xfrm>
              <a:off x="11962748" y="2644630"/>
              <a:ext cx="105343" cy="105343"/>
            </a:xfrm>
            <a:custGeom>
              <a:avLst/>
              <a:gdLst>
                <a:gd name="connsiteX0" fmla="*/ 105343 w 105343"/>
                <a:gd name="connsiteY0" fmla="*/ 52672 h 105343"/>
                <a:gd name="connsiteX1" fmla="*/ 52671 w 105343"/>
                <a:gd name="connsiteY1" fmla="*/ 105344 h 105343"/>
                <a:gd name="connsiteX2" fmla="*/ 0 w 105343"/>
                <a:gd name="connsiteY2" fmla="*/ 52672 h 105343"/>
                <a:gd name="connsiteX3" fmla="*/ 52671 w 105343"/>
                <a:gd name="connsiteY3" fmla="*/ 0 h 105343"/>
                <a:gd name="connsiteX4" fmla="*/ 105343 w 105343"/>
                <a:gd name="connsiteY4" fmla="*/ 52672 h 105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43" h="105343">
                  <a:moveTo>
                    <a:pt x="105343" y="52672"/>
                  </a:moveTo>
                  <a:cubicBezTo>
                    <a:pt x="105343" y="81748"/>
                    <a:pt x="81748" y="105344"/>
                    <a:pt x="52671" y="105344"/>
                  </a:cubicBezTo>
                  <a:cubicBezTo>
                    <a:pt x="23596" y="105344"/>
                    <a:pt x="0" y="81748"/>
                    <a:pt x="0" y="52672"/>
                  </a:cubicBezTo>
                  <a:cubicBezTo>
                    <a:pt x="0" y="23596"/>
                    <a:pt x="23596" y="0"/>
                    <a:pt x="52671" y="0"/>
                  </a:cubicBezTo>
                  <a:cubicBezTo>
                    <a:pt x="81824" y="0"/>
                    <a:pt x="105343" y="23596"/>
                    <a:pt x="105343" y="52672"/>
                  </a:cubicBezTo>
                </a:path>
              </a:pathLst>
            </a:custGeom>
            <a:grpFill/>
            <a:ln w="7608" cap="flat">
              <a:noFill/>
              <a:prstDash val="solid"/>
              <a:miter/>
            </a:ln>
          </p:spPr>
          <p:txBody>
            <a:bodyPr rtlCol="0" anchor="ctr"/>
            <a:lstStyle/>
            <a:p>
              <a:endParaRPr lang="hi-IN"/>
            </a:p>
          </p:txBody>
        </p:sp>
        <p:sp>
          <p:nvSpPr>
            <p:cNvPr id="1875" name="Freeform: Shape 874"/>
            <p:cNvSpPr/>
            <p:nvPr/>
          </p:nvSpPr>
          <p:spPr>
            <a:xfrm>
              <a:off x="11892798" y="2481210"/>
              <a:ext cx="108540" cy="108616"/>
            </a:xfrm>
            <a:custGeom>
              <a:avLst/>
              <a:gdLst>
                <a:gd name="connsiteX0" fmla="*/ 108541 w 108540"/>
                <a:gd name="connsiteY0" fmla="*/ 54270 h 108616"/>
                <a:gd name="connsiteX1" fmla="*/ 54270 w 108540"/>
                <a:gd name="connsiteY1" fmla="*/ 108617 h 108616"/>
                <a:gd name="connsiteX2" fmla="*/ 0 w 108540"/>
                <a:gd name="connsiteY2" fmla="*/ 54270 h 108616"/>
                <a:gd name="connsiteX3" fmla="*/ 54270 w 108540"/>
                <a:gd name="connsiteY3" fmla="*/ 0 h 108616"/>
                <a:gd name="connsiteX4" fmla="*/ 108541 w 108540"/>
                <a:gd name="connsiteY4" fmla="*/ 54270 h 108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40" h="108616">
                  <a:moveTo>
                    <a:pt x="108541" y="54270"/>
                  </a:moveTo>
                  <a:cubicBezTo>
                    <a:pt x="108541" y="84260"/>
                    <a:pt x="84260" y="108617"/>
                    <a:pt x="54270" y="108617"/>
                  </a:cubicBezTo>
                  <a:cubicBezTo>
                    <a:pt x="24281" y="108617"/>
                    <a:pt x="0" y="84260"/>
                    <a:pt x="0" y="54270"/>
                  </a:cubicBezTo>
                  <a:cubicBezTo>
                    <a:pt x="0" y="24281"/>
                    <a:pt x="24281" y="0"/>
                    <a:pt x="54270" y="0"/>
                  </a:cubicBezTo>
                  <a:cubicBezTo>
                    <a:pt x="84184" y="-76"/>
                    <a:pt x="108541" y="24281"/>
                    <a:pt x="108541" y="54270"/>
                  </a:cubicBezTo>
                </a:path>
              </a:pathLst>
            </a:custGeom>
            <a:grpFill/>
            <a:ln w="7608" cap="flat">
              <a:noFill/>
              <a:prstDash val="solid"/>
              <a:miter/>
            </a:ln>
          </p:spPr>
          <p:txBody>
            <a:bodyPr rtlCol="0" anchor="ctr"/>
            <a:lstStyle/>
            <a:p>
              <a:endParaRPr lang="hi-IN"/>
            </a:p>
          </p:txBody>
        </p:sp>
        <p:sp>
          <p:nvSpPr>
            <p:cNvPr id="1876" name="Freeform: Shape 875"/>
            <p:cNvSpPr/>
            <p:nvPr/>
          </p:nvSpPr>
          <p:spPr>
            <a:xfrm>
              <a:off x="11816302" y="2320378"/>
              <a:ext cx="111889" cy="111889"/>
            </a:xfrm>
            <a:custGeom>
              <a:avLst/>
              <a:gdLst>
                <a:gd name="connsiteX0" fmla="*/ 111889 w 111889"/>
                <a:gd name="connsiteY0" fmla="*/ 55945 h 111889"/>
                <a:gd name="connsiteX1" fmla="*/ 55945 w 111889"/>
                <a:gd name="connsiteY1" fmla="*/ 111890 h 111889"/>
                <a:gd name="connsiteX2" fmla="*/ 0 w 111889"/>
                <a:gd name="connsiteY2" fmla="*/ 55945 h 111889"/>
                <a:gd name="connsiteX3" fmla="*/ 55945 w 111889"/>
                <a:gd name="connsiteY3" fmla="*/ 0 h 111889"/>
                <a:gd name="connsiteX4" fmla="*/ 111889 w 111889"/>
                <a:gd name="connsiteY4" fmla="*/ 55945 h 11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889" h="111889">
                  <a:moveTo>
                    <a:pt x="111889" y="55945"/>
                  </a:moveTo>
                  <a:cubicBezTo>
                    <a:pt x="111889" y="86848"/>
                    <a:pt x="86847" y="111890"/>
                    <a:pt x="55945" y="111890"/>
                  </a:cubicBezTo>
                  <a:cubicBezTo>
                    <a:pt x="25041" y="111890"/>
                    <a:pt x="0" y="86848"/>
                    <a:pt x="0" y="55945"/>
                  </a:cubicBezTo>
                  <a:cubicBezTo>
                    <a:pt x="0" y="25042"/>
                    <a:pt x="25041" y="0"/>
                    <a:pt x="55945" y="0"/>
                  </a:cubicBezTo>
                  <a:cubicBezTo>
                    <a:pt x="86847" y="76"/>
                    <a:pt x="111889" y="25118"/>
                    <a:pt x="111889" y="55945"/>
                  </a:cubicBezTo>
                </a:path>
              </a:pathLst>
            </a:custGeom>
            <a:grpFill/>
            <a:ln w="7608" cap="flat">
              <a:noFill/>
              <a:prstDash val="solid"/>
              <a:miter/>
            </a:ln>
          </p:spPr>
          <p:txBody>
            <a:bodyPr rtlCol="0" anchor="ctr"/>
            <a:lstStyle/>
            <a:p>
              <a:endParaRPr lang="hi-IN"/>
            </a:p>
          </p:txBody>
        </p:sp>
        <p:sp>
          <p:nvSpPr>
            <p:cNvPr id="1877" name="Freeform: Shape 876"/>
            <p:cNvSpPr/>
            <p:nvPr/>
          </p:nvSpPr>
          <p:spPr>
            <a:xfrm>
              <a:off x="11733869" y="2162743"/>
              <a:ext cx="115086" cy="115086"/>
            </a:xfrm>
            <a:custGeom>
              <a:avLst/>
              <a:gdLst>
                <a:gd name="connsiteX0" fmla="*/ 115086 w 115086"/>
                <a:gd name="connsiteY0" fmla="*/ 57543 h 115086"/>
                <a:gd name="connsiteX1" fmla="*/ 57544 w 115086"/>
                <a:gd name="connsiteY1" fmla="*/ 115086 h 115086"/>
                <a:gd name="connsiteX2" fmla="*/ 0 w 115086"/>
                <a:gd name="connsiteY2" fmla="*/ 57543 h 115086"/>
                <a:gd name="connsiteX3" fmla="*/ 57544 w 115086"/>
                <a:gd name="connsiteY3" fmla="*/ 0 h 115086"/>
                <a:gd name="connsiteX4" fmla="*/ 115086 w 115086"/>
                <a:gd name="connsiteY4" fmla="*/ 57543 h 115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86" h="115086">
                  <a:moveTo>
                    <a:pt x="115086" y="57543"/>
                  </a:moveTo>
                  <a:cubicBezTo>
                    <a:pt x="115086" y="89359"/>
                    <a:pt x="89284" y="115086"/>
                    <a:pt x="57544" y="115086"/>
                  </a:cubicBezTo>
                  <a:cubicBezTo>
                    <a:pt x="25727" y="115086"/>
                    <a:pt x="0" y="89283"/>
                    <a:pt x="0" y="57543"/>
                  </a:cubicBezTo>
                  <a:cubicBezTo>
                    <a:pt x="0" y="25727"/>
                    <a:pt x="25803" y="0"/>
                    <a:pt x="57544" y="0"/>
                  </a:cubicBezTo>
                  <a:cubicBezTo>
                    <a:pt x="89359" y="0"/>
                    <a:pt x="115086" y="25727"/>
                    <a:pt x="115086" y="57543"/>
                  </a:cubicBezTo>
                </a:path>
              </a:pathLst>
            </a:custGeom>
            <a:grpFill/>
            <a:ln w="7608" cap="flat">
              <a:noFill/>
              <a:prstDash val="solid"/>
              <a:miter/>
            </a:ln>
          </p:spPr>
          <p:txBody>
            <a:bodyPr rtlCol="0" anchor="ctr"/>
            <a:lstStyle/>
            <a:p>
              <a:endParaRPr lang="hi-IN"/>
            </a:p>
          </p:txBody>
        </p:sp>
        <p:sp>
          <p:nvSpPr>
            <p:cNvPr id="1878" name="Freeform: Shape 877"/>
            <p:cNvSpPr/>
            <p:nvPr/>
          </p:nvSpPr>
          <p:spPr>
            <a:xfrm>
              <a:off x="11645880" y="2008914"/>
              <a:ext cx="117294" cy="117217"/>
            </a:xfrm>
            <a:custGeom>
              <a:avLst/>
              <a:gdLst>
                <a:gd name="connsiteX0" fmla="*/ 117294 w 117294"/>
                <a:gd name="connsiteY0" fmla="*/ 58609 h 117217"/>
                <a:gd name="connsiteX1" fmla="*/ 58685 w 117294"/>
                <a:gd name="connsiteY1" fmla="*/ 117218 h 117217"/>
                <a:gd name="connsiteX2" fmla="*/ 0 w 117294"/>
                <a:gd name="connsiteY2" fmla="*/ 58609 h 117217"/>
                <a:gd name="connsiteX3" fmla="*/ 58685 w 117294"/>
                <a:gd name="connsiteY3" fmla="*/ 0 h 117217"/>
                <a:gd name="connsiteX4" fmla="*/ 117294 w 117294"/>
                <a:gd name="connsiteY4" fmla="*/ 58609 h 11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94" h="117217">
                  <a:moveTo>
                    <a:pt x="117294" y="58609"/>
                  </a:moveTo>
                  <a:cubicBezTo>
                    <a:pt x="117294" y="91034"/>
                    <a:pt x="91034" y="117218"/>
                    <a:pt x="58685" y="117218"/>
                  </a:cubicBezTo>
                  <a:cubicBezTo>
                    <a:pt x="26259" y="117218"/>
                    <a:pt x="0" y="90958"/>
                    <a:pt x="0" y="58609"/>
                  </a:cubicBezTo>
                  <a:cubicBezTo>
                    <a:pt x="0" y="26184"/>
                    <a:pt x="26259" y="0"/>
                    <a:pt x="58685" y="0"/>
                  </a:cubicBezTo>
                  <a:cubicBezTo>
                    <a:pt x="91034" y="-76"/>
                    <a:pt x="117294" y="26184"/>
                    <a:pt x="117294" y="58609"/>
                  </a:cubicBezTo>
                </a:path>
              </a:pathLst>
            </a:custGeom>
            <a:grpFill/>
            <a:ln w="7608" cap="flat">
              <a:noFill/>
              <a:prstDash val="solid"/>
              <a:miter/>
            </a:ln>
          </p:spPr>
          <p:txBody>
            <a:bodyPr rtlCol="0" anchor="ctr"/>
            <a:lstStyle/>
            <a:p>
              <a:endParaRPr lang="hi-IN"/>
            </a:p>
          </p:txBody>
        </p:sp>
        <p:sp>
          <p:nvSpPr>
            <p:cNvPr id="1879" name="Freeform: Shape 878"/>
            <p:cNvSpPr/>
            <p:nvPr/>
          </p:nvSpPr>
          <p:spPr>
            <a:xfrm>
              <a:off x="11551954" y="1858510"/>
              <a:ext cx="119500" cy="119501"/>
            </a:xfrm>
            <a:custGeom>
              <a:avLst/>
              <a:gdLst>
                <a:gd name="connsiteX0" fmla="*/ 119501 w 119500"/>
                <a:gd name="connsiteY0" fmla="*/ 59751 h 119501"/>
                <a:gd name="connsiteX1" fmla="*/ 59750 w 119500"/>
                <a:gd name="connsiteY1" fmla="*/ 119501 h 119501"/>
                <a:gd name="connsiteX2" fmla="*/ 0 w 119500"/>
                <a:gd name="connsiteY2" fmla="*/ 59751 h 119501"/>
                <a:gd name="connsiteX3" fmla="*/ 59750 w 119500"/>
                <a:gd name="connsiteY3" fmla="*/ 0 h 119501"/>
                <a:gd name="connsiteX4" fmla="*/ 119501 w 119500"/>
                <a:gd name="connsiteY4" fmla="*/ 59751 h 119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0" h="119501">
                  <a:moveTo>
                    <a:pt x="119501" y="59751"/>
                  </a:moveTo>
                  <a:cubicBezTo>
                    <a:pt x="119501" y="92709"/>
                    <a:pt x="92784" y="119501"/>
                    <a:pt x="59750" y="119501"/>
                  </a:cubicBezTo>
                  <a:cubicBezTo>
                    <a:pt x="26792" y="119501"/>
                    <a:pt x="0" y="92785"/>
                    <a:pt x="0" y="59751"/>
                  </a:cubicBezTo>
                  <a:cubicBezTo>
                    <a:pt x="0" y="26793"/>
                    <a:pt x="26717" y="0"/>
                    <a:pt x="59750" y="0"/>
                  </a:cubicBezTo>
                  <a:cubicBezTo>
                    <a:pt x="92784" y="0"/>
                    <a:pt x="119501" y="26716"/>
                    <a:pt x="119501" y="59751"/>
                  </a:cubicBezTo>
                </a:path>
              </a:pathLst>
            </a:custGeom>
            <a:grpFill/>
            <a:ln w="7608" cap="flat">
              <a:noFill/>
              <a:prstDash val="solid"/>
              <a:miter/>
            </a:ln>
          </p:spPr>
          <p:txBody>
            <a:bodyPr rtlCol="0" anchor="ctr"/>
            <a:lstStyle/>
            <a:p>
              <a:endParaRPr lang="hi-IN"/>
            </a:p>
          </p:txBody>
        </p:sp>
        <p:sp>
          <p:nvSpPr>
            <p:cNvPr id="1880" name="Freeform: Shape 879"/>
            <p:cNvSpPr/>
            <p:nvPr/>
          </p:nvSpPr>
          <p:spPr>
            <a:xfrm>
              <a:off x="11452394" y="1711835"/>
              <a:ext cx="121632" cy="121632"/>
            </a:xfrm>
            <a:custGeom>
              <a:avLst/>
              <a:gdLst>
                <a:gd name="connsiteX0" fmla="*/ 121632 w 121632"/>
                <a:gd name="connsiteY0" fmla="*/ 60816 h 121632"/>
                <a:gd name="connsiteX1" fmla="*/ 60816 w 121632"/>
                <a:gd name="connsiteY1" fmla="*/ 121633 h 121632"/>
                <a:gd name="connsiteX2" fmla="*/ 0 w 121632"/>
                <a:gd name="connsiteY2" fmla="*/ 60816 h 121632"/>
                <a:gd name="connsiteX3" fmla="*/ 60816 w 121632"/>
                <a:gd name="connsiteY3" fmla="*/ 0 h 121632"/>
                <a:gd name="connsiteX4" fmla="*/ 121632 w 121632"/>
                <a:gd name="connsiteY4" fmla="*/ 60816 h 12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632" h="121632">
                  <a:moveTo>
                    <a:pt x="121632" y="60816"/>
                  </a:moveTo>
                  <a:cubicBezTo>
                    <a:pt x="121632" y="94383"/>
                    <a:pt x="94383" y="121633"/>
                    <a:pt x="60816" y="121633"/>
                  </a:cubicBezTo>
                  <a:cubicBezTo>
                    <a:pt x="27250" y="121633"/>
                    <a:pt x="0" y="94383"/>
                    <a:pt x="0" y="60816"/>
                  </a:cubicBezTo>
                  <a:cubicBezTo>
                    <a:pt x="0" y="27249"/>
                    <a:pt x="27250" y="0"/>
                    <a:pt x="60816" y="0"/>
                  </a:cubicBezTo>
                  <a:cubicBezTo>
                    <a:pt x="94383" y="0"/>
                    <a:pt x="121632" y="27249"/>
                    <a:pt x="121632" y="60816"/>
                  </a:cubicBezTo>
                </a:path>
              </a:pathLst>
            </a:custGeom>
            <a:grpFill/>
            <a:ln w="7608" cap="flat">
              <a:noFill/>
              <a:prstDash val="solid"/>
              <a:miter/>
            </a:ln>
          </p:spPr>
          <p:txBody>
            <a:bodyPr rtlCol="0" anchor="ctr"/>
            <a:lstStyle/>
            <a:p>
              <a:endParaRPr lang="hi-IN"/>
            </a:p>
          </p:txBody>
        </p:sp>
        <p:sp>
          <p:nvSpPr>
            <p:cNvPr id="1881" name="Freeform: Shape 880"/>
            <p:cNvSpPr/>
            <p:nvPr/>
          </p:nvSpPr>
          <p:spPr>
            <a:xfrm>
              <a:off x="11347735" y="1569728"/>
              <a:ext cx="122698" cy="122698"/>
            </a:xfrm>
            <a:custGeom>
              <a:avLst/>
              <a:gdLst>
                <a:gd name="connsiteX0" fmla="*/ 122698 w 122698"/>
                <a:gd name="connsiteY0" fmla="*/ 61349 h 122698"/>
                <a:gd name="connsiteX1" fmla="*/ 61349 w 122698"/>
                <a:gd name="connsiteY1" fmla="*/ 122698 h 122698"/>
                <a:gd name="connsiteX2" fmla="*/ 0 w 122698"/>
                <a:gd name="connsiteY2" fmla="*/ 61349 h 122698"/>
                <a:gd name="connsiteX3" fmla="*/ 61349 w 122698"/>
                <a:gd name="connsiteY3" fmla="*/ 0 h 122698"/>
                <a:gd name="connsiteX4" fmla="*/ 122698 w 122698"/>
                <a:gd name="connsiteY4" fmla="*/ 61349 h 122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98" h="122698">
                  <a:moveTo>
                    <a:pt x="122698" y="61349"/>
                  </a:moveTo>
                  <a:cubicBezTo>
                    <a:pt x="122698" y="95220"/>
                    <a:pt x="95220" y="122698"/>
                    <a:pt x="61349" y="122698"/>
                  </a:cubicBezTo>
                  <a:cubicBezTo>
                    <a:pt x="27478" y="122698"/>
                    <a:pt x="0" y="95220"/>
                    <a:pt x="0" y="61349"/>
                  </a:cubicBezTo>
                  <a:cubicBezTo>
                    <a:pt x="0" y="27478"/>
                    <a:pt x="27478" y="0"/>
                    <a:pt x="61349" y="0"/>
                  </a:cubicBezTo>
                  <a:cubicBezTo>
                    <a:pt x="95220" y="0"/>
                    <a:pt x="122698" y="27478"/>
                    <a:pt x="122698" y="61349"/>
                  </a:cubicBezTo>
                </a:path>
              </a:pathLst>
            </a:custGeom>
            <a:grpFill/>
            <a:ln w="7608" cap="flat">
              <a:noFill/>
              <a:prstDash val="solid"/>
              <a:miter/>
            </a:ln>
          </p:spPr>
          <p:txBody>
            <a:bodyPr rtlCol="0" anchor="ctr"/>
            <a:lstStyle/>
            <a:p>
              <a:endParaRPr lang="hi-IN"/>
            </a:p>
          </p:txBody>
        </p:sp>
        <p:sp>
          <p:nvSpPr>
            <p:cNvPr id="1882" name="Freeform: Shape 881"/>
            <p:cNvSpPr/>
            <p:nvPr/>
          </p:nvSpPr>
          <p:spPr>
            <a:xfrm>
              <a:off x="11237596" y="1431807"/>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3" name="Freeform: Shape 882"/>
            <p:cNvSpPr/>
            <p:nvPr/>
          </p:nvSpPr>
          <p:spPr>
            <a:xfrm>
              <a:off x="11122739" y="1298757"/>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4" name="Freeform: Shape 883"/>
            <p:cNvSpPr/>
            <p:nvPr/>
          </p:nvSpPr>
          <p:spPr>
            <a:xfrm>
              <a:off x="11002247" y="1169741"/>
              <a:ext cx="124829" cy="124829"/>
            </a:xfrm>
            <a:custGeom>
              <a:avLst/>
              <a:gdLst>
                <a:gd name="connsiteX0" fmla="*/ 124829 w 124829"/>
                <a:gd name="connsiteY0" fmla="*/ 62415 h 124829"/>
                <a:gd name="connsiteX1" fmla="*/ 62415 w 124829"/>
                <a:gd name="connsiteY1" fmla="*/ 124829 h 124829"/>
                <a:gd name="connsiteX2" fmla="*/ 0 w 124829"/>
                <a:gd name="connsiteY2" fmla="*/ 62415 h 124829"/>
                <a:gd name="connsiteX3" fmla="*/ 62415 w 124829"/>
                <a:gd name="connsiteY3" fmla="*/ 0 h 124829"/>
                <a:gd name="connsiteX4" fmla="*/ 124829 w 124829"/>
                <a:gd name="connsiteY4" fmla="*/ 62415 h 124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829" h="124829">
                  <a:moveTo>
                    <a:pt x="124829" y="62415"/>
                  </a:moveTo>
                  <a:cubicBezTo>
                    <a:pt x="124829" y="96895"/>
                    <a:pt x="96896" y="124829"/>
                    <a:pt x="62415" y="124829"/>
                  </a:cubicBezTo>
                  <a:cubicBezTo>
                    <a:pt x="27935" y="124829"/>
                    <a:pt x="0" y="96895"/>
                    <a:pt x="0" y="62415"/>
                  </a:cubicBezTo>
                  <a:cubicBezTo>
                    <a:pt x="0" y="27934"/>
                    <a:pt x="27935" y="0"/>
                    <a:pt x="62415" y="0"/>
                  </a:cubicBezTo>
                  <a:cubicBezTo>
                    <a:pt x="96896" y="0"/>
                    <a:pt x="124829" y="27934"/>
                    <a:pt x="124829" y="62415"/>
                  </a:cubicBezTo>
                </a:path>
              </a:pathLst>
            </a:custGeom>
            <a:grpFill/>
            <a:ln w="7608" cap="flat">
              <a:noFill/>
              <a:prstDash val="solid"/>
              <a:miter/>
            </a:ln>
          </p:spPr>
          <p:txBody>
            <a:bodyPr rtlCol="0" anchor="ctr"/>
            <a:lstStyle/>
            <a:p>
              <a:endParaRPr lang="hi-IN"/>
            </a:p>
          </p:txBody>
        </p:sp>
        <p:sp>
          <p:nvSpPr>
            <p:cNvPr id="1885" name="Freeform: Shape 884"/>
            <p:cNvSpPr/>
            <p:nvPr/>
          </p:nvSpPr>
          <p:spPr>
            <a:xfrm>
              <a:off x="10877342" y="1046130"/>
              <a:ext cx="124828" cy="124829"/>
            </a:xfrm>
            <a:custGeom>
              <a:avLst/>
              <a:gdLst>
                <a:gd name="connsiteX0" fmla="*/ 124829 w 124828"/>
                <a:gd name="connsiteY0" fmla="*/ 62415 h 124829"/>
                <a:gd name="connsiteX1" fmla="*/ 62414 w 124828"/>
                <a:gd name="connsiteY1" fmla="*/ 124829 h 124829"/>
                <a:gd name="connsiteX2" fmla="*/ 0 w 124828"/>
                <a:gd name="connsiteY2" fmla="*/ 62415 h 124829"/>
                <a:gd name="connsiteX3" fmla="*/ 62414 w 124828"/>
                <a:gd name="connsiteY3" fmla="*/ 0 h 124829"/>
                <a:gd name="connsiteX4" fmla="*/ 124829 w 124828"/>
                <a:gd name="connsiteY4" fmla="*/ 62415 h 124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828" h="124829">
                  <a:moveTo>
                    <a:pt x="124829" y="62415"/>
                  </a:moveTo>
                  <a:cubicBezTo>
                    <a:pt x="124829" y="96895"/>
                    <a:pt x="96895" y="124829"/>
                    <a:pt x="62414" y="124829"/>
                  </a:cubicBezTo>
                  <a:cubicBezTo>
                    <a:pt x="27934" y="124829"/>
                    <a:pt x="0" y="96895"/>
                    <a:pt x="0" y="62415"/>
                  </a:cubicBezTo>
                  <a:cubicBezTo>
                    <a:pt x="0" y="27935"/>
                    <a:pt x="27934" y="0"/>
                    <a:pt x="62414" y="0"/>
                  </a:cubicBezTo>
                  <a:cubicBezTo>
                    <a:pt x="96895" y="-76"/>
                    <a:pt x="124829" y="27858"/>
                    <a:pt x="124829" y="62415"/>
                  </a:cubicBezTo>
                </a:path>
              </a:pathLst>
            </a:custGeom>
            <a:grpFill/>
            <a:ln w="7608" cap="flat">
              <a:noFill/>
              <a:prstDash val="solid"/>
              <a:miter/>
            </a:ln>
          </p:spPr>
          <p:txBody>
            <a:bodyPr rtlCol="0" anchor="ctr"/>
            <a:lstStyle/>
            <a:p>
              <a:endParaRPr lang="hi-IN"/>
            </a:p>
          </p:txBody>
        </p:sp>
        <p:sp>
          <p:nvSpPr>
            <p:cNvPr id="1886" name="Freeform: Shape 885"/>
            <p:cNvSpPr/>
            <p:nvPr/>
          </p:nvSpPr>
          <p:spPr>
            <a:xfrm>
              <a:off x="10748250" y="927923"/>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7" name="Freeform: Shape 886"/>
            <p:cNvSpPr/>
            <p:nvPr/>
          </p:nvSpPr>
          <p:spPr>
            <a:xfrm>
              <a:off x="10614135" y="814358"/>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8" name="Freeform: Shape 887"/>
            <p:cNvSpPr/>
            <p:nvPr/>
          </p:nvSpPr>
          <p:spPr>
            <a:xfrm>
              <a:off x="10476137" y="706655"/>
              <a:ext cx="122698" cy="122698"/>
            </a:xfrm>
            <a:custGeom>
              <a:avLst/>
              <a:gdLst>
                <a:gd name="connsiteX0" fmla="*/ 122698 w 122698"/>
                <a:gd name="connsiteY0" fmla="*/ 61349 h 122698"/>
                <a:gd name="connsiteX1" fmla="*/ 61349 w 122698"/>
                <a:gd name="connsiteY1" fmla="*/ 122698 h 122698"/>
                <a:gd name="connsiteX2" fmla="*/ 0 w 122698"/>
                <a:gd name="connsiteY2" fmla="*/ 61349 h 122698"/>
                <a:gd name="connsiteX3" fmla="*/ 61349 w 122698"/>
                <a:gd name="connsiteY3" fmla="*/ 0 h 122698"/>
                <a:gd name="connsiteX4" fmla="*/ 122698 w 122698"/>
                <a:gd name="connsiteY4" fmla="*/ 61349 h 122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98" h="122698">
                  <a:moveTo>
                    <a:pt x="122698" y="61349"/>
                  </a:moveTo>
                  <a:cubicBezTo>
                    <a:pt x="122698" y="95220"/>
                    <a:pt x="95220" y="122698"/>
                    <a:pt x="61349" y="122698"/>
                  </a:cubicBezTo>
                  <a:cubicBezTo>
                    <a:pt x="27478" y="122698"/>
                    <a:pt x="0" y="95220"/>
                    <a:pt x="0" y="61349"/>
                  </a:cubicBezTo>
                  <a:cubicBezTo>
                    <a:pt x="0" y="27478"/>
                    <a:pt x="27478" y="0"/>
                    <a:pt x="61349" y="0"/>
                  </a:cubicBezTo>
                  <a:cubicBezTo>
                    <a:pt x="95220" y="0"/>
                    <a:pt x="122698" y="27478"/>
                    <a:pt x="122698" y="61349"/>
                  </a:cubicBezTo>
                </a:path>
              </a:pathLst>
            </a:custGeom>
            <a:grpFill/>
            <a:ln w="7608" cap="flat">
              <a:noFill/>
              <a:prstDash val="solid"/>
              <a:miter/>
            </a:ln>
          </p:spPr>
          <p:txBody>
            <a:bodyPr rtlCol="0" anchor="ctr"/>
            <a:lstStyle/>
            <a:p>
              <a:endParaRPr lang="hi-IN"/>
            </a:p>
          </p:txBody>
        </p:sp>
        <p:sp>
          <p:nvSpPr>
            <p:cNvPr id="1889" name="Freeform: Shape 888"/>
            <p:cNvSpPr/>
            <p:nvPr/>
          </p:nvSpPr>
          <p:spPr>
            <a:xfrm>
              <a:off x="10334639" y="604965"/>
              <a:ext cx="120566" cy="120566"/>
            </a:xfrm>
            <a:custGeom>
              <a:avLst/>
              <a:gdLst>
                <a:gd name="connsiteX0" fmla="*/ 120567 w 120566"/>
                <a:gd name="connsiteY0" fmla="*/ 60283 h 120566"/>
                <a:gd name="connsiteX1" fmla="*/ 60284 w 120566"/>
                <a:gd name="connsiteY1" fmla="*/ 120567 h 120566"/>
                <a:gd name="connsiteX2" fmla="*/ 0 w 120566"/>
                <a:gd name="connsiteY2" fmla="*/ 60283 h 120566"/>
                <a:gd name="connsiteX3" fmla="*/ 60284 w 120566"/>
                <a:gd name="connsiteY3" fmla="*/ 0 h 120566"/>
                <a:gd name="connsiteX4" fmla="*/ 120567 w 120566"/>
                <a:gd name="connsiteY4" fmla="*/ 60283 h 120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6" h="120566">
                  <a:moveTo>
                    <a:pt x="120567" y="60283"/>
                  </a:moveTo>
                  <a:cubicBezTo>
                    <a:pt x="120567" y="93546"/>
                    <a:pt x="93546" y="120567"/>
                    <a:pt x="60284" y="120567"/>
                  </a:cubicBezTo>
                  <a:cubicBezTo>
                    <a:pt x="27021" y="120567"/>
                    <a:pt x="0" y="93622"/>
                    <a:pt x="0" y="60283"/>
                  </a:cubicBezTo>
                  <a:cubicBezTo>
                    <a:pt x="0" y="27021"/>
                    <a:pt x="27021" y="0"/>
                    <a:pt x="60284" y="0"/>
                  </a:cubicBezTo>
                  <a:cubicBezTo>
                    <a:pt x="93546" y="0"/>
                    <a:pt x="120567" y="26945"/>
                    <a:pt x="120567" y="60283"/>
                  </a:cubicBezTo>
                </a:path>
              </a:pathLst>
            </a:custGeom>
            <a:grpFill/>
            <a:ln w="7608" cap="flat">
              <a:noFill/>
              <a:prstDash val="solid"/>
              <a:miter/>
            </a:ln>
          </p:spPr>
          <p:txBody>
            <a:bodyPr rtlCol="0" anchor="ctr"/>
            <a:lstStyle/>
            <a:p>
              <a:endParaRPr lang="hi-IN"/>
            </a:p>
          </p:txBody>
        </p:sp>
        <p:sp>
          <p:nvSpPr>
            <p:cNvPr id="1890" name="Freeform: Shape 889"/>
            <p:cNvSpPr/>
            <p:nvPr/>
          </p:nvSpPr>
          <p:spPr>
            <a:xfrm>
              <a:off x="10189183" y="508907"/>
              <a:ext cx="118435" cy="118435"/>
            </a:xfrm>
            <a:custGeom>
              <a:avLst/>
              <a:gdLst>
                <a:gd name="connsiteX0" fmla="*/ 118435 w 118435"/>
                <a:gd name="connsiteY0" fmla="*/ 59218 h 118435"/>
                <a:gd name="connsiteX1" fmla="*/ 59218 w 118435"/>
                <a:gd name="connsiteY1" fmla="*/ 118436 h 118435"/>
                <a:gd name="connsiteX2" fmla="*/ 0 w 118435"/>
                <a:gd name="connsiteY2" fmla="*/ 59218 h 118435"/>
                <a:gd name="connsiteX3" fmla="*/ 59218 w 118435"/>
                <a:gd name="connsiteY3" fmla="*/ 0 h 118435"/>
                <a:gd name="connsiteX4" fmla="*/ 118435 w 118435"/>
                <a:gd name="connsiteY4" fmla="*/ 59218 h 1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5" h="118435">
                  <a:moveTo>
                    <a:pt x="118435" y="59218"/>
                  </a:moveTo>
                  <a:cubicBezTo>
                    <a:pt x="118435" y="91871"/>
                    <a:pt x="91947" y="118436"/>
                    <a:pt x="59218" y="118436"/>
                  </a:cubicBezTo>
                  <a:cubicBezTo>
                    <a:pt x="26564" y="118436"/>
                    <a:pt x="0" y="91947"/>
                    <a:pt x="0" y="59218"/>
                  </a:cubicBezTo>
                  <a:cubicBezTo>
                    <a:pt x="0" y="26488"/>
                    <a:pt x="26488" y="0"/>
                    <a:pt x="59218" y="0"/>
                  </a:cubicBezTo>
                  <a:cubicBezTo>
                    <a:pt x="91947" y="0"/>
                    <a:pt x="118435" y="26488"/>
                    <a:pt x="118435" y="59218"/>
                  </a:cubicBezTo>
                </a:path>
              </a:pathLst>
            </a:custGeom>
            <a:grpFill/>
            <a:ln w="7608" cap="flat">
              <a:noFill/>
              <a:prstDash val="solid"/>
              <a:miter/>
            </a:ln>
          </p:spPr>
          <p:txBody>
            <a:bodyPr rtlCol="0" anchor="ctr"/>
            <a:lstStyle/>
            <a:p>
              <a:endParaRPr lang="hi-IN"/>
            </a:p>
          </p:txBody>
        </p:sp>
        <p:sp>
          <p:nvSpPr>
            <p:cNvPr id="1891" name="Freeform: Shape 890"/>
            <p:cNvSpPr/>
            <p:nvPr/>
          </p:nvSpPr>
          <p:spPr>
            <a:xfrm>
              <a:off x="10040224" y="418710"/>
              <a:ext cx="116152" cy="116152"/>
            </a:xfrm>
            <a:custGeom>
              <a:avLst/>
              <a:gdLst>
                <a:gd name="connsiteX0" fmla="*/ 116152 w 116152"/>
                <a:gd name="connsiteY0" fmla="*/ 58076 h 116152"/>
                <a:gd name="connsiteX1" fmla="*/ 58076 w 116152"/>
                <a:gd name="connsiteY1" fmla="*/ 116152 h 116152"/>
                <a:gd name="connsiteX2" fmla="*/ 0 w 116152"/>
                <a:gd name="connsiteY2" fmla="*/ 58076 h 116152"/>
                <a:gd name="connsiteX3" fmla="*/ 58076 w 116152"/>
                <a:gd name="connsiteY3" fmla="*/ 0 h 116152"/>
                <a:gd name="connsiteX4" fmla="*/ 116152 w 116152"/>
                <a:gd name="connsiteY4" fmla="*/ 58076 h 116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52" h="116152">
                  <a:moveTo>
                    <a:pt x="116152" y="58076"/>
                  </a:moveTo>
                  <a:cubicBezTo>
                    <a:pt x="116152" y="90197"/>
                    <a:pt x="90121" y="116152"/>
                    <a:pt x="58076" y="116152"/>
                  </a:cubicBezTo>
                  <a:cubicBezTo>
                    <a:pt x="25956" y="116152"/>
                    <a:pt x="0" y="90121"/>
                    <a:pt x="0" y="58076"/>
                  </a:cubicBezTo>
                  <a:cubicBezTo>
                    <a:pt x="0" y="25955"/>
                    <a:pt x="26032" y="0"/>
                    <a:pt x="58076" y="0"/>
                  </a:cubicBezTo>
                  <a:cubicBezTo>
                    <a:pt x="90121" y="0"/>
                    <a:pt x="116152" y="26031"/>
                    <a:pt x="116152" y="58076"/>
                  </a:cubicBezTo>
                </a:path>
              </a:pathLst>
            </a:custGeom>
            <a:grpFill/>
            <a:ln w="7608" cap="flat">
              <a:noFill/>
              <a:prstDash val="solid"/>
              <a:miter/>
            </a:ln>
          </p:spPr>
          <p:txBody>
            <a:bodyPr rtlCol="0" anchor="ctr"/>
            <a:lstStyle/>
            <a:p>
              <a:endParaRPr lang="hi-IN"/>
            </a:p>
          </p:txBody>
        </p:sp>
        <p:sp>
          <p:nvSpPr>
            <p:cNvPr id="1892" name="Freeform: Shape 891"/>
            <p:cNvSpPr/>
            <p:nvPr/>
          </p:nvSpPr>
          <p:spPr>
            <a:xfrm>
              <a:off x="9887613" y="334375"/>
              <a:ext cx="114020" cy="114020"/>
            </a:xfrm>
            <a:custGeom>
              <a:avLst/>
              <a:gdLst>
                <a:gd name="connsiteX0" fmla="*/ 114021 w 114020"/>
                <a:gd name="connsiteY0" fmla="*/ 57010 h 114020"/>
                <a:gd name="connsiteX1" fmla="*/ 57010 w 114020"/>
                <a:gd name="connsiteY1" fmla="*/ 114021 h 114020"/>
                <a:gd name="connsiteX2" fmla="*/ 0 w 114020"/>
                <a:gd name="connsiteY2" fmla="*/ 57010 h 114020"/>
                <a:gd name="connsiteX3" fmla="*/ 57010 w 114020"/>
                <a:gd name="connsiteY3" fmla="*/ 0 h 114020"/>
                <a:gd name="connsiteX4" fmla="*/ 114021 w 114020"/>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0">
                  <a:moveTo>
                    <a:pt x="114021" y="57010"/>
                  </a:moveTo>
                  <a:cubicBezTo>
                    <a:pt x="114021" y="88522"/>
                    <a:pt x="88522" y="114021"/>
                    <a:pt x="57010" y="114021"/>
                  </a:cubicBezTo>
                  <a:cubicBezTo>
                    <a:pt x="25498" y="114021"/>
                    <a:pt x="0" y="88522"/>
                    <a:pt x="0" y="57010"/>
                  </a:cubicBezTo>
                  <a:cubicBezTo>
                    <a:pt x="0" y="25499"/>
                    <a:pt x="25498" y="0"/>
                    <a:pt x="57010" y="0"/>
                  </a:cubicBezTo>
                  <a:cubicBezTo>
                    <a:pt x="88446" y="0"/>
                    <a:pt x="114021" y="25575"/>
                    <a:pt x="114021" y="57010"/>
                  </a:cubicBezTo>
                </a:path>
              </a:pathLst>
            </a:custGeom>
            <a:grpFill/>
            <a:ln w="7608" cap="flat">
              <a:noFill/>
              <a:prstDash val="solid"/>
              <a:miter/>
            </a:ln>
          </p:spPr>
          <p:txBody>
            <a:bodyPr rtlCol="0" anchor="ctr"/>
            <a:lstStyle/>
            <a:p>
              <a:endParaRPr lang="hi-IN"/>
            </a:p>
          </p:txBody>
        </p:sp>
        <p:sp>
          <p:nvSpPr>
            <p:cNvPr id="1893" name="Freeform: Shape 892"/>
            <p:cNvSpPr/>
            <p:nvPr/>
          </p:nvSpPr>
          <p:spPr>
            <a:xfrm>
              <a:off x="9732338" y="256661"/>
              <a:ext cx="110824" cy="110824"/>
            </a:xfrm>
            <a:custGeom>
              <a:avLst/>
              <a:gdLst>
                <a:gd name="connsiteX0" fmla="*/ 110825 w 110824"/>
                <a:gd name="connsiteY0" fmla="*/ 55412 h 110824"/>
                <a:gd name="connsiteX1" fmla="*/ 55412 w 110824"/>
                <a:gd name="connsiteY1" fmla="*/ 110824 h 110824"/>
                <a:gd name="connsiteX2" fmla="*/ 0 w 110824"/>
                <a:gd name="connsiteY2" fmla="*/ 55412 h 110824"/>
                <a:gd name="connsiteX3" fmla="*/ 55412 w 110824"/>
                <a:gd name="connsiteY3" fmla="*/ 0 h 110824"/>
                <a:gd name="connsiteX4" fmla="*/ 110825 w 110824"/>
                <a:gd name="connsiteY4" fmla="*/ 55412 h 110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24" h="110824">
                  <a:moveTo>
                    <a:pt x="110825" y="55412"/>
                  </a:moveTo>
                  <a:cubicBezTo>
                    <a:pt x="110825" y="86010"/>
                    <a:pt x="86011" y="110824"/>
                    <a:pt x="55412" y="110824"/>
                  </a:cubicBezTo>
                  <a:cubicBezTo>
                    <a:pt x="24814" y="110824"/>
                    <a:pt x="0" y="86010"/>
                    <a:pt x="0" y="55412"/>
                  </a:cubicBezTo>
                  <a:cubicBezTo>
                    <a:pt x="0" y="24814"/>
                    <a:pt x="24814" y="0"/>
                    <a:pt x="55412" y="0"/>
                  </a:cubicBezTo>
                  <a:cubicBezTo>
                    <a:pt x="86011" y="0"/>
                    <a:pt x="110825" y="24814"/>
                    <a:pt x="110825" y="55412"/>
                  </a:cubicBezTo>
                </a:path>
              </a:pathLst>
            </a:custGeom>
            <a:grpFill/>
            <a:ln w="7608" cap="flat">
              <a:noFill/>
              <a:prstDash val="solid"/>
              <a:miter/>
            </a:ln>
          </p:spPr>
          <p:txBody>
            <a:bodyPr rtlCol="0" anchor="ctr"/>
            <a:lstStyle/>
            <a:p>
              <a:endParaRPr lang="hi-IN"/>
            </a:p>
          </p:txBody>
        </p:sp>
        <p:sp>
          <p:nvSpPr>
            <p:cNvPr id="1894" name="Freeform: Shape 893"/>
            <p:cNvSpPr/>
            <p:nvPr/>
          </p:nvSpPr>
          <p:spPr>
            <a:xfrm>
              <a:off x="9573637" y="184655"/>
              <a:ext cx="108616" cy="108540"/>
            </a:xfrm>
            <a:custGeom>
              <a:avLst/>
              <a:gdLst>
                <a:gd name="connsiteX0" fmla="*/ 108617 w 108616"/>
                <a:gd name="connsiteY0" fmla="*/ 54270 h 108540"/>
                <a:gd name="connsiteX1" fmla="*/ 54270 w 108616"/>
                <a:gd name="connsiteY1" fmla="*/ 108541 h 108540"/>
                <a:gd name="connsiteX2" fmla="*/ 0 w 108616"/>
                <a:gd name="connsiteY2" fmla="*/ 54270 h 108540"/>
                <a:gd name="connsiteX3" fmla="*/ 54270 w 108616"/>
                <a:gd name="connsiteY3" fmla="*/ 0 h 108540"/>
                <a:gd name="connsiteX4" fmla="*/ 108617 w 108616"/>
                <a:gd name="connsiteY4" fmla="*/ 54270 h 108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616" h="108540">
                  <a:moveTo>
                    <a:pt x="108617" y="54270"/>
                  </a:moveTo>
                  <a:cubicBezTo>
                    <a:pt x="108617" y="84260"/>
                    <a:pt x="84336" y="108541"/>
                    <a:pt x="54270" y="108541"/>
                  </a:cubicBezTo>
                  <a:cubicBezTo>
                    <a:pt x="24280" y="108541"/>
                    <a:pt x="0" y="84260"/>
                    <a:pt x="0" y="54270"/>
                  </a:cubicBezTo>
                  <a:cubicBezTo>
                    <a:pt x="0" y="24281"/>
                    <a:pt x="24280" y="0"/>
                    <a:pt x="54270" y="0"/>
                  </a:cubicBezTo>
                  <a:cubicBezTo>
                    <a:pt x="84336" y="-76"/>
                    <a:pt x="108617" y="24281"/>
                    <a:pt x="108617" y="54270"/>
                  </a:cubicBezTo>
                </a:path>
              </a:pathLst>
            </a:custGeom>
            <a:grpFill/>
            <a:ln w="7608" cap="flat">
              <a:noFill/>
              <a:prstDash val="solid"/>
              <a:miter/>
            </a:ln>
          </p:spPr>
          <p:txBody>
            <a:bodyPr rtlCol="0" anchor="ctr"/>
            <a:lstStyle/>
            <a:p>
              <a:endParaRPr lang="hi-IN"/>
            </a:p>
          </p:txBody>
        </p:sp>
        <p:sp>
          <p:nvSpPr>
            <p:cNvPr id="1895" name="Freeform: Shape 894"/>
            <p:cNvSpPr/>
            <p:nvPr/>
          </p:nvSpPr>
          <p:spPr>
            <a:xfrm>
              <a:off x="9412729" y="119348"/>
              <a:ext cx="105343" cy="105343"/>
            </a:xfrm>
            <a:custGeom>
              <a:avLst/>
              <a:gdLst>
                <a:gd name="connsiteX0" fmla="*/ 105343 w 105343"/>
                <a:gd name="connsiteY0" fmla="*/ 52672 h 105343"/>
                <a:gd name="connsiteX1" fmla="*/ 52672 w 105343"/>
                <a:gd name="connsiteY1" fmla="*/ 105344 h 105343"/>
                <a:gd name="connsiteX2" fmla="*/ 0 w 105343"/>
                <a:gd name="connsiteY2" fmla="*/ 52672 h 105343"/>
                <a:gd name="connsiteX3" fmla="*/ 52672 w 105343"/>
                <a:gd name="connsiteY3" fmla="*/ 0 h 105343"/>
                <a:gd name="connsiteX4" fmla="*/ 105343 w 105343"/>
                <a:gd name="connsiteY4" fmla="*/ 52672 h 105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43" h="105343">
                  <a:moveTo>
                    <a:pt x="105343" y="52672"/>
                  </a:moveTo>
                  <a:cubicBezTo>
                    <a:pt x="105343" y="81748"/>
                    <a:pt x="81748" y="105344"/>
                    <a:pt x="52672" y="105344"/>
                  </a:cubicBezTo>
                  <a:cubicBezTo>
                    <a:pt x="23596" y="105344"/>
                    <a:pt x="0" y="81748"/>
                    <a:pt x="0" y="52672"/>
                  </a:cubicBezTo>
                  <a:cubicBezTo>
                    <a:pt x="0" y="23596"/>
                    <a:pt x="23596" y="0"/>
                    <a:pt x="52672" y="0"/>
                  </a:cubicBezTo>
                  <a:cubicBezTo>
                    <a:pt x="81748" y="0"/>
                    <a:pt x="105343" y="23596"/>
                    <a:pt x="105343" y="52672"/>
                  </a:cubicBezTo>
                </a:path>
              </a:pathLst>
            </a:custGeom>
            <a:grpFill/>
            <a:ln w="7608" cap="flat">
              <a:noFill/>
              <a:prstDash val="solid"/>
              <a:miter/>
            </a:ln>
          </p:spPr>
          <p:txBody>
            <a:bodyPr rtlCol="0" anchor="ctr"/>
            <a:lstStyle/>
            <a:p>
              <a:endParaRPr lang="hi-IN"/>
            </a:p>
          </p:txBody>
        </p:sp>
        <p:sp>
          <p:nvSpPr>
            <p:cNvPr id="1896" name="Freeform: Shape 895"/>
            <p:cNvSpPr/>
            <p:nvPr/>
          </p:nvSpPr>
          <p:spPr>
            <a:xfrm>
              <a:off x="9249842" y="61120"/>
              <a:ext cx="101005" cy="101005"/>
            </a:xfrm>
            <a:custGeom>
              <a:avLst/>
              <a:gdLst>
                <a:gd name="connsiteX0" fmla="*/ 101005 w 101005"/>
                <a:gd name="connsiteY0" fmla="*/ 50465 h 101005"/>
                <a:gd name="connsiteX1" fmla="*/ 50541 w 101005"/>
                <a:gd name="connsiteY1" fmla="*/ 101005 h 101005"/>
                <a:gd name="connsiteX2" fmla="*/ 0 w 101005"/>
                <a:gd name="connsiteY2" fmla="*/ 50465 h 101005"/>
                <a:gd name="connsiteX3" fmla="*/ 50541 w 101005"/>
                <a:gd name="connsiteY3" fmla="*/ 0 h 101005"/>
                <a:gd name="connsiteX4" fmla="*/ 101005 w 101005"/>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05" h="101005">
                  <a:moveTo>
                    <a:pt x="101005" y="50465"/>
                  </a:moveTo>
                  <a:cubicBezTo>
                    <a:pt x="101005" y="78323"/>
                    <a:pt x="78399" y="101005"/>
                    <a:pt x="50541" y="101005"/>
                  </a:cubicBezTo>
                  <a:cubicBezTo>
                    <a:pt x="22606" y="101005"/>
                    <a:pt x="0" y="78399"/>
                    <a:pt x="0" y="50465"/>
                  </a:cubicBezTo>
                  <a:cubicBezTo>
                    <a:pt x="0" y="22606"/>
                    <a:pt x="22606" y="0"/>
                    <a:pt x="50541" y="0"/>
                  </a:cubicBezTo>
                  <a:cubicBezTo>
                    <a:pt x="78399" y="-76"/>
                    <a:pt x="101005" y="22530"/>
                    <a:pt x="101005" y="50465"/>
                  </a:cubicBezTo>
                </a:path>
              </a:pathLst>
            </a:custGeom>
            <a:grpFill/>
            <a:ln w="7608" cap="flat">
              <a:noFill/>
              <a:prstDash val="solid"/>
              <a:miter/>
            </a:ln>
          </p:spPr>
          <p:txBody>
            <a:bodyPr rtlCol="0" anchor="ctr"/>
            <a:lstStyle/>
            <a:p>
              <a:endParaRPr lang="hi-IN"/>
            </a:p>
          </p:txBody>
        </p:sp>
        <p:sp>
          <p:nvSpPr>
            <p:cNvPr id="1897" name="Freeform: Shape 896"/>
            <p:cNvSpPr/>
            <p:nvPr/>
          </p:nvSpPr>
          <p:spPr>
            <a:xfrm>
              <a:off x="9084748" y="9514"/>
              <a:ext cx="96666" cy="96438"/>
            </a:xfrm>
            <a:custGeom>
              <a:avLst/>
              <a:gdLst>
                <a:gd name="connsiteX0" fmla="*/ 50921 w 96666"/>
                <a:gd name="connsiteY0" fmla="*/ 0 h 96438"/>
                <a:gd name="connsiteX1" fmla="*/ 96666 w 96666"/>
                <a:gd name="connsiteY1" fmla="*/ 48105 h 96438"/>
                <a:gd name="connsiteX2" fmla="*/ 48333 w 96666"/>
                <a:gd name="connsiteY2" fmla="*/ 96438 h 96438"/>
                <a:gd name="connsiteX3" fmla="*/ 0 w 96666"/>
                <a:gd name="connsiteY3" fmla="*/ 48105 h 96438"/>
                <a:gd name="connsiteX4" fmla="*/ 45745 w 96666"/>
                <a:gd name="connsiteY4" fmla="*/ 0 h 96438"/>
                <a:gd name="connsiteX5" fmla="*/ 50921 w 96666"/>
                <a:gd name="connsiteY5" fmla="*/ 0 h 96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666" h="96438">
                  <a:moveTo>
                    <a:pt x="50921" y="0"/>
                  </a:moveTo>
                  <a:cubicBezTo>
                    <a:pt x="76419" y="1370"/>
                    <a:pt x="96666" y="22226"/>
                    <a:pt x="96666" y="48105"/>
                  </a:cubicBezTo>
                  <a:cubicBezTo>
                    <a:pt x="96666" y="74821"/>
                    <a:pt x="75050" y="96438"/>
                    <a:pt x="48333" y="96438"/>
                  </a:cubicBezTo>
                  <a:cubicBezTo>
                    <a:pt x="21617" y="96438"/>
                    <a:pt x="0" y="74821"/>
                    <a:pt x="0" y="48105"/>
                  </a:cubicBezTo>
                  <a:cubicBezTo>
                    <a:pt x="0" y="22302"/>
                    <a:pt x="20322" y="1370"/>
                    <a:pt x="45745" y="0"/>
                  </a:cubicBezTo>
                  <a:lnTo>
                    <a:pt x="50921" y="0"/>
                  </a:lnTo>
                  <a:close/>
                </a:path>
              </a:pathLst>
            </a:custGeom>
            <a:grpFill/>
            <a:ln w="7608" cap="flat">
              <a:noFill/>
              <a:prstDash val="solid"/>
              <a:miter/>
            </a:ln>
          </p:spPr>
          <p:txBody>
            <a:bodyPr rtlCol="0" anchor="ctr"/>
            <a:lstStyle/>
            <a:p>
              <a:endParaRPr lang="hi-IN"/>
            </a:p>
          </p:txBody>
        </p:sp>
        <p:sp>
          <p:nvSpPr>
            <p:cNvPr id="1898" name="Freeform: Shape 897"/>
            <p:cNvSpPr/>
            <p:nvPr/>
          </p:nvSpPr>
          <p:spPr>
            <a:xfrm>
              <a:off x="8917142" y="9514"/>
              <a:ext cx="93393" cy="47343"/>
            </a:xfrm>
            <a:custGeom>
              <a:avLst/>
              <a:gdLst>
                <a:gd name="connsiteX0" fmla="*/ 93318 w 93393"/>
                <a:gd name="connsiteY0" fmla="*/ 0 h 47343"/>
                <a:gd name="connsiteX1" fmla="*/ 93394 w 93393"/>
                <a:gd name="connsiteY1" fmla="*/ 685 h 47343"/>
                <a:gd name="connsiteX2" fmla="*/ 46659 w 93393"/>
                <a:gd name="connsiteY2" fmla="*/ 47344 h 47343"/>
                <a:gd name="connsiteX3" fmla="*/ 0 w 93393"/>
                <a:gd name="connsiteY3" fmla="*/ 685 h 47343"/>
                <a:gd name="connsiteX4" fmla="*/ 76 w 93393"/>
                <a:gd name="connsiteY4" fmla="*/ 0 h 47343"/>
                <a:gd name="connsiteX5" fmla="*/ 93318 w 93393"/>
                <a:gd name="connsiteY5" fmla="*/ 0 h 47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93" h="47343">
                  <a:moveTo>
                    <a:pt x="93318" y="0"/>
                  </a:moveTo>
                  <a:cubicBezTo>
                    <a:pt x="93318" y="228"/>
                    <a:pt x="93394" y="457"/>
                    <a:pt x="93394" y="685"/>
                  </a:cubicBezTo>
                  <a:cubicBezTo>
                    <a:pt x="93394" y="26488"/>
                    <a:pt x="72462" y="47344"/>
                    <a:pt x="46659" y="47344"/>
                  </a:cubicBezTo>
                  <a:cubicBezTo>
                    <a:pt x="20856" y="47344"/>
                    <a:pt x="0" y="26412"/>
                    <a:pt x="0" y="685"/>
                  </a:cubicBezTo>
                  <a:cubicBezTo>
                    <a:pt x="0" y="457"/>
                    <a:pt x="76" y="228"/>
                    <a:pt x="76" y="0"/>
                  </a:cubicBezTo>
                  <a:lnTo>
                    <a:pt x="93318" y="0"/>
                  </a:lnTo>
                  <a:close/>
                </a:path>
              </a:pathLst>
            </a:custGeom>
            <a:grpFill/>
            <a:ln w="7608" cap="flat">
              <a:noFill/>
              <a:prstDash val="solid"/>
              <a:miter/>
            </a:ln>
          </p:spPr>
          <p:txBody>
            <a:bodyPr rtlCol="0" anchor="ctr"/>
            <a:lstStyle/>
            <a:p>
              <a:endParaRPr lang="hi-IN"/>
            </a:p>
          </p:txBody>
        </p:sp>
        <p:sp>
          <p:nvSpPr>
            <p:cNvPr id="1899" name="Freeform: Shape 898"/>
            <p:cNvSpPr/>
            <p:nvPr/>
          </p:nvSpPr>
          <p:spPr>
            <a:xfrm>
              <a:off x="6518669" y="42396"/>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0" y="30446"/>
                    <a:pt x="0" y="23672"/>
                    <a:pt x="0" y="15223"/>
                  </a:cubicBezTo>
                  <a:cubicBezTo>
                    <a:pt x="0" y="6850"/>
                    <a:pt x="6774" y="0"/>
                    <a:pt x="15223" y="0"/>
                  </a:cubicBezTo>
                  <a:cubicBezTo>
                    <a:pt x="23672" y="0"/>
                    <a:pt x="30446" y="6774"/>
                    <a:pt x="30446" y="15223"/>
                  </a:cubicBezTo>
                </a:path>
              </a:pathLst>
            </a:custGeom>
            <a:grpFill/>
            <a:ln w="7608" cap="flat">
              <a:noFill/>
              <a:prstDash val="solid"/>
              <a:miter/>
            </a:ln>
          </p:spPr>
          <p:txBody>
            <a:bodyPr rtlCol="0" anchor="ctr"/>
            <a:lstStyle/>
            <a:p>
              <a:endParaRPr lang="hi-IN"/>
            </a:p>
          </p:txBody>
        </p:sp>
        <p:sp>
          <p:nvSpPr>
            <p:cNvPr id="1900" name="Freeform: Shape 899"/>
            <p:cNvSpPr/>
            <p:nvPr/>
          </p:nvSpPr>
          <p:spPr>
            <a:xfrm>
              <a:off x="6353118" y="98036"/>
              <a:ext cx="27097" cy="27097"/>
            </a:xfrm>
            <a:custGeom>
              <a:avLst/>
              <a:gdLst>
                <a:gd name="connsiteX0" fmla="*/ 27097 w 27097"/>
                <a:gd name="connsiteY0" fmla="*/ 13549 h 27097"/>
                <a:gd name="connsiteX1" fmla="*/ 13548 w 27097"/>
                <a:gd name="connsiteY1" fmla="*/ 27097 h 27097"/>
                <a:gd name="connsiteX2" fmla="*/ 0 w 27097"/>
                <a:gd name="connsiteY2" fmla="*/ 13549 h 27097"/>
                <a:gd name="connsiteX3" fmla="*/ 13548 w 27097"/>
                <a:gd name="connsiteY3" fmla="*/ 0 h 27097"/>
                <a:gd name="connsiteX4" fmla="*/ 27097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7" y="13549"/>
                  </a:moveTo>
                  <a:cubicBezTo>
                    <a:pt x="27097" y="21084"/>
                    <a:pt x="21007" y="27097"/>
                    <a:pt x="13548" y="27097"/>
                  </a:cubicBezTo>
                  <a:cubicBezTo>
                    <a:pt x="6089" y="27097"/>
                    <a:pt x="0" y="21008"/>
                    <a:pt x="0" y="13549"/>
                  </a:cubicBezTo>
                  <a:cubicBezTo>
                    <a:pt x="0" y="6089"/>
                    <a:pt x="6089" y="0"/>
                    <a:pt x="13548" y="0"/>
                  </a:cubicBezTo>
                  <a:cubicBezTo>
                    <a:pt x="21007" y="0"/>
                    <a:pt x="27097" y="6013"/>
                    <a:pt x="27097" y="13549"/>
                  </a:cubicBezTo>
                </a:path>
              </a:pathLst>
            </a:custGeom>
            <a:grpFill/>
            <a:ln w="7608" cap="flat">
              <a:noFill/>
              <a:prstDash val="solid"/>
              <a:miter/>
            </a:ln>
          </p:spPr>
          <p:txBody>
            <a:bodyPr rtlCol="0" anchor="ctr"/>
            <a:lstStyle/>
            <a:p>
              <a:endParaRPr lang="hi-IN"/>
            </a:p>
          </p:txBody>
        </p:sp>
        <p:sp>
          <p:nvSpPr>
            <p:cNvPr id="1901" name="Freeform: Shape 900"/>
            <p:cNvSpPr/>
            <p:nvPr/>
          </p:nvSpPr>
          <p:spPr>
            <a:xfrm>
              <a:off x="6190230" y="160603"/>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76"/>
                    <a:pt x="22835" y="5176"/>
                    <a:pt x="22835" y="11417"/>
                  </a:cubicBezTo>
                </a:path>
              </a:pathLst>
            </a:custGeom>
            <a:grpFill/>
            <a:ln w="7608" cap="flat">
              <a:noFill/>
              <a:prstDash val="solid"/>
              <a:miter/>
            </a:ln>
          </p:spPr>
          <p:txBody>
            <a:bodyPr rtlCol="0" anchor="ctr"/>
            <a:lstStyle/>
            <a:p>
              <a:endParaRPr lang="hi-IN"/>
            </a:p>
          </p:txBody>
        </p:sp>
        <p:sp>
          <p:nvSpPr>
            <p:cNvPr id="1902" name="Freeform: Shape 901"/>
            <p:cNvSpPr/>
            <p:nvPr/>
          </p:nvSpPr>
          <p:spPr>
            <a:xfrm>
              <a:off x="6029399" y="229182"/>
              <a:ext cx="19485" cy="19486"/>
            </a:xfrm>
            <a:custGeom>
              <a:avLst/>
              <a:gdLst>
                <a:gd name="connsiteX0" fmla="*/ 19486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6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6" y="9744"/>
                  </a:moveTo>
                  <a:cubicBezTo>
                    <a:pt x="19486" y="15148"/>
                    <a:pt x="15071" y="19487"/>
                    <a:pt x="9743" y="19487"/>
                  </a:cubicBezTo>
                  <a:cubicBezTo>
                    <a:pt x="4339" y="19487"/>
                    <a:pt x="0" y="15072"/>
                    <a:pt x="0" y="9744"/>
                  </a:cubicBezTo>
                  <a:cubicBezTo>
                    <a:pt x="0" y="4340"/>
                    <a:pt x="4415" y="1"/>
                    <a:pt x="9743" y="1"/>
                  </a:cubicBezTo>
                  <a:cubicBezTo>
                    <a:pt x="15071" y="-75"/>
                    <a:pt x="19486" y="4340"/>
                    <a:pt x="19486" y="9744"/>
                  </a:cubicBezTo>
                </a:path>
              </a:pathLst>
            </a:custGeom>
            <a:grpFill/>
            <a:ln w="7608" cap="flat">
              <a:noFill/>
              <a:prstDash val="solid"/>
              <a:miter/>
            </a:ln>
          </p:spPr>
          <p:txBody>
            <a:bodyPr rtlCol="0" anchor="ctr"/>
            <a:lstStyle/>
            <a:p>
              <a:endParaRPr lang="hi-IN"/>
            </a:p>
          </p:txBody>
        </p:sp>
        <p:sp>
          <p:nvSpPr>
            <p:cNvPr id="1903" name="Freeform: Shape 902"/>
            <p:cNvSpPr/>
            <p:nvPr/>
          </p:nvSpPr>
          <p:spPr>
            <a:xfrm>
              <a:off x="5871155" y="303928"/>
              <a:ext cx="16288" cy="16288"/>
            </a:xfrm>
            <a:custGeom>
              <a:avLst/>
              <a:gdLst>
                <a:gd name="connsiteX0" fmla="*/ 16288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8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8" y="8144"/>
                  </a:moveTo>
                  <a:cubicBezTo>
                    <a:pt x="16288" y="12635"/>
                    <a:pt x="12635" y="16289"/>
                    <a:pt x="8144" y="16289"/>
                  </a:cubicBezTo>
                  <a:cubicBezTo>
                    <a:pt x="3653" y="16289"/>
                    <a:pt x="0" y="12635"/>
                    <a:pt x="0" y="8144"/>
                  </a:cubicBezTo>
                  <a:cubicBezTo>
                    <a:pt x="0" y="3654"/>
                    <a:pt x="3653" y="0"/>
                    <a:pt x="8144" y="0"/>
                  </a:cubicBezTo>
                  <a:cubicBezTo>
                    <a:pt x="12635" y="0"/>
                    <a:pt x="16288" y="3654"/>
                    <a:pt x="16288" y="8144"/>
                  </a:cubicBezTo>
                </a:path>
              </a:pathLst>
            </a:custGeom>
            <a:grpFill/>
            <a:ln w="7608" cap="flat">
              <a:noFill/>
              <a:prstDash val="solid"/>
              <a:miter/>
            </a:ln>
          </p:spPr>
          <p:txBody>
            <a:bodyPr rtlCol="0" anchor="ctr"/>
            <a:lstStyle/>
            <a:p>
              <a:endParaRPr lang="hi-IN"/>
            </a:p>
          </p:txBody>
        </p:sp>
        <p:sp>
          <p:nvSpPr>
            <p:cNvPr id="1904" name="Freeform: Shape 903"/>
            <p:cNvSpPr/>
            <p:nvPr/>
          </p:nvSpPr>
          <p:spPr>
            <a:xfrm>
              <a:off x="5715879" y="384839"/>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199"/>
                    <a:pt x="0" y="6546"/>
                  </a:cubicBezTo>
                  <a:cubicBezTo>
                    <a:pt x="0" y="2968"/>
                    <a:pt x="2892" y="0"/>
                    <a:pt x="6546" y="0"/>
                  </a:cubicBezTo>
                  <a:cubicBezTo>
                    <a:pt x="10123" y="76"/>
                    <a:pt x="13092" y="2968"/>
                    <a:pt x="13092" y="6546"/>
                  </a:cubicBezTo>
                </a:path>
              </a:pathLst>
            </a:custGeom>
            <a:grpFill/>
            <a:ln w="7608" cap="flat">
              <a:noFill/>
              <a:prstDash val="solid"/>
              <a:miter/>
            </a:ln>
          </p:spPr>
          <p:txBody>
            <a:bodyPr rtlCol="0" anchor="ctr"/>
            <a:lstStyle/>
            <a:p>
              <a:endParaRPr lang="hi-IN"/>
            </a:p>
          </p:txBody>
        </p:sp>
        <p:sp>
          <p:nvSpPr>
            <p:cNvPr id="1905" name="Freeform: Shape 904"/>
            <p:cNvSpPr/>
            <p:nvPr/>
          </p:nvSpPr>
          <p:spPr>
            <a:xfrm>
              <a:off x="5563420" y="471382"/>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5" y="10808"/>
                    <a:pt x="0" y="8373"/>
                    <a:pt x="0" y="5404"/>
                  </a:cubicBezTo>
                  <a:cubicBezTo>
                    <a:pt x="0" y="2436"/>
                    <a:pt x="2435"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906" name="Freeform: Shape 905"/>
            <p:cNvSpPr/>
            <p:nvPr/>
          </p:nvSpPr>
          <p:spPr>
            <a:xfrm>
              <a:off x="11981701" y="6559170"/>
              <a:ext cx="14157" cy="14157"/>
            </a:xfrm>
            <a:custGeom>
              <a:avLst/>
              <a:gdLst>
                <a:gd name="connsiteX0" fmla="*/ 14157 w 14157"/>
                <a:gd name="connsiteY0" fmla="*/ 7079 h 14157"/>
                <a:gd name="connsiteX1" fmla="*/ 7078 w 14157"/>
                <a:gd name="connsiteY1" fmla="*/ 14157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7"/>
                    <a:pt x="7078" y="14157"/>
                  </a:cubicBezTo>
                  <a:cubicBezTo>
                    <a:pt x="3197" y="14157"/>
                    <a:pt x="0" y="10961"/>
                    <a:pt x="0" y="7079"/>
                  </a:cubicBezTo>
                  <a:cubicBezTo>
                    <a:pt x="0" y="3197"/>
                    <a:pt x="3197" y="0"/>
                    <a:pt x="7078" y="0"/>
                  </a:cubicBezTo>
                  <a:cubicBezTo>
                    <a:pt x="10960" y="0"/>
                    <a:pt x="14157" y="3121"/>
                    <a:pt x="14157" y="7079"/>
                  </a:cubicBezTo>
                </a:path>
              </a:pathLst>
            </a:custGeom>
            <a:grpFill/>
            <a:ln w="7608" cap="flat">
              <a:noFill/>
              <a:prstDash val="solid"/>
              <a:miter/>
            </a:ln>
          </p:spPr>
          <p:txBody>
            <a:bodyPr rtlCol="0" anchor="ctr"/>
            <a:lstStyle/>
            <a:p>
              <a:endParaRPr lang="hi-IN"/>
            </a:p>
          </p:txBody>
        </p:sp>
        <p:sp>
          <p:nvSpPr>
            <p:cNvPr id="1907" name="Freeform: Shape 906"/>
            <p:cNvSpPr/>
            <p:nvPr/>
          </p:nvSpPr>
          <p:spPr>
            <a:xfrm>
              <a:off x="12059338" y="6400622"/>
              <a:ext cx="17354" cy="17354"/>
            </a:xfrm>
            <a:custGeom>
              <a:avLst/>
              <a:gdLst>
                <a:gd name="connsiteX0" fmla="*/ 17355 w 17354"/>
                <a:gd name="connsiteY0" fmla="*/ 8677 h 17354"/>
                <a:gd name="connsiteX1" fmla="*/ 8677 w 17354"/>
                <a:gd name="connsiteY1" fmla="*/ 17355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5"/>
                    <a:pt x="8677" y="17355"/>
                  </a:cubicBezTo>
                  <a:cubicBezTo>
                    <a:pt x="3882" y="17355"/>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908" name="Freeform: Shape 907"/>
            <p:cNvSpPr/>
            <p:nvPr/>
          </p:nvSpPr>
          <p:spPr>
            <a:xfrm>
              <a:off x="12130887" y="6239181"/>
              <a:ext cx="20703" cy="20703"/>
            </a:xfrm>
            <a:custGeom>
              <a:avLst/>
              <a:gdLst>
                <a:gd name="connsiteX0" fmla="*/ 20703 w 20703"/>
                <a:gd name="connsiteY0" fmla="*/ 10352 h 20703"/>
                <a:gd name="connsiteX1" fmla="*/ 10352 w 20703"/>
                <a:gd name="connsiteY1" fmla="*/ 20703 h 20703"/>
                <a:gd name="connsiteX2" fmla="*/ 0 w 20703"/>
                <a:gd name="connsiteY2" fmla="*/ 10352 h 20703"/>
                <a:gd name="connsiteX3" fmla="*/ 10352 w 20703"/>
                <a:gd name="connsiteY3" fmla="*/ 0 h 20703"/>
                <a:gd name="connsiteX4" fmla="*/ 20703 w 20703"/>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703">
                  <a:moveTo>
                    <a:pt x="20703" y="10352"/>
                  </a:moveTo>
                  <a:cubicBezTo>
                    <a:pt x="20703" y="16060"/>
                    <a:pt x="16060" y="20703"/>
                    <a:pt x="10352" y="20703"/>
                  </a:cubicBezTo>
                  <a:cubicBezTo>
                    <a:pt x="4643" y="20703"/>
                    <a:pt x="0" y="16060"/>
                    <a:pt x="0" y="10352"/>
                  </a:cubicBezTo>
                  <a:cubicBezTo>
                    <a:pt x="0" y="4643"/>
                    <a:pt x="4643" y="0"/>
                    <a:pt x="10352" y="0"/>
                  </a:cubicBezTo>
                  <a:cubicBezTo>
                    <a:pt x="16060" y="76"/>
                    <a:pt x="20703" y="4719"/>
                    <a:pt x="20703" y="10352"/>
                  </a:cubicBezTo>
                </a:path>
              </a:pathLst>
            </a:custGeom>
            <a:grpFill/>
            <a:ln w="7608" cap="flat">
              <a:noFill/>
              <a:prstDash val="solid"/>
              <a:miter/>
            </a:ln>
          </p:spPr>
          <p:txBody>
            <a:bodyPr rtlCol="0" anchor="ctr"/>
            <a:lstStyle/>
            <a:p>
              <a:endParaRPr lang="hi-IN"/>
            </a:p>
          </p:txBody>
        </p:sp>
        <p:sp>
          <p:nvSpPr>
            <p:cNvPr id="1909" name="Freeform: Shape 908"/>
            <p:cNvSpPr/>
            <p:nvPr/>
          </p:nvSpPr>
          <p:spPr>
            <a:xfrm>
              <a:off x="12151514" y="2601168"/>
              <a:ext cx="33719" cy="103821"/>
            </a:xfrm>
            <a:custGeom>
              <a:avLst/>
              <a:gdLst>
                <a:gd name="connsiteX0" fmla="*/ 33720 w 33719"/>
                <a:gd name="connsiteY0" fmla="*/ 103822 h 103821"/>
                <a:gd name="connsiteX1" fmla="*/ 0 w 33719"/>
                <a:gd name="connsiteY1" fmla="*/ 51911 h 103821"/>
                <a:gd name="connsiteX2" fmla="*/ 33720 w 33719"/>
                <a:gd name="connsiteY2" fmla="*/ 0 h 103821"/>
                <a:gd name="connsiteX3" fmla="*/ 33720 w 33719"/>
                <a:gd name="connsiteY3" fmla="*/ 103822 h 103821"/>
              </a:gdLst>
              <a:ahLst/>
              <a:cxnLst>
                <a:cxn ang="0">
                  <a:pos x="connsiteX0" y="connsiteY0"/>
                </a:cxn>
                <a:cxn ang="0">
                  <a:pos x="connsiteX1" y="connsiteY1"/>
                </a:cxn>
                <a:cxn ang="0">
                  <a:pos x="connsiteX2" y="connsiteY2"/>
                </a:cxn>
                <a:cxn ang="0">
                  <a:pos x="connsiteX3" y="connsiteY3"/>
                </a:cxn>
              </a:cxnLst>
              <a:rect l="l" t="t" r="r" b="b"/>
              <a:pathLst>
                <a:path w="33719" h="103821">
                  <a:moveTo>
                    <a:pt x="33720" y="103822"/>
                  </a:moveTo>
                  <a:cubicBezTo>
                    <a:pt x="13854" y="94916"/>
                    <a:pt x="0" y="75050"/>
                    <a:pt x="0" y="51911"/>
                  </a:cubicBezTo>
                  <a:cubicBezTo>
                    <a:pt x="0" y="28772"/>
                    <a:pt x="13854" y="8906"/>
                    <a:pt x="33720" y="0"/>
                  </a:cubicBezTo>
                  <a:lnTo>
                    <a:pt x="33720" y="103822"/>
                  </a:lnTo>
                  <a:close/>
                </a:path>
              </a:pathLst>
            </a:custGeom>
            <a:grpFill/>
            <a:ln w="7608" cap="flat">
              <a:noFill/>
              <a:prstDash val="solid"/>
              <a:miter/>
            </a:ln>
          </p:spPr>
          <p:txBody>
            <a:bodyPr rtlCol="0" anchor="ctr"/>
            <a:lstStyle/>
            <a:p>
              <a:endParaRPr lang="hi-IN"/>
            </a:p>
          </p:txBody>
        </p:sp>
        <p:sp>
          <p:nvSpPr>
            <p:cNvPr id="1910" name="Freeform: Shape 909"/>
            <p:cNvSpPr/>
            <p:nvPr/>
          </p:nvSpPr>
          <p:spPr>
            <a:xfrm>
              <a:off x="12082630" y="2431964"/>
              <a:ext cx="102603" cy="117293"/>
            </a:xfrm>
            <a:custGeom>
              <a:avLst/>
              <a:gdLst>
                <a:gd name="connsiteX0" fmla="*/ 102603 w 102603"/>
                <a:gd name="connsiteY0" fmla="*/ 20247 h 117293"/>
                <a:gd name="connsiteX1" fmla="*/ 102603 w 102603"/>
                <a:gd name="connsiteY1" fmla="*/ 97123 h 117293"/>
                <a:gd name="connsiteX2" fmla="*/ 58609 w 102603"/>
                <a:gd name="connsiteY2" fmla="*/ 117294 h 117293"/>
                <a:gd name="connsiteX3" fmla="*/ 0 w 102603"/>
                <a:gd name="connsiteY3" fmla="*/ 58685 h 117293"/>
                <a:gd name="connsiteX4" fmla="*/ 58609 w 102603"/>
                <a:gd name="connsiteY4" fmla="*/ 0 h 117293"/>
                <a:gd name="connsiteX5" fmla="*/ 102603 w 102603"/>
                <a:gd name="connsiteY5" fmla="*/ 20247 h 117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603" h="117293">
                  <a:moveTo>
                    <a:pt x="102603" y="20247"/>
                  </a:moveTo>
                  <a:lnTo>
                    <a:pt x="102603" y="97123"/>
                  </a:lnTo>
                  <a:cubicBezTo>
                    <a:pt x="91871" y="109378"/>
                    <a:pt x="76268" y="117294"/>
                    <a:pt x="58609" y="117294"/>
                  </a:cubicBezTo>
                  <a:cubicBezTo>
                    <a:pt x="26259" y="117294"/>
                    <a:pt x="0" y="91034"/>
                    <a:pt x="0" y="58685"/>
                  </a:cubicBezTo>
                  <a:cubicBezTo>
                    <a:pt x="0" y="26260"/>
                    <a:pt x="26259" y="0"/>
                    <a:pt x="58609" y="0"/>
                  </a:cubicBezTo>
                  <a:cubicBezTo>
                    <a:pt x="76268" y="0"/>
                    <a:pt x="91871" y="7916"/>
                    <a:pt x="102603" y="20247"/>
                  </a:cubicBezTo>
                </a:path>
              </a:pathLst>
            </a:custGeom>
            <a:grpFill/>
            <a:ln w="7608" cap="flat">
              <a:noFill/>
              <a:prstDash val="solid"/>
              <a:miter/>
            </a:ln>
          </p:spPr>
          <p:txBody>
            <a:bodyPr rtlCol="0" anchor="ctr"/>
            <a:lstStyle/>
            <a:p>
              <a:endParaRPr lang="hi-IN"/>
            </a:p>
          </p:txBody>
        </p:sp>
        <p:sp>
          <p:nvSpPr>
            <p:cNvPr id="1911" name="Freeform: Shape 910"/>
            <p:cNvSpPr/>
            <p:nvPr/>
          </p:nvSpPr>
          <p:spPr>
            <a:xfrm>
              <a:off x="12007733" y="2270599"/>
              <a:ext cx="120566" cy="120566"/>
            </a:xfrm>
            <a:custGeom>
              <a:avLst/>
              <a:gdLst>
                <a:gd name="connsiteX0" fmla="*/ 120567 w 120566"/>
                <a:gd name="connsiteY0" fmla="*/ 60284 h 120566"/>
                <a:gd name="connsiteX1" fmla="*/ 60283 w 120566"/>
                <a:gd name="connsiteY1" fmla="*/ 120567 h 120566"/>
                <a:gd name="connsiteX2" fmla="*/ 0 w 120566"/>
                <a:gd name="connsiteY2" fmla="*/ 60284 h 120566"/>
                <a:gd name="connsiteX3" fmla="*/ 60283 w 120566"/>
                <a:gd name="connsiteY3" fmla="*/ 0 h 120566"/>
                <a:gd name="connsiteX4" fmla="*/ 120567 w 120566"/>
                <a:gd name="connsiteY4" fmla="*/ 60284 h 120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6" h="120566">
                  <a:moveTo>
                    <a:pt x="120567" y="60284"/>
                  </a:moveTo>
                  <a:cubicBezTo>
                    <a:pt x="120567" y="93546"/>
                    <a:pt x="93621" y="120567"/>
                    <a:pt x="60283" y="120567"/>
                  </a:cubicBezTo>
                  <a:cubicBezTo>
                    <a:pt x="27020" y="120567"/>
                    <a:pt x="0" y="93546"/>
                    <a:pt x="0" y="60284"/>
                  </a:cubicBezTo>
                  <a:cubicBezTo>
                    <a:pt x="0" y="27021"/>
                    <a:pt x="26944" y="0"/>
                    <a:pt x="60283" y="0"/>
                  </a:cubicBezTo>
                  <a:cubicBezTo>
                    <a:pt x="93545" y="0"/>
                    <a:pt x="120567" y="27021"/>
                    <a:pt x="120567" y="60284"/>
                  </a:cubicBezTo>
                </a:path>
              </a:pathLst>
            </a:custGeom>
            <a:grpFill/>
            <a:ln w="7608" cap="flat">
              <a:noFill/>
              <a:prstDash val="solid"/>
              <a:miter/>
            </a:ln>
          </p:spPr>
          <p:txBody>
            <a:bodyPr rtlCol="0" anchor="ctr"/>
            <a:lstStyle/>
            <a:p>
              <a:endParaRPr lang="hi-IN"/>
            </a:p>
          </p:txBody>
        </p:sp>
        <p:sp>
          <p:nvSpPr>
            <p:cNvPr id="1912" name="Freeform: Shape 911"/>
            <p:cNvSpPr/>
            <p:nvPr/>
          </p:nvSpPr>
          <p:spPr>
            <a:xfrm>
              <a:off x="11926898" y="2112126"/>
              <a:ext cx="123762" cy="123763"/>
            </a:xfrm>
            <a:custGeom>
              <a:avLst/>
              <a:gdLst>
                <a:gd name="connsiteX0" fmla="*/ 123763 w 123762"/>
                <a:gd name="connsiteY0" fmla="*/ 61882 h 123763"/>
                <a:gd name="connsiteX1" fmla="*/ 61881 w 123762"/>
                <a:gd name="connsiteY1" fmla="*/ 123764 h 123763"/>
                <a:gd name="connsiteX2" fmla="*/ 0 w 123762"/>
                <a:gd name="connsiteY2" fmla="*/ 61882 h 123763"/>
                <a:gd name="connsiteX3" fmla="*/ 61881 w 123762"/>
                <a:gd name="connsiteY3" fmla="*/ 0 h 123763"/>
                <a:gd name="connsiteX4" fmla="*/ 123763 w 123762"/>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2" h="123763">
                  <a:moveTo>
                    <a:pt x="123763" y="61882"/>
                  </a:moveTo>
                  <a:cubicBezTo>
                    <a:pt x="123763" y="96058"/>
                    <a:pt x="96058" y="123764"/>
                    <a:pt x="61881" y="123764"/>
                  </a:cubicBezTo>
                  <a:cubicBezTo>
                    <a:pt x="27705" y="123764"/>
                    <a:pt x="0" y="96058"/>
                    <a:pt x="0" y="61882"/>
                  </a:cubicBezTo>
                  <a:cubicBezTo>
                    <a:pt x="0" y="27706"/>
                    <a:pt x="27705" y="0"/>
                    <a:pt x="61881" y="0"/>
                  </a:cubicBezTo>
                  <a:cubicBezTo>
                    <a:pt x="96058" y="0"/>
                    <a:pt x="123763" y="27630"/>
                    <a:pt x="123763" y="61882"/>
                  </a:cubicBezTo>
                </a:path>
              </a:pathLst>
            </a:custGeom>
            <a:grpFill/>
            <a:ln w="7608" cap="flat">
              <a:noFill/>
              <a:prstDash val="solid"/>
              <a:miter/>
            </a:ln>
          </p:spPr>
          <p:txBody>
            <a:bodyPr rtlCol="0" anchor="ctr"/>
            <a:lstStyle/>
            <a:p>
              <a:endParaRPr lang="hi-IN"/>
            </a:p>
          </p:txBody>
        </p:sp>
        <p:sp>
          <p:nvSpPr>
            <p:cNvPr id="1913" name="Freeform: Shape 912"/>
            <p:cNvSpPr/>
            <p:nvPr/>
          </p:nvSpPr>
          <p:spPr>
            <a:xfrm>
              <a:off x="11840203" y="1956623"/>
              <a:ext cx="127112" cy="127112"/>
            </a:xfrm>
            <a:custGeom>
              <a:avLst/>
              <a:gdLst>
                <a:gd name="connsiteX0" fmla="*/ 127112 w 127112"/>
                <a:gd name="connsiteY0" fmla="*/ 63556 h 127112"/>
                <a:gd name="connsiteX1" fmla="*/ 63556 w 127112"/>
                <a:gd name="connsiteY1" fmla="*/ 127113 h 127112"/>
                <a:gd name="connsiteX2" fmla="*/ 0 w 127112"/>
                <a:gd name="connsiteY2" fmla="*/ 63556 h 127112"/>
                <a:gd name="connsiteX3" fmla="*/ 63556 w 127112"/>
                <a:gd name="connsiteY3" fmla="*/ 0 h 127112"/>
                <a:gd name="connsiteX4" fmla="*/ 127112 w 127112"/>
                <a:gd name="connsiteY4" fmla="*/ 63556 h 12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12" h="127112">
                  <a:moveTo>
                    <a:pt x="127112" y="63556"/>
                  </a:moveTo>
                  <a:cubicBezTo>
                    <a:pt x="127112" y="98646"/>
                    <a:pt x="98645" y="127113"/>
                    <a:pt x="63556" y="127113"/>
                  </a:cubicBezTo>
                  <a:cubicBezTo>
                    <a:pt x="28467" y="127113"/>
                    <a:pt x="0" y="98646"/>
                    <a:pt x="0" y="63556"/>
                  </a:cubicBezTo>
                  <a:cubicBezTo>
                    <a:pt x="0" y="28467"/>
                    <a:pt x="28467" y="0"/>
                    <a:pt x="63556" y="0"/>
                  </a:cubicBezTo>
                  <a:cubicBezTo>
                    <a:pt x="98645" y="0"/>
                    <a:pt x="127112" y="28467"/>
                    <a:pt x="127112" y="63556"/>
                  </a:cubicBezTo>
                </a:path>
              </a:pathLst>
            </a:custGeom>
            <a:grpFill/>
            <a:ln w="7608" cap="flat">
              <a:noFill/>
              <a:prstDash val="solid"/>
              <a:miter/>
            </a:ln>
          </p:spPr>
          <p:txBody>
            <a:bodyPr rtlCol="0" anchor="ctr"/>
            <a:lstStyle/>
            <a:p>
              <a:endParaRPr lang="hi-IN"/>
            </a:p>
          </p:txBody>
        </p:sp>
        <p:sp>
          <p:nvSpPr>
            <p:cNvPr id="1914" name="Freeform: Shape 913"/>
            <p:cNvSpPr/>
            <p:nvPr/>
          </p:nvSpPr>
          <p:spPr>
            <a:xfrm>
              <a:off x="11748407" y="1805001"/>
              <a:ext cx="129243" cy="129243"/>
            </a:xfrm>
            <a:custGeom>
              <a:avLst/>
              <a:gdLst>
                <a:gd name="connsiteX0" fmla="*/ 129244 w 129243"/>
                <a:gd name="connsiteY0" fmla="*/ 64622 h 129243"/>
                <a:gd name="connsiteX1" fmla="*/ 64622 w 129243"/>
                <a:gd name="connsiteY1" fmla="*/ 129244 h 129243"/>
                <a:gd name="connsiteX2" fmla="*/ 0 w 129243"/>
                <a:gd name="connsiteY2" fmla="*/ 64622 h 129243"/>
                <a:gd name="connsiteX3" fmla="*/ 64622 w 129243"/>
                <a:gd name="connsiteY3" fmla="*/ 0 h 129243"/>
                <a:gd name="connsiteX4" fmla="*/ 129244 w 129243"/>
                <a:gd name="connsiteY4" fmla="*/ 64622 h 129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43" h="129243">
                  <a:moveTo>
                    <a:pt x="129244" y="64622"/>
                  </a:moveTo>
                  <a:cubicBezTo>
                    <a:pt x="129244" y="100320"/>
                    <a:pt x="100321" y="129244"/>
                    <a:pt x="64622" y="129244"/>
                  </a:cubicBezTo>
                  <a:cubicBezTo>
                    <a:pt x="28924" y="129244"/>
                    <a:pt x="0" y="100320"/>
                    <a:pt x="0" y="64622"/>
                  </a:cubicBezTo>
                  <a:cubicBezTo>
                    <a:pt x="0" y="28924"/>
                    <a:pt x="28924" y="0"/>
                    <a:pt x="64622" y="0"/>
                  </a:cubicBezTo>
                  <a:cubicBezTo>
                    <a:pt x="100321" y="0"/>
                    <a:pt x="129244" y="28924"/>
                    <a:pt x="129244" y="64622"/>
                  </a:cubicBezTo>
                </a:path>
              </a:pathLst>
            </a:custGeom>
            <a:grpFill/>
            <a:ln w="7608" cap="flat">
              <a:noFill/>
              <a:prstDash val="solid"/>
              <a:miter/>
            </a:ln>
          </p:spPr>
          <p:txBody>
            <a:bodyPr rtlCol="0" anchor="ctr"/>
            <a:lstStyle/>
            <a:p>
              <a:endParaRPr lang="hi-IN"/>
            </a:p>
          </p:txBody>
        </p:sp>
        <p:sp>
          <p:nvSpPr>
            <p:cNvPr id="1915" name="Freeform: Shape 914"/>
            <p:cNvSpPr/>
            <p:nvPr/>
          </p:nvSpPr>
          <p:spPr>
            <a:xfrm>
              <a:off x="11651588" y="1657413"/>
              <a:ext cx="130309" cy="130309"/>
            </a:xfrm>
            <a:custGeom>
              <a:avLst/>
              <a:gdLst>
                <a:gd name="connsiteX0" fmla="*/ 130310 w 130309"/>
                <a:gd name="connsiteY0" fmla="*/ 65155 h 130309"/>
                <a:gd name="connsiteX1" fmla="*/ 65154 w 130309"/>
                <a:gd name="connsiteY1" fmla="*/ 130310 h 130309"/>
                <a:gd name="connsiteX2" fmla="*/ 0 w 130309"/>
                <a:gd name="connsiteY2" fmla="*/ 65155 h 130309"/>
                <a:gd name="connsiteX3" fmla="*/ 65154 w 130309"/>
                <a:gd name="connsiteY3" fmla="*/ 0 h 130309"/>
                <a:gd name="connsiteX4" fmla="*/ 130310 w 130309"/>
                <a:gd name="connsiteY4" fmla="*/ 65155 h 13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9" h="130309">
                  <a:moveTo>
                    <a:pt x="130310" y="65155"/>
                  </a:moveTo>
                  <a:cubicBezTo>
                    <a:pt x="130310" y="101157"/>
                    <a:pt x="101158" y="130310"/>
                    <a:pt x="65154" y="130310"/>
                  </a:cubicBezTo>
                  <a:cubicBezTo>
                    <a:pt x="29152" y="130310"/>
                    <a:pt x="0" y="101157"/>
                    <a:pt x="0" y="65155"/>
                  </a:cubicBezTo>
                  <a:cubicBezTo>
                    <a:pt x="0" y="29152"/>
                    <a:pt x="29152" y="0"/>
                    <a:pt x="65154" y="0"/>
                  </a:cubicBezTo>
                  <a:cubicBezTo>
                    <a:pt x="101158" y="0"/>
                    <a:pt x="130310" y="29152"/>
                    <a:pt x="130310" y="65155"/>
                  </a:cubicBezTo>
                </a:path>
              </a:pathLst>
            </a:custGeom>
            <a:grpFill/>
            <a:ln w="7608" cap="flat">
              <a:noFill/>
              <a:prstDash val="solid"/>
              <a:miter/>
            </a:ln>
          </p:spPr>
          <p:txBody>
            <a:bodyPr rtlCol="0" anchor="ctr"/>
            <a:lstStyle/>
            <a:p>
              <a:endParaRPr lang="hi-IN"/>
            </a:p>
          </p:txBody>
        </p:sp>
        <p:sp>
          <p:nvSpPr>
            <p:cNvPr id="1916" name="Freeform: Shape 915"/>
            <p:cNvSpPr/>
            <p:nvPr/>
          </p:nvSpPr>
          <p:spPr>
            <a:xfrm>
              <a:off x="11548833" y="1512946"/>
              <a:ext cx="132441" cy="132440"/>
            </a:xfrm>
            <a:custGeom>
              <a:avLst/>
              <a:gdLst>
                <a:gd name="connsiteX0" fmla="*/ 132441 w 132441"/>
                <a:gd name="connsiteY0" fmla="*/ 66220 h 132440"/>
                <a:gd name="connsiteX1" fmla="*/ 66220 w 132441"/>
                <a:gd name="connsiteY1" fmla="*/ 132441 h 132440"/>
                <a:gd name="connsiteX2" fmla="*/ 0 w 132441"/>
                <a:gd name="connsiteY2" fmla="*/ 66220 h 132440"/>
                <a:gd name="connsiteX3" fmla="*/ 66220 w 132441"/>
                <a:gd name="connsiteY3" fmla="*/ 0 h 132440"/>
                <a:gd name="connsiteX4" fmla="*/ 132441 w 132441"/>
                <a:gd name="connsiteY4" fmla="*/ 66220 h 132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41" h="132440">
                  <a:moveTo>
                    <a:pt x="132441" y="66220"/>
                  </a:moveTo>
                  <a:cubicBezTo>
                    <a:pt x="132441" y="102832"/>
                    <a:pt x="102756" y="132441"/>
                    <a:pt x="66220" y="132441"/>
                  </a:cubicBezTo>
                  <a:cubicBezTo>
                    <a:pt x="29609" y="132441"/>
                    <a:pt x="0" y="102756"/>
                    <a:pt x="0" y="66220"/>
                  </a:cubicBezTo>
                  <a:cubicBezTo>
                    <a:pt x="0" y="29609"/>
                    <a:pt x="29685" y="0"/>
                    <a:pt x="66220" y="0"/>
                  </a:cubicBezTo>
                  <a:cubicBezTo>
                    <a:pt x="102832" y="0"/>
                    <a:pt x="132441" y="29685"/>
                    <a:pt x="132441" y="66220"/>
                  </a:cubicBezTo>
                </a:path>
              </a:pathLst>
            </a:custGeom>
            <a:grpFill/>
            <a:ln w="7608" cap="flat">
              <a:noFill/>
              <a:prstDash val="solid"/>
              <a:miter/>
            </a:ln>
          </p:spPr>
          <p:txBody>
            <a:bodyPr rtlCol="0" anchor="ctr"/>
            <a:lstStyle/>
            <a:p>
              <a:endParaRPr lang="hi-IN"/>
            </a:p>
          </p:txBody>
        </p:sp>
        <p:sp>
          <p:nvSpPr>
            <p:cNvPr id="1917" name="Freeform: Shape 916"/>
            <p:cNvSpPr/>
            <p:nvPr/>
          </p:nvSpPr>
          <p:spPr>
            <a:xfrm>
              <a:off x="11441281" y="1372893"/>
              <a:ext cx="133582" cy="133658"/>
            </a:xfrm>
            <a:custGeom>
              <a:avLst/>
              <a:gdLst>
                <a:gd name="connsiteX0" fmla="*/ 133583 w 133582"/>
                <a:gd name="connsiteY0" fmla="*/ 66829 h 133658"/>
                <a:gd name="connsiteX1" fmla="*/ 66753 w 133582"/>
                <a:gd name="connsiteY1" fmla="*/ 133659 h 133658"/>
                <a:gd name="connsiteX2" fmla="*/ 0 w 133582"/>
                <a:gd name="connsiteY2" fmla="*/ 66829 h 133658"/>
                <a:gd name="connsiteX3" fmla="*/ 66753 w 133582"/>
                <a:gd name="connsiteY3" fmla="*/ 0 h 133658"/>
                <a:gd name="connsiteX4" fmla="*/ 133583 w 133582"/>
                <a:gd name="connsiteY4" fmla="*/ 66829 h 133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582" h="133658">
                  <a:moveTo>
                    <a:pt x="133583" y="66829"/>
                  </a:moveTo>
                  <a:cubicBezTo>
                    <a:pt x="133583" y="103745"/>
                    <a:pt x="103669" y="133659"/>
                    <a:pt x="66753" y="133659"/>
                  </a:cubicBezTo>
                  <a:cubicBezTo>
                    <a:pt x="29838" y="133659"/>
                    <a:pt x="0" y="103745"/>
                    <a:pt x="0" y="66829"/>
                  </a:cubicBezTo>
                  <a:cubicBezTo>
                    <a:pt x="0" y="29913"/>
                    <a:pt x="29913" y="0"/>
                    <a:pt x="66753" y="0"/>
                  </a:cubicBezTo>
                  <a:cubicBezTo>
                    <a:pt x="103669" y="76"/>
                    <a:pt x="133583" y="29989"/>
                    <a:pt x="133583" y="66829"/>
                  </a:cubicBezTo>
                </a:path>
              </a:pathLst>
            </a:custGeom>
            <a:grpFill/>
            <a:ln w="7608" cap="flat">
              <a:noFill/>
              <a:prstDash val="solid"/>
              <a:miter/>
            </a:ln>
          </p:spPr>
          <p:txBody>
            <a:bodyPr rtlCol="0" anchor="ctr"/>
            <a:lstStyle/>
            <a:p>
              <a:endParaRPr lang="hi-IN"/>
            </a:p>
          </p:txBody>
        </p:sp>
        <p:sp>
          <p:nvSpPr>
            <p:cNvPr id="1918" name="Freeform: Shape 917"/>
            <p:cNvSpPr/>
            <p:nvPr/>
          </p:nvSpPr>
          <p:spPr>
            <a:xfrm>
              <a:off x="11328554" y="1237027"/>
              <a:ext cx="134724" cy="134724"/>
            </a:xfrm>
            <a:custGeom>
              <a:avLst/>
              <a:gdLst>
                <a:gd name="connsiteX0" fmla="*/ 134725 w 134724"/>
                <a:gd name="connsiteY0" fmla="*/ 67362 h 134724"/>
                <a:gd name="connsiteX1" fmla="*/ 67363 w 134724"/>
                <a:gd name="connsiteY1" fmla="*/ 134724 h 134724"/>
                <a:gd name="connsiteX2" fmla="*/ 0 w 134724"/>
                <a:gd name="connsiteY2" fmla="*/ 67362 h 134724"/>
                <a:gd name="connsiteX3" fmla="*/ 67363 w 134724"/>
                <a:gd name="connsiteY3" fmla="*/ 0 h 134724"/>
                <a:gd name="connsiteX4" fmla="*/ 134725 w 134724"/>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4" h="134724">
                  <a:moveTo>
                    <a:pt x="134725" y="67362"/>
                  </a:moveTo>
                  <a:cubicBezTo>
                    <a:pt x="134725" y="104583"/>
                    <a:pt x="104583" y="134724"/>
                    <a:pt x="67363" y="134724"/>
                  </a:cubicBezTo>
                  <a:cubicBezTo>
                    <a:pt x="30142" y="134724"/>
                    <a:pt x="0" y="104583"/>
                    <a:pt x="0" y="67362"/>
                  </a:cubicBezTo>
                  <a:cubicBezTo>
                    <a:pt x="0" y="30142"/>
                    <a:pt x="30142" y="0"/>
                    <a:pt x="67363" y="0"/>
                  </a:cubicBezTo>
                  <a:cubicBezTo>
                    <a:pt x="104583" y="76"/>
                    <a:pt x="134725" y="30218"/>
                    <a:pt x="134725" y="67362"/>
                  </a:cubicBezTo>
                </a:path>
              </a:pathLst>
            </a:custGeom>
            <a:grpFill/>
            <a:ln w="7608" cap="flat">
              <a:noFill/>
              <a:prstDash val="solid"/>
              <a:miter/>
            </a:ln>
          </p:spPr>
          <p:txBody>
            <a:bodyPr rtlCol="0" anchor="ctr"/>
            <a:lstStyle/>
            <a:p>
              <a:endParaRPr lang="hi-IN"/>
            </a:p>
          </p:txBody>
        </p:sp>
        <p:sp>
          <p:nvSpPr>
            <p:cNvPr id="1919" name="Freeform: Shape 918"/>
            <p:cNvSpPr/>
            <p:nvPr/>
          </p:nvSpPr>
          <p:spPr>
            <a:xfrm>
              <a:off x="11211413" y="1105957"/>
              <a:ext cx="134723" cy="134724"/>
            </a:xfrm>
            <a:custGeom>
              <a:avLst/>
              <a:gdLst>
                <a:gd name="connsiteX0" fmla="*/ 134724 w 134723"/>
                <a:gd name="connsiteY0" fmla="*/ 67362 h 134724"/>
                <a:gd name="connsiteX1" fmla="*/ 67362 w 134723"/>
                <a:gd name="connsiteY1" fmla="*/ 134724 h 134724"/>
                <a:gd name="connsiteX2" fmla="*/ 0 w 134723"/>
                <a:gd name="connsiteY2" fmla="*/ 67362 h 134724"/>
                <a:gd name="connsiteX3" fmla="*/ 67362 w 134723"/>
                <a:gd name="connsiteY3" fmla="*/ 0 h 134724"/>
                <a:gd name="connsiteX4" fmla="*/ 134724 w 134723"/>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3" h="134724">
                  <a:moveTo>
                    <a:pt x="134724" y="67362"/>
                  </a:moveTo>
                  <a:cubicBezTo>
                    <a:pt x="134724" y="104583"/>
                    <a:pt x="104583" y="134724"/>
                    <a:pt x="67362" y="134724"/>
                  </a:cubicBezTo>
                  <a:cubicBezTo>
                    <a:pt x="30141" y="134724"/>
                    <a:pt x="0" y="104583"/>
                    <a:pt x="0" y="67362"/>
                  </a:cubicBezTo>
                  <a:cubicBezTo>
                    <a:pt x="0" y="30142"/>
                    <a:pt x="30141" y="0"/>
                    <a:pt x="67362" y="0"/>
                  </a:cubicBezTo>
                  <a:cubicBezTo>
                    <a:pt x="104583" y="76"/>
                    <a:pt x="134724" y="30218"/>
                    <a:pt x="134724" y="67362"/>
                  </a:cubicBezTo>
                </a:path>
              </a:pathLst>
            </a:custGeom>
            <a:grpFill/>
            <a:ln w="7608" cap="flat">
              <a:noFill/>
              <a:prstDash val="solid"/>
              <a:miter/>
            </a:ln>
          </p:spPr>
          <p:txBody>
            <a:bodyPr rtlCol="0" anchor="ctr"/>
            <a:lstStyle/>
            <a:p>
              <a:endParaRPr lang="hi-IN"/>
            </a:p>
          </p:txBody>
        </p:sp>
        <p:sp>
          <p:nvSpPr>
            <p:cNvPr id="1920" name="Freeform: Shape 919"/>
            <p:cNvSpPr/>
            <p:nvPr/>
          </p:nvSpPr>
          <p:spPr>
            <a:xfrm>
              <a:off x="11088943" y="978844"/>
              <a:ext cx="135790" cy="135789"/>
            </a:xfrm>
            <a:custGeom>
              <a:avLst/>
              <a:gdLst>
                <a:gd name="connsiteX0" fmla="*/ 135791 w 135790"/>
                <a:gd name="connsiteY0" fmla="*/ 67895 h 135789"/>
                <a:gd name="connsiteX1" fmla="*/ 67895 w 135790"/>
                <a:gd name="connsiteY1" fmla="*/ 135790 h 135789"/>
                <a:gd name="connsiteX2" fmla="*/ 0 w 135790"/>
                <a:gd name="connsiteY2" fmla="*/ 67895 h 135789"/>
                <a:gd name="connsiteX3" fmla="*/ 67895 w 135790"/>
                <a:gd name="connsiteY3" fmla="*/ 0 h 135789"/>
                <a:gd name="connsiteX4" fmla="*/ 135791 w 135790"/>
                <a:gd name="connsiteY4" fmla="*/ 67895 h 135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790" h="135789">
                  <a:moveTo>
                    <a:pt x="135791" y="67895"/>
                  </a:moveTo>
                  <a:cubicBezTo>
                    <a:pt x="135791" y="105420"/>
                    <a:pt x="105420" y="135790"/>
                    <a:pt x="67895" y="135790"/>
                  </a:cubicBezTo>
                  <a:cubicBezTo>
                    <a:pt x="30370" y="135790"/>
                    <a:pt x="0" y="105420"/>
                    <a:pt x="0" y="67895"/>
                  </a:cubicBezTo>
                  <a:cubicBezTo>
                    <a:pt x="0" y="30370"/>
                    <a:pt x="30370" y="0"/>
                    <a:pt x="67895" y="0"/>
                  </a:cubicBezTo>
                  <a:cubicBezTo>
                    <a:pt x="105420" y="76"/>
                    <a:pt x="135791" y="30446"/>
                    <a:pt x="135791" y="67895"/>
                  </a:cubicBezTo>
                </a:path>
              </a:pathLst>
            </a:custGeom>
            <a:grpFill/>
            <a:ln w="7608" cap="flat">
              <a:noFill/>
              <a:prstDash val="solid"/>
              <a:miter/>
            </a:ln>
          </p:spPr>
          <p:txBody>
            <a:bodyPr rtlCol="0" anchor="ctr"/>
            <a:lstStyle/>
            <a:p>
              <a:endParaRPr lang="hi-IN"/>
            </a:p>
          </p:txBody>
        </p:sp>
        <p:sp>
          <p:nvSpPr>
            <p:cNvPr id="1921" name="Freeform: Shape 920"/>
            <p:cNvSpPr/>
            <p:nvPr/>
          </p:nvSpPr>
          <p:spPr>
            <a:xfrm>
              <a:off x="10962896" y="857440"/>
              <a:ext cx="134723" cy="134724"/>
            </a:xfrm>
            <a:custGeom>
              <a:avLst/>
              <a:gdLst>
                <a:gd name="connsiteX0" fmla="*/ 134724 w 134723"/>
                <a:gd name="connsiteY0" fmla="*/ 67362 h 134724"/>
                <a:gd name="connsiteX1" fmla="*/ 67362 w 134723"/>
                <a:gd name="connsiteY1" fmla="*/ 134724 h 134724"/>
                <a:gd name="connsiteX2" fmla="*/ 0 w 134723"/>
                <a:gd name="connsiteY2" fmla="*/ 67362 h 134724"/>
                <a:gd name="connsiteX3" fmla="*/ 67362 w 134723"/>
                <a:gd name="connsiteY3" fmla="*/ 0 h 134724"/>
                <a:gd name="connsiteX4" fmla="*/ 134724 w 134723"/>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3" h="134724">
                  <a:moveTo>
                    <a:pt x="134724" y="67362"/>
                  </a:moveTo>
                  <a:cubicBezTo>
                    <a:pt x="134724" y="104583"/>
                    <a:pt x="104583" y="134724"/>
                    <a:pt x="67362" y="134724"/>
                  </a:cubicBezTo>
                  <a:cubicBezTo>
                    <a:pt x="30141" y="134724"/>
                    <a:pt x="0" y="104583"/>
                    <a:pt x="0" y="67362"/>
                  </a:cubicBezTo>
                  <a:cubicBezTo>
                    <a:pt x="0" y="30218"/>
                    <a:pt x="30141" y="0"/>
                    <a:pt x="67362" y="0"/>
                  </a:cubicBezTo>
                  <a:cubicBezTo>
                    <a:pt x="104583" y="76"/>
                    <a:pt x="134724" y="30218"/>
                    <a:pt x="134724" y="67362"/>
                  </a:cubicBezTo>
                </a:path>
              </a:pathLst>
            </a:custGeom>
            <a:grpFill/>
            <a:ln w="7608" cap="flat">
              <a:noFill/>
              <a:prstDash val="solid"/>
              <a:miter/>
            </a:ln>
          </p:spPr>
          <p:txBody>
            <a:bodyPr rtlCol="0" anchor="ctr"/>
            <a:lstStyle/>
            <a:p>
              <a:endParaRPr lang="hi-IN"/>
            </a:p>
          </p:txBody>
        </p:sp>
        <p:sp>
          <p:nvSpPr>
            <p:cNvPr id="1922" name="Freeform: Shape 921"/>
            <p:cNvSpPr/>
            <p:nvPr/>
          </p:nvSpPr>
          <p:spPr>
            <a:xfrm>
              <a:off x="10831825" y="740374"/>
              <a:ext cx="134724" cy="134724"/>
            </a:xfrm>
            <a:custGeom>
              <a:avLst/>
              <a:gdLst>
                <a:gd name="connsiteX0" fmla="*/ 134725 w 134724"/>
                <a:gd name="connsiteY0" fmla="*/ 67362 h 134724"/>
                <a:gd name="connsiteX1" fmla="*/ 67363 w 134724"/>
                <a:gd name="connsiteY1" fmla="*/ 134724 h 134724"/>
                <a:gd name="connsiteX2" fmla="*/ 0 w 134724"/>
                <a:gd name="connsiteY2" fmla="*/ 67362 h 134724"/>
                <a:gd name="connsiteX3" fmla="*/ 67363 w 134724"/>
                <a:gd name="connsiteY3" fmla="*/ 0 h 134724"/>
                <a:gd name="connsiteX4" fmla="*/ 134725 w 134724"/>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4" h="134724">
                  <a:moveTo>
                    <a:pt x="134725" y="67362"/>
                  </a:moveTo>
                  <a:cubicBezTo>
                    <a:pt x="134725" y="104583"/>
                    <a:pt x="104583" y="134724"/>
                    <a:pt x="67363" y="134724"/>
                  </a:cubicBezTo>
                  <a:cubicBezTo>
                    <a:pt x="30142" y="134724"/>
                    <a:pt x="0" y="104583"/>
                    <a:pt x="0" y="67362"/>
                  </a:cubicBezTo>
                  <a:cubicBezTo>
                    <a:pt x="0" y="30142"/>
                    <a:pt x="30142" y="0"/>
                    <a:pt x="67363" y="0"/>
                  </a:cubicBezTo>
                  <a:cubicBezTo>
                    <a:pt x="104583" y="0"/>
                    <a:pt x="134725" y="30142"/>
                    <a:pt x="134725" y="67362"/>
                  </a:cubicBezTo>
                </a:path>
              </a:pathLst>
            </a:custGeom>
            <a:grpFill/>
            <a:ln w="7608" cap="flat">
              <a:noFill/>
              <a:prstDash val="solid"/>
              <a:miter/>
            </a:ln>
          </p:spPr>
          <p:txBody>
            <a:bodyPr rtlCol="0" anchor="ctr"/>
            <a:lstStyle/>
            <a:p>
              <a:endParaRPr lang="hi-IN"/>
            </a:p>
          </p:txBody>
        </p:sp>
        <p:sp>
          <p:nvSpPr>
            <p:cNvPr id="1923" name="Freeform: Shape 922"/>
            <p:cNvSpPr/>
            <p:nvPr/>
          </p:nvSpPr>
          <p:spPr>
            <a:xfrm>
              <a:off x="10697101" y="628713"/>
              <a:ext cx="133582" cy="133658"/>
            </a:xfrm>
            <a:custGeom>
              <a:avLst/>
              <a:gdLst>
                <a:gd name="connsiteX0" fmla="*/ 133583 w 133582"/>
                <a:gd name="connsiteY0" fmla="*/ 66829 h 133658"/>
                <a:gd name="connsiteX1" fmla="*/ 66753 w 133582"/>
                <a:gd name="connsiteY1" fmla="*/ 133659 h 133658"/>
                <a:gd name="connsiteX2" fmla="*/ 0 w 133582"/>
                <a:gd name="connsiteY2" fmla="*/ 66829 h 133658"/>
                <a:gd name="connsiteX3" fmla="*/ 66753 w 133582"/>
                <a:gd name="connsiteY3" fmla="*/ 0 h 133658"/>
                <a:gd name="connsiteX4" fmla="*/ 133583 w 133582"/>
                <a:gd name="connsiteY4" fmla="*/ 66829 h 133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582" h="133658">
                  <a:moveTo>
                    <a:pt x="133583" y="66829"/>
                  </a:moveTo>
                  <a:cubicBezTo>
                    <a:pt x="133583" y="103745"/>
                    <a:pt x="103669" y="133659"/>
                    <a:pt x="66753" y="133659"/>
                  </a:cubicBezTo>
                  <a:cubicBezTo>
                    <a:pt x="29838" y="133659"/>
                    <a:pt x="0" y="103745"/>
                    <a:pt x="0" y="66829"/>
                  </a:cubicBezTo>
                  <a:cubicBezTo>
                    <a:pt x="0" y="29913"/>
                    <a:pt x="29914" y="0"/>
                    <a:pt x="66753" y="0"/>
                  </a:cubicBezTo>
                  <a:cubicBezTo>
                    <a:pt x="103593" y="0"/>
                    <a:pt x="133583" y="29989"/>
                    <a:pt x="133583" y="66829"/>
                  </a:cubicBezTo>
                </a:path>
              </a:pathLst>
            </a:custGeom>
            <a:grpFill/>
            <a:ln w="7608" cap="flat">
              <a:noFill/>
              <a:prstDash val="solid"/>
              <a:miter/>
            </a:ln>
          </p:spPr>
          <p:txBody>
            <a:bodyPr rtlCol="0" anchor="ctr"/>
            <a:lstStyle/>
            <a:p>
              <a:endParaRPr lang="hi-IN"/>
            </a:p>
          </p:txBody>
        </p:sp>
        <p:sp>
          <p:nvSpPr>
            <p:cNvPr id="1924" name="Freeform: Shape 923"/>
            <p:cNvSpPr/>
            <p:nvPr/>
          </p:nvSpPr>
          <p:spPr>
            <a:xfrm>
              <a:off x="10558190" y="522380"/>
              <a:ext cx="132441" cy="132441"/>
            </a:xfrm>
            <a:custGeom>
              <a:avLst/>
              <a:gdLst>
                <a:gd name="connsiteX0" fmla="*/ 132441 w 132441"/>
                <a:gd name="connsiteY0" fmla="*/ 66221 h 132441"/>
                <a:gd name="connsiteX1" fmla="*/ 66220 w 132441"/>
                <a:gd name="connsiteY1" fmla="*/ 132441 h 132441"/>
                <a:gd name="connsiteX2" fmla="*/ 0 w 132441"/>
                <a:gd name="connsiteY2" fmla="*/ 66221 h 132441"/>
                <a:gd name="connsiteX3" fmla="*/ 66220 w 132441"/>
                <a:gd name="connsiteY3" fmla="*/ 0 h 132441"/>
                <a:gd name="connsiteX4" fmla="*/ 132441 w 132441"/>
                <a:gd name="connsiteY4" fmla="*/ 66221 h 132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41" h="132441">
                  <a:moveTo>
                    <a:pt x="132441" y="66221"/>
                  </a:moveTo>
                  <a:cubicBezTo>
                    <a:pt x="132441" y="102832"/>
                    <a:pt x="102756" y="132441"/>
                    <a:pt x="66220" y="132441"/>
                  </a:cubicBezTo>
                  <a:cubicBezTo>
                    <a:pt x="29609" y="132441"/>
                    <a:pt x="0" y="102756"/>
                    <a:pt x="0" y="66221"/>
                  </a:cubicBezTo>
                  <a:cubicBezTo>
                    <a:pt x="0" y="29609"/>
                    <a:pt x="29685" y="0"/>
                    <a:pt x="66220" y="0"/>
                  </a:cubicBezTo>
                  <a:cubicBezTo>
                    <a:pt x="102832" y="-76"/>
                    <a:pt x="132441" y="29609"/>
                    <a:pt x="132441" y="66221"/>
                  </a:cubicBezTo>
                </a:path>
              </a:pathLst>
            </a:custGeom>
            <a:grpFill/>
            <a:ln w="7608" cap="flat">
              <a:noFill/>
              <a:prstDash val="solid"/>
              <a:miter/>
            </a:ln>
          </p:spPr>
          <p:txBody>
            <a:bodyPr rtlCol="0" anchor="ctr"/>
            <a:lstStyle/>
            <a:p>
              <a:endParaRPr lang="hi-IN"/>
            </a:p>
          </p:txBody>
        </p:sp>
        <p:sp>
          <p:nvSpPr>
            <p:cNvPr id="1925" name="Freeform: Shape 924"/>
            <p:cNvSpPr/>
            <p:nvPr/>
          </p:nvSpPr>
          <p:spPr>
            <a:xfrm>
              <a:off x="10415931" y="421679"/>
              <a:ext cx="130309" cy="130309"/>
            </a:xfrm>
            <a:custGeom>
              <a:avLst/>
              <a:gdLst>
                <a:gd name="connsiteX0" fmla="*/ 130310 w 130309"/>
                <a:gd name="connsiteY0" fmla="*/ 65155 h 130309"/>
                <a:gd name="connsiteX1" fmla="*/ 65154 w 130309"/>
                <a:gd name="connsiteY1" fmla="*/ 130310 h 130309"/>
                <a:gd name="connsiteX2" fmla="*/ 0 w 130309"/>
                <a:gd name="connsiteY2" fmla="*/ 65155 h 130309"/>
                <a:gd name="connsiteX3" fmla="*/ 65154 w 130309"/>
                <a:gd name="connsiteY3" fmla="*/ 0 h 130309"/>
                <a:gd name="connsiteX4" fmla="*/ 130310 w 130309"/>
                <a:gd name="connsiteY4" fmla="*/ 65155 h 13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9" h="130309">
                  <a:moveTo>
                    <a:pt x="130310" y="65155"/>
                  </a:moveTo>
                  <a:cubicBezTo>
                    <a:pt x="130310" y="101157"/>
                    <a:pt x="101157" y="130310"/>
                    <a:pt x="65154" y="130310"/>
                  </a:cubicBezTo>
                  <a:cubicBezTo>
                    <a:pt x="29152" y="130310"/>
                    <a:pt x="0" y="101157"/>
                    <a:pt x="0" y="65155"/>
                  </a:cubicBezTo>
                  <a:cubicBezTo>
                    <a:pt x="0" y="29152"/>
                    <a:pt x="29152" y="0"/>
                    <a:pt x="65154" y="0"/>
                  </a:cubicBezTo>
                  <a:cubicBezTo>
                    <a:pt x="101157" y="0"/>
                    <a:pt x="130310" y="29152"/>
                    <a:pt x="130310" y="65155"/>
                  </a:cubicBezTo>
                </a:path>
              </a:pathLst>
            </a:custGeom>
            <a:grpFill/>
            <a:ln w="7608" cap="flat">
              <a:noFill/>
              <a:prstDash val="solid"/>
              <a:miter/>
            </a:ln>
          </p:spPr>
          <p:txBody>
            <a:bodyPr rtlCol="0" anchor="ctr"/>
            <a:lstStyle/>
            <a:p>
              <a:endParaRPr lang="hi-IN"/>
            </a:p>
          </p:txBody>
        </p:sp>
        <p:sp>
          <p:nvSpPr>
            <p:cNvPr id="1926" name="Freeform: Shape 925"/>
            <p:cNvSpPr/>
            <p:nvPr/>
          </p:nvSpPr>
          <p:spPr>
            <a:xfrm>
              <a:off x="10269409" y="325926"/>
              <a:ext cx="129243" cy="129243"/>
            </a:xfrm>
            <a:custGeom>
              <a:avLst/>
              <a:gdLst>
                <a:gd name="connsiteX0" fmla="*/ 129244 w 129243"/>
                <a:gd name="connsiteY0" fmla="*/ 64622 h 129243"/>
                <a:gd name="connsiteX1" fmla="*/ 64622 w 129243"/>
                <a:gd name="connsiteY1" fmla="*/ 129244 h 129243"/>
                <a:gd name="connsiteX2" fmla="*/ 0 w 129243"/>
                <a:gd name="connsiteY2" fmla="*/ 64622 h 129243"/>
                <a:gd name="connsiteX3" fmla="*/ 64622 w 129243"/>
                <a:gd name="connsiteY3" fmla="*/ 0 h 129243"/>
                <a:gd name="connsiteX4" fmla="*/ 129244 w 129243"/>
                <a:gd name="connsiteY4" fmla="*/ 64622 h 129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43" h="129243">
                  <a:moveTo>
                    <a:pt x="129244" y="64622"/>
                  </a:moveTo>
                  <a:cubicBezTo>
                    <a:pt x="129244" y="100320"/>
                    <a:pt x="100320" y="129244"/>
                    <a:pt x="64622" y="129244"/>
                  </a:cubicBezTo>
                  <a:cubicBezTo>
                    <a:pt x="28923" y="129244"/>
                    <a:pt x="0" y="100320"/>
                    <a:pt x="0" y="64622"/>
                  </a:cubicBezTo>
                  <a:cubicBezTo>
                    <a:pt x="0" y="28924"/>
                    <a:pt x="28923" y="0"/>
                    <a:pt x="64622" y="0"/>
                  </a:cubicBezTo>
                  <a:cubicBezTo>
                    <a:pt x="100320" y="0"/>
                    <a:pt x="129244" y="28924"/>
                    <a:pt x="129244" y="64622"/>
                  </a:cubicBezTo>
                </a:path>
              </a:pathLst>
            </a:custGeom>
            <a:grpFill/>
            <a:ln w="7608" cap="flat">
              <a:noFill/>
              <a:prstDash val="solid"/>
              <a:miter/>
            </a:ln>
          </p:spPr>
          <p:txBody>
            <a:bodyPr rtlCol="0" anchor="ctr"/>
            <a:lstStyle/>
            <a:p>
              <a:endParaRPr lang="hi-IN"/>
            </a:p>
          </p:txBody>
        </p:sp>
        <p:sp>
          <p:nvSpPr>
            <p:cNvPr id="1927" name="Freeform: Shape 926"/>
            <p:cNvSpPr/>
            <p:nvPr/>
          </p:nvSpPr>
          <p:spPr>
            <a:xfrm>
              <a:off x="10119918" y="236338"/>
              <a:ext cx="127112" cy="127112"/>
            </a:xfrm>
            <a:custGeom>
              <a:avLst/>
              <a:gdLst>
                <a:gd name="connsiteX0" fmla="*/ 127112 w 127112"/>
                <a:gd name="connsiteY0" fmla="*/ 63556 h 127112"/>
                <a:gd name="connsiteX1" fmla="*/ 63556 w 127112"/>
                <a:gd name="connsiteY1" fmla="*/ 127113 h 127112"/>
                <a:gd name="connsiteX2" fmla="*/ 0 w 127112"/>
                <a:gd name="connsiteY2" fmla="*/ 63556 h 127112"/>
                <a:gd name="connsiteX3" fmla="*/ 63556 w 127112"/>
                <a:gd name="connsiteY3" fmla="*/ 0 h 127112"/>
                <a:gd name="connsiteX4" fmla="*/ 127112 w 127112"/>
                <a:gd name="connsiteY4" fmla="*/ 63556 h 12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12" h="127112">
                  <a:moveTo>
                    <a:pt x="127112" y="63556"/>
                  </a:moveTo>
                  <a:cubicBezTo>
                    <a:pt x="127112" y="98646"/>
                    <a:pt x="98645" y="127113"/>
                    <a:pt x="63556" y="127113"/>
                  </a:cubicBezTo>
                  <a:cubicBezTo>
                    <a:pt x="28467" y="127113"/>
                    <a:pt x="0" y="98646"/>
                    <a:pt x="0" y="63556"/>
                  </a:cubicBezTo>
                  <a:cubicBezTo>
                    <a:pt x="0" y="28467"/>
                    <a:pt x="28467" y="0"/>
                    <a:pt x="63556" y="0"/>
                  </a:cubicBezTo>
                  <a:cubicBezTo>
                    <a:pt x="98645" y="0"/>
                    <a:pt x="127112" y="28467"/>
                    <a:pt x="127112" y="63556"/>
                  </a:cubicBezTo>
                </a:path>
              </a:pathLst>
            </a:custGeom>
            <a:grpFill/>
            <a:ln w="7608" cap="flat">
              <a:noFill/>
              <a:prstDash val="solid"/>
              <a:miter/>
            </a:ln>
          </p:spPr>
          <p:txBody>
            <a:bodyPr rtlCol="0" anchor="ctr"/>
            <a:lstStyle/>
            <a:p>
              <a:endParaRPr lang="hi-IN"/>
            </a:p>
          </p:txBody>
        </p:sp>
        <p:sp>
          <p:nvSpPr>
            <p:cNvPr id="1928" name="Freeform: Shape 927"/>
            <p:cNvSpPr/>
            <p:nvPr/>
          </p:nvSpPr>
          <p:spPr>
            <a:xfrm>
              <a:off x="9967763" y="152991"/>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76"/>
                    <a:pt x="123764" y="27630"/>
                    <a:pt x="123764" y="61882"/>
                  </a:cubicBezTo>
                </a:path>
              </a:pathLst>
            </a:custGeom>
            <a:grpFill/>
            <a:ln w="7608" cap="flat">
              <a:noFill/>
              <a:prstDash val="solid"/>
              <a:miter/>
            </a:ln>
          </p:spPr>
          <p:txBody>
            <a:bodyPr rtlCol="0" anchor="ctr"/>
            <a:lstStyle/>
            <a:p>
              <a:endParaRPr lang="hi-IN"/>
            </a:p>
          </p:txBody>
        </p:sp>
        <p:sp>
          <p:nvSpPr>
            <p:cNvPr id="1929" name="Freeform: Shape 928"/>
            <p:cNvSpPr/>
            <p:nvPr/>
          </p:nvSpPr>
          <p:spPr>
            <a:xfrm>
              <a:off x="9812411" y="75354"/>
              <a:ext cx="120566" cy="120566"/>
            </a:xfrm>
            <a:custGeom>
              <a:avLst/>
              <a:gdLst>
                <a:gd name="connsiteX0" fmla="*/ 120567 w 120566"/>
                <a:gd name="connsiteY0" fmla="*/ 60283 h 120566"/>
                <a:gd name="connsiteX1" fmla="*/ 60284 w 120566"/>
                <a:gd name="connsiteY1" fmla="*/ 120567 h 120566"/>
                <a:gd name="connsiteX2" fmla="*/ 0 w 120566"/>
                <a:gd name="connsiteY2" fmla="*/ 60283 h 120566"/>
                <a:gd name="connsiteX3" fmla="*/ 60284 w 120566"/>
                <a:gd name="connsiteY3" fmla="*/ 0 h 120566"/>
                <a:gd name="connsiteX4" fmla="*/ 120567 w 120566"/>
                <a:gd name="connsiteY4" fmla="*/ 60283 h 120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6" h="120566">
                  <a:moveTo>
                    <a:pt x="120567" y="60283"/>
                  </a:moveTo>
                  <a:cubicBezTo>
                    <a:pt x="120567" y="93546"/>
                    <a:pt x="93546" y="120567"/>
                    <a:pt x="60284" y="120567"/>
                  </a:cubicBezTo>
                  <a:cubicBezTo>
                    <a:pt x="27021" y="120567"/>
                    <a:pt x="0" y="93622"/>
                    <a:pt x="0" y="60283"/>
                  </a:cubicBezTo>
                  <a:cubicBezTo>
                    <a:pt x="0" y="27021"/>
                    <a:pt x="26945" y="0"/>
                    <a:pt x="60284" y="0"/>
                  </a:cubicBezTo>
                  <a:cubicBezTo>
                    <a:pt x="93622" y="0"/>
                    <a:pt x="120567" y="27021"/>
                    <a:pt x="120567" y="60283"/>
                  </a:cubicBezTo>
                </a:path>
              </a:pathLst>
            </a:custGeom>
            <a:grpFill/>
            <a:ln w="7608" cap="flat">
              <a:noFill/>
              <a:prstDash val="solid"/>
              <a:miter/>
            </a:ln>
          </p:spPr>
          <p:txBody>
            <a:bodyPr rtlCol="0" anchor="ctr"/>
            <a:lstStyle/>
            <a:p>
              <a:endParaRPr lang="hi-IN"/>
            </a:p>
          </p:txBody>
        </p:sp>
        <p:sp>
          <p:nvSpPr>
            <p:cNvPr id="1930" name="Freeform: Shape 929"/>
            <p:cNvSpPr/>
            <p:nvPr/>
          </p:nvSpPr>
          <p:spPr>
            <a:xfrm>
              <a:off x="9654319" y="9514"/>
              <a:ext cx="117294" cy="111509"/>
            </a:xfrm>
            <a:custGeom>
              <a:avLst/>
              <a:gdLst>
                <a:gd name="connsiteX0" fmla="*/ 83727 w 117294"/>
                <a:gd name="connsiteY0" fmla="*/ 0 h 111509"/>
                <a:gd name="connsiteX1" fmla="*/ 117294 w 117294"/>
                <a:gd name="connsiteY1" fmla="*/ 52824 h 111509"/>
                <a:gd name="connsiteX2" fmla="*/ 58609 w 117294"/>
                <a:gd name="connsiteY2" fmla="*/ 111509 h 111509"/>
                <a:gd name="connsiteX3" fmla="*/ 0 w 117294"/>
                <a:gd name="connsiteY3" fmla="*/ 52824 h 111509"/>
                <a:gd name="connsiteX4" fmla="*/ 33567 w 117294"/>
                <a:gd name="connsiteY4" fmla="*/ 0 h 111509"/>
                <a:gd name="connsiteX5" fmla="*/ 83727 w 117294"/>
                <a:gd name="connsiteY5" fmla="*/ 0 h 11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294" h="111509">
                  <a:moveTo>
                    <a:pt x="83727" y="0"/>
                  </a:moveTo>
                  <a:cubicBezTo>
                    <a:pt x="103517" y="9438"/>
                    <a:pt x="117294" y="29457"/>
                    <a:pt x="117294" y="52824"/>
                  </a:cubicBezTo>
                  <a:cubicBezTo>
                    <a:pt x="117294" y="85249"/>
                    <a:pt x="91034" y="111509"/>
                    <a:pt x="58609" y="111509"/>
                  </a:cubicBezTo>
                  <a:cubicBezTo>
                    <a:pt x="26184" y="111509"/>
                    <a:pt x="0" y="85249"/>
                    <a:pt x="0" y="52824"/>
                  </a:cubicBezTo>
                  <a:cubicBezTo>
                    <a:pt x="0" y="29457"/>
                    <a:pt x="13777" y="9438"/>
                    <a:pt x="33567" y="0"/>
                  </a:cubicBezTo>
                  <a:lnTo>
                    <a:pt x="83727" y="0"/>
                  </a:lnTo>
                  <a:close/>
                </a:path>
              </a:pathLst>
            </a:custGeom>
            <a:grpFill/>
            <a:ln w="7608" cap="flat">
              <a:noFill/>
              <a:prstDash val="solid"/>
              <a:miter/>
            </a:ln>
          </p:spPr>
          <p:txBody>
            <a:bodyPr rtlCol="0" anchor="ctr"/>
            <a:lstStyle/>
            <a:p>
              <a:endParaRPr lang="hi-IN"/>
            </a:p>
          </p:txBody>
        </p:sp>
        <p:sp>
          <p:nvSpPr>
            <p:cNvPr id="1931" name="Freeform: Shape 930"/>
            <p:cNvSpPr/>
            <p:nvPr/>
          </p:nvSpPr>
          <p:spPr>
            <a:xfrm>
              <a:off x="9495619" y="9514"/>
              <a:ext cx="109910" cy="42624"/>
            </a:xfrm>
            <a:custGeom>
              <a:avLst/>
              <a:gdLst>
                <a:gd name="connsiteX0" fmla="*/ 109910 w 109910"/>
                <a:gd name="connsiteY0" fmla="*/ 0 h 42624"/>
                <a:gd name="connsiteX1" fmla="*/ 54955 w 109910"/>
                <a:gd name="connsiteY1" fmla="*/ 42625 h 42624"/>
                <a:gd name="connsiteX2" fmla="*/ 0 w 109910"/>
                <a:gd name="connsiteY2" fmla="*/ 0 h 42624"/>
                <a:gd name="connsiteX3" fmla="*/ 109910 w 109910"/>
                <a:gd name="connsiteY3" fmla="*/ 0 h 42624"/>
              </a:gdLst>
              <a:ahLst/>
              <a:cxnLst>
                <a:cxn ang="0">
                  <a:pos x="connsiteX0" y="connsiteY0"/>
                </a:cxn>
                <a:cxn ang="0">
                  <a:pos x="connsiteX1" y="connsiteY1"/>
                </a:cxn>
                <a:cxn ang="0">
                  <a:pos x="connsiteX2" y="connsiteY2"/>
                </a:cxn>
                <a:cxn ang="0">
                  <a:pos x="connsiteX3" y="connsiteY3"/>
                </a:cxn>
              </a:cxnLst>
              <a:rect l="l" t="t" r="r" b="b"/>
              <a:pathLst>
                <a:path w="109910" h="42624">
                  <a:moveTo>
                    <a:pt x="109910" y="0"/>
                  </a:moveTo>
                  <a:cubicBezTo>
                    <a:pt x="103517" y="24433"/>
                    <a:pt x="81443" y="42625"/>
                    <a:pt x="54955" y="42625"/>
                  </a:cubicBezTo>
                  <a:cubicBezTo>
                    <a:pt x="28467" y="42625"/>
                    <a:pt x="6470" y="24509"/>
                    <a:pt x="0" y="0"/>
                  </a:cubicBezTo>
                  <a:lnTo>
                    <a:pt x="109910" y="0"/>
                  </a:lnTo>
                  <a:close/>
                </a:path>
              </a:pathLst>
            </a:custGeom>
            <a:grpFill/>
            <a:ln w="7608" cap="flat">
              <a:noFill/>
              <a:prstDash val="solid"/>
              <a:miter/>
            </a:ln>
          </p:spPr>
          <p:txBody>
            <a:bodyPr rtlCol="0" anchor="ctr"/>
            <a:lstStyle/>
            <a:p>
              <a:endParaRPr lang="hi-IN"/>
            </a:p>
          </p:txBody>
        </p:sp>
        <p:sp>
          <p:nvSpPr>
            <p:cNvPr id="1932" name="Freeform: Shape 931"/>
            <p:cNvSpPr/>
            <p:nvPr/>
          </p:nvSpPr>
          <p:spPr>
            <a:xfrm>
              <a:off x="5943692" y="52062"/>
              <a:ext cx="20703" cy="20627"/>
            </a:xfrm>
            <a:custGeom>
              <a:avLst/>
              <a:gdLst>
                <a:gd name="connsiteX0" fmla="*/ 20704 w 20703"/>
                <a:gd name="connsiteY0" fmla="*/ 10276 h 20627"/>
                <a:gd name="connsiteX1" fmla="*/ 10352 w 20703"/>
                <a:gd name="connsiteY1" fmla="*/ 20627 h 20627"/>
                <a:gd name="connsiteX2" fmla="*/ 0 w 20703"/>
                <a:gd name="connsiteY2" fmla="*/ 10276 h 20627"/>
                <a:gd name="connsiteX3" fmla="*/ 10352 w 20703"/>
                <a:gd name="connsiteY3" fmla="*/ 0 h 20627"/>
                <a:gd name="connsiteX4" fmla="*/ 20704 w 20703"/>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627">
                  <a:moveTo>
                    <a:pt x="20704" y="10276"/>
                  </a:moveTo>
                  <a:cubicBezTo>
                    <a:pt x="20704" y="15984"/>
                    <a:pt x="16060" y="20627"/>
                    <a:pt x="10352" y="20627"/>
                  </a:cubicBezTo>
                  <a:cubicBezTo>
                    <a:pt x="4643" y="20627"/>
                    <a:pt x="0" y="15984"/>
                    <a:pt x="0" y="10276"/>
                  </a:cubicBezTo>
                  <a:cubicBezTo>
                    <a:pt x="0" y="4567"/>
                    <a:pt x="4643" y="0"/>
                    <a:pt x="10352" y="0"/>
                  </a:cubicBezTo>
                  <a:cubicBezTo>
                    <a:pt x="16060" y="0"/>
                    <a:pt x="20704" y="4567"/>
                    <a:pt x="20704" y="10276"/>
                  </a:cubicBezTo>
                </a:path>
              </a:pathLst>
            </a:custGeom>
            <a:grpFill/>
            <a:ln w="7608" cap="flat">
              <a:noFill/>
              <a:prstDash val="solid"/>
              <a:miter/>
            </a:ln>
          </p:spPr>
          <p:txBody>
            <a:bodyPr rtlCol="0" anchor="ctr"/>
            <a:lstStyle/>
            <a:p>
              <a:endParaRPr lang="hi-IN"/>
            </a:p>
          </p:txBody>
        </p:sp>
        <p:sp>
          <p:nvSpPr>
            <p:cNvPr id="1933" name="Freeform: Shape 932"/>
            <p:cNvSpPr/>
            <p:nvPr/>
          </p:nvSpPr>
          <p:spPr>
            <a:xfrm>
              <a:off x="5785677" y="126960"/>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934" name="Freeform: Shape 933"/>
            <p:cNvSpPr/>
            <p:nvPr/>
          </p:nvSpPr>
          <p:spPr>
            <a:xfrm>
              <a:off x="5630325" y="207795"/>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7"/>
                    <a:pt x="7079" y="14157"/>
                  </a:cubicBezTo>
                  <a:cubicBezTo>
                    <a:pt x="3197" y="14157"/>
                    <a:pt x="0" y="11037"/>
                    <a:pt x="0" y="7079"/>
                  </a:cubicBezTo>
                  <a:cubicBezTo>
                    <a:pt x="0" y="3197"/>
                    <a:pt x="3121" y="0"/>
                    <a:pt x="7079" y="0"/>
                  </a:cubicBezTo>
                  <a:cubicBezTo>
                    <a:pt x="10961" y="0"/>
                    <a:pt x="14157" y="3121"/>
                    <a:pt x="14157" y="7079"/>
                  </a:cubicBezTo>
                </a:path>
              </a:pathLst>
            </a:custGeom>
            <a:grpFill/>
            <a:ln w="7608" cap="flat">
              <a:noFill/>
              <a:prstDash val="solid"/>
              <a:miter/>
            </a:ln>
          </p:spPr>
          <p:txBody>
            <a:bodyPr rtlCol="0" anchor="ctr"/>
            <a:lstStyle/>
            <a:p>
              <a:endParaRPr lang="hi-IN"/>
            </a:p>
          </p:txBody>
        </p:sp>
        <p:sp>
          <p:nvSpPr>
            <p:cNvPr id="1935" name="Freeform: Shape 934"/>
            <p:cNvSpPr/>
            <p:nvPr/>
          </p:nvSpPr>
          <p:spPr>
            <a:xfrm>
              <a:off x="12118861" y="2061205"/>
              <a:ext cx="66372" cy="133506"/>
            </a:xfrm>
            <a:custGeom>
              <a:avLst/>
              <a:gdLst>
                <a:gd name="connsiteX0" fmla="*/ 66372 w 66372"/>
                <a:gd name="connsiteY0" fmla="*/ 133507 h 133506"/>
                <a:gd name="connsiteX1" fmla="*/ 0 w 66372"/>
                <a:gd name="connsiteY1" fmla="*/ 66753 h 133506"/>
                <a:gd name="connsiteX2" fmla="*/ 66372 w 66372"/>
                <a:gd name="connsiteY2" fmla="*/ 0 h 133506"/>
                <a:gd name="connsiteX3" fmla="*/ 66372 w 66372"/>
                <a:gd name="connsiteY3" fmla="*/ 133507 h 133506"/>
              </a:gdLst>
              <a:ahLst/>
              <a:cxnLst>
                <a:cxn ang="0">
                  <a:pos x="connsiteX0" y="connsiteY0"/>
                </a:cxn>
                <a:cxn ang="0">
                  <a:pos x="connsiteX1" y="connsiteY1"/>
                </a:cxn>
                <a:cxn ang="0">
                  <a:pos x="connsiteX2" y="connsiteY2"/>
                </a:cxn>
                <a:cxn ang="0">
                  <a:pos x="connsiteX3" y="connsiteY3"/>
                </a:cxn>
              </a:cxnLst>
              <a:rect l="l" t="t" r="r" b="b"/>
              <a:pathLst>
                <a:path w="66372" h="133506">
                  <a:moveTo>
                    <a:pt x="66372" y="133507"/>
                  </a:moveTo>
                  <a:cubicBezTo>
                    <a:pt x="29685" y="133278"/>
                    <a:pt x="0" y="103517"/>
                    <a:pt x="0" y="66753"/>
                  </a:cubicBezTo>
                  <a:cubicBezTo>
                    <a:pt x="0" y="29989"/>
                    <a:pt x="29685" y="228"/>
                    <a:pt x="66372" y="0"/>
                  </a:cubicBezTo>
                  <a:lnTo>
                    <a:pt x="66372" y="133507"/>
                  </a:lnTo>
                  <a:close/>
                </a:path>
              </a:pathLst>
            </a:custGeom>
            <a:grpFill/>
            <a:ln w="7608" cap="flat">
              <a:noFill/>
              <a:prstDash val="solid"/>
              <a:miter/>
            </a:ln>
          </p:spPr>
          <p:txBody>
            <a:bodyPr rtlCol="0" anchor="ctr"/>
            <a:lstStyle/>
            <a:p>
              <a:endParaRPr lang="hi-IN"/>
            </a:p>
          </p:txBody>
        </p:sp>
        <p:sp>
          <p:nvSpPr>
            <p:cNvPr id="1936" name="Freeform: Shape 935"/>
            <p:cNvSpPr/>
            <p:nvPr/>
          </p:nvSpPr>
          <p:spPr>
            <a:xfrm>
              <a:off x="12034448" y="1905245"/>
              <a:ext cx="135790" cy="135789"/>
            </a:xfrm>
            <a:custGeom>
              <a:avLst/>
              <a:gdLst>
                <a:gd name="connsiteX0" fmla="*/ 135791 w 135790"/>
                <a:gd name="connsiteY0" fmla="*/ 67895 h 135789"/>
                <a:gd name="connsiteX1" fmla="*/ 67895 w 135790"/>
                <a:gd name="connsiteY1" fmla="*/ 135790 h 135789"/>
                <a:gd name="connsiteX2" fmla="*/ 0 w 135790"/>
                <a:gd name="connsiteY2" fmla="*/ 67895 h 135789"/>
                <a:gd name="connsiteX3" fmla="*/ 67895 w 135790"/>
                <a:gd name="connsiteY3" fmla="*/ 0 h 135789"/>
                <a:gd name="connsiteX4" fmla="*/ 135791 w 135790"/>
                <a:gd name="connsiteY4" fmla="*/ 67895 h 135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790" h="135789">
                  <a:moveTo>
                    <a:pt x="135791" y="67895"/>
                  </a:moveTo>
                  <a:cubicBezTo>
                    <a:pt x="135791" y="105420"/>
                    <a:pt x="105421" y="135790"/>
                    <a:pt x="67895" y="135790"/>
                  </a:cubicBezTo>
                  <a:cubicBezTo>
                    <a:pt x="30371" y="135790"/>
                    <a:pt x="0" y="105420"/>
                    <a:pt x="0" y="67895"/>
                  </a:cubicBezTo>
                  <a:cubicBezTo>
                    <a:pt x="0" y="30370"/>
                    <a:pt x="30371" y="0"/>
                    <a:pt x="67895" y="0"/>
                  </a:cubicBezTo>
                  <a:cubicBezTo>
                    <a:pt x="105421" y="0"/>
                    <a:pt x="135791" y="30446"/>
                    <a:pt x="135791" y="67895"/>
                  </a:cubicBezTo>
                </a:path>
              </a:pathLst>
            </a:custGeom>
            <a:grpFill/>
            <a:ln w="7608" cap="flat">
              <a:noFill/>
              <a:prstDash val="solid"/>
              <a:miter/>
            </a:ln>
          </p:spPr>
          <p:txBody>
            <a:bodyPr rtlCol="0" anchor="ctr"/>
            <a:lstStyle/>
            <a:p>
              <a:endParaRPr lang="hi-IN"/>
            </a:p>
          </p:txBody>
        </p:sp>
        <p:sp>
          <p:nvSpPr>
            <p:cNvPr id="1937" name="Freeform: Shape 936"/>
            <p:cNvSpPr/>
            <p:nvPr/>
          </p:nvSpPr>
          <p:spPr>
            <a:xfrm>
              <a:off x="11944099" y="1751948"/>
              <a:ext cx="138986" cy="138986"/>
            </a:xfrm>
            <a:custGeom>
              <a:avLst/>
              <a:gdLst>
                <a:gd name="connsiteX0" fmla="*/ 138987 w 138986"/>
                <a:gd name="connsiteY0" fmla="*/ 69493 h 138986"/>
                <a:gd name="connsiteX1" fmla="*/ 69493 w 138986"/>
                <a:gd name="connsiteY1" fmla="*/ 138987 h 138986"/>
                <a:gd name="connsiteX2" fmla="*/ 0 w 138986"/>
                <a:gd name="connsiteY2" fmla="*/ 69493 h 138986"/>
                <a:gd name="connsiteX3" fmla="*/ 69493 w 138986"/>
                <a:gd name="connsiteY3" fmla="*/ 0 h 138986"/>
                <a:gd name="connsiteX4" fmla="*/ 138987 w 138986"/>
                <a:gd name="connsiteY4" fmla="*/ 69493 h 138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986" h="138986">
                  <a:moveTo>
                    <a:pt x="138987" y="69493"/>
                  </a:moveTo>
                  <a:cubicBezTo>
                    <a:pt x="138987" y="107856"/>
                    <a:pt x="107856" y="138987"/>
                    <a:pt x="69493" y="138987"/>
                  </a:cubicBezTo>
                  <a:cubicBezTo>
                    <a:pt x="31132" y="138987"/>
                    <a:pt x="0" y="107856"/>
                    <a:pt x="0" y="69493"/>
                  </a:cubicBezTo>
                  <a:cubicBezTo>
                    <a:pt x="0" y="31131"/>
                    <a:pt x="31132" y="0"/>
                    <a:pt x="69493" y="0"/>
                  </a:cubicBezTo>
                  <a:cubicBezTo>
                    <a:pt x="107856" y="0"/>
                    <a:pt x="138987" y="31131"/>
                    <a:pt x="138987" y="69493"/>
                  </a:cubicBezTo>
                </a:path>
              </a:pathLst>
            </a:custGeom>
            <a:grpFill/>
            <a:ln w="7608" cap="flat">
              <a:noFill/>
              <a:prstDash val="solid"/>
              <a:miter/>
            </a:ln>
          </p:spPr>
          <p:txBody>
            <a:bodyPr rtlCol="0" anchor="ctr"/>
            <a:lstStyle/>
            <a:p>
              <a:endParaRPr lang="hi-IN"/>
            </a:p>
          </p:txBody>
        </p:sp>
        <p:sp>
          <p:nvSpPr>
            <p:cNvPr id="1938" name="Freeform: Shape 937"/>
            <p:cNvSpPr/>
            <p:nvPr/>
          </p:nvSpPr>
          <p:spPr>
            <a:xfrm>
              <a:off x="11848804" y="1602458"/>
              <a:ext cx="141193" cy="141118"/>
            </a:xfrm>
            <a:custGeom>
              <a:avLst/>
              <a:gdLst>
                <a:gd name="connsiteX0" fmla="*/ 141194 w 141193"/>
                <a:gd name="connsiteY0" fmla="*/ 70559 h 141118"/>
                <a:gd name="connsiteX1" fmla="*/ 70558 w 141193"/>
                <a:gd name="connsiteY1" fmla="*/ 141118 h 141118"/>
                <a:gd name="connsiteX2" fmla="*/ 0 w 141193"/>
                <a:gd name="connsiteY2" fmla="*/ 70559 h 141118"/>
                <a:gd name="connsiteX3" fmla="*/ 70558 w 141193"/>
                <a:gd name="connsiteY3" fmla="*/ 0 h 141118"/>
                <a:gd name="connsiteX4" fmla="*/ 141194 w 141193"/>
                <a:gd name="connsiteY4" fmla="*/ 70559 h 141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93" h="141118">
                  <a:moveTo>
                    <a:pt x="141194" y="70559"/>
                  </a:moveTo>
                  <a:cubicBezTo>
                    <a:pt x="141194" y="109530"/>
                    <a:pt x="109605" y="141118"/>
                    <a:pt x="70558" y="141118"/>
                  </a:cubicBezTo>
                  <a:cubicBezTo>
                    <a:pt x="31587" y="141118"/>
                    <a:pt x="0" y="109530"/>
                    <a:pt x="0" y="70559"/>
                  </a:cubicBezTo>
                  <a:cubicBezTo>
                    <a:pt x="0" y="31588"/>
                    <a:pt x="31587" y="0"/>
                    <a:pt x="70558" y="0"/>
                  </a:cubicBezTo>
                  <a:cubicBezTo>
                    <a:pt x="109529" y="0"/>
                    <a:pt x="141194" y="31588"/>
                    <a:pt x="141194" y="70559"/>
                  </a:cubicBezTo>
                </a:path>
              </a:pathLst>
            </a:custGeom>
            <a:grpFill/>
            <a:ln w="7608" cap="flat">
              <a:noFill/>
              <a:prstDash val="solid"/>
              <a:miter/>
            </a:ln>
          </p:spPr>
          <p:txBody>
            <a:bodyPr rtlCol="0" anchor="ctr"/>
            <a:lstStyle/>
            <a:p>
              <a:endParaRPr lang="hi-IN"/>
            </a:p>
          </p:txBody>
        </p:sp>
        <p:sp>
          <p:nvSpPr>
            <p:cNvPr id="1939" name="Freeform: Shape 938"/>
            <p:cNvSpPr/>
            <p:nvPr/>
          </p:nvSpPr>
          <p:spPr>
            <a:xfrm>
              <a:off x="11748712" y="1456925"/>
              <a:ext cx="142335" cy="142335"/>
            </a:xfrm>
            <a:custGeom>
              <a:avLst/>
              <a:gdLst>
                <a:gd name="connsiteX0" fmla="*/ 142335 w 142335"/>
                <a:gd name="connsiteY0" fmla="*/ 71168 h 142335"/>
                <a:gd name="connsiteX1" fmla="*/ 71168 w 142335"/>
                <a:gd name="connsiteY1" fmla="*/ 142336 h 142335"/>
                <a:gd name="connsiteX2" fmla="*/ 0 w 142335"/>
                <a:gd name="connsiteY2" fmla="*/ 71168 h 142335"/>
                <a:gd name="connsiteX3" fmla="*/ 71168 w 142335"/>
                <a:gd name="connsiteY3" fmla="*/ 0 h 142335"/>
                <a:gd name="connsiteX4" fmla="*/ 142335 w 142335"/>
                <a:gd name="connsiteY4" fmla="*/ 71168 h 142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335" h="142335">
                  <a:moveTo>
                    <a:pt x="142335" y="71168"/>
                  </a:moveTo>
                  <a:cubicBezTo>
                    <a:pt x="142335" y="110443"/>
                    <a:pt x="110520" y="142336"/>
                    <a:pt x="71168" y="142336"/>
                  </a:cubicBezTo>
                  <a:cubicBezTo>
                    <a:pt x="31892" y="142336"/>
                    <a:pt x="0" y="110520"/>
                    <a:pt x="0" y="71168"/>
                  </a:cubicBezTo>
                  <a:cubicBezTo>
                    <a:pt x="0" y="31892"/>
                    <a:pt x="31816" y="0"/>
                    <a:pt x="71168" y="0"/>
                  </a:cubicBezTo>
                  <a:cubicBezTo>
                    <a:pt x="110520" y="76"/>
                    <a:pt x="142335" y="31892"/>
                    <a:pt x="142335" y="71168"/>
                  </a:cubicBezTo>
                </a:path>
              </a:pathLst>
            </a:custGeom>
            <a:grpFill/>
            <a:ln w="7608" cap="flat">
              <a:noFill/>
              <a:prstDash val="solid"/>
              <a:miter/>
            </a:ln>
          </p:spPr>
          <p:txBody>
            <a:bodyPr rtlCol="0" anchor="ctr"/>
            <a:lstStyle/>
            <a:p>
              <a:endParaRPr lang="hi-IN"/>
            </a:p>
          </p:txBody>
        </p:sp>
        <p:sp>
          <p:nvSpPr>
            <p:cNvPr id="1940" name="Freeform: Shape 939"/>
            <p:cNvSpPr/>
            <p:nvPr/>
          </p:nvSpPr>
          <p:spPr>
            <a:xfrm>
              <a:off x="11643063" y="1314665"/>
              <a:ext cx="144466" cy="144467"/>
            </a:xfrm>
            <a:custGeom>
              <a:avLst/>
              <a:gdLst>
                <a:gd name="connsiteX0" fmla="*/ 144467 w 144466"/>
                <a:gd name="connsiteY0" fmla="*/ 72234 h 144467"/>
                <a:gd name="connsiteX1" fmla="*/ 72233 w 144466"/>
                <a:gd name="connsiteY1" fmla="*/ 144467 h 144467"/>
                <a:gd name="connsiteX2" fmla="*/ 0 w 144466"/>
                <a:gd name="connsiteY2" fmla="*/ 72234 h 144467"/>
                <a:gd name="connsiteX3" fmla="*/ 72233 w 144466"/>
                <a:gd name="connsiteY3" fmla="*/ 0 h 144467"/>
                <a:gd name="connsiteX4" fmla="*/ 144467 w 144466"/>
                <a:gd name="connsiteY4" fmla="*/ 72234 h 144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66" h="144467">
                  <a:moveTo>
                    <a:pt x="144467" y="72234"/>
                  </a:moveTo>
                  <a:cubicBezTo>
                    <a:pt x="144467" y="112118"/>
                    <a:pt x="112118" y="144467"/>
                    <a:pt x="72233" y="144467"/>
                  </a:cubicBezTo>
                  <a:cubicBezTo>
                    <a:pt x="32349" y="144467"/>
                    <a:pt x="0" y="112118"/>
                    <a:pt x="0" y="72234"/>
                  </a:cubicBezTo>
                  <a:cubicBezTo>
                    <a:pt x="0" y="32349"/>
                    <a:pt x="32349" y="0"/>
                    <a:pt x="72233" y="0"/>
                  </a:cubicBezTo>
                  <a:cubicBezTo>
                    <a:pt x="112194" y="0"/>
                    <a:pt x="144467" y="32273"/>
                    <a:pt x="144467" y="72234"/>
                  </a:cubicBezTo>
                </a:path>
              </a:pathLst>
            </a:custGeom>
            <a:grpFill/>
            <a:ln w="7608" cap="flat">
              <a:noFill/>
              <a:prstDash val="solid"/>
              <a:miter/>
            </a:ln>
          </p:spPr>
          <p:txBody>
            <a:bodyPr rtlCol="0" anchor="ctr"/>
            <a:lstStyle/>
            <a:p>
              <a:endParaRPr lang="hi-IN"/>
            </a:p>
          </p:txBody>
        </p:sp>
        <p:sp>
          <p:nvSpPr>
            <p:cNvPr id="1941" name="Freeform: Shape 940"/>
            <p:cNvSpPr/>
            <p:nvPr/>
          </p:nvSpPr>
          <p:spPr>
            <a:xfrm>
              <a:off x="11533001" y="1176668"/>
              <a:ext cx="145532" cy="145532"/>
            </a:xfrm>
            <a:custGeom>
              <a:avLst/>
              <a:gdLst>
                <a:gd name="connsiteX0" fmla="*/ 145533 w 145532"/>
                <a:gd name="connsiteY0" fmla="*/ 72766 h 145532"/>
                <a:gd name="connsiteX1" fmla="*/ 72766 w 145532"/>
                <a:gd name="connsiteY1" fmla="*/ 145533 h 145532"/>
                <a:gd name="connsiteX2" fmla="*/ 0 w 145532"/>
                <a:gd name="connsiteY2" fmla="*/ 72766 h 145532"/>
                <a:gd name="connsiteX3" fmla="*/ 72766 w 145532"/>
                <a:gd name="connsiteY3" fmla="*/ 0 h 145532"/>
                <a:gd name="connsiteX4" fmla="*/ 145533 w 145532"/>
                <a:gd name="connsiteY4" fmla="*/ 72766 h 145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32" h="145532">
                  <a:moveTo>
                    <a:pt x="145533" y="72766"/>
                  </a:moveTo>
                  <a:cubicBezTo>
                    <a:pt x="145533" y="112955"/>
                    <a:pt x="112955" y="145533"/>
                    <a:pt x="72766" y="145533"/>
                  </a:cubicBezTo>
                  <a:cubicBezTo>
                    <a:pt x="32577" y="145533"/>
                    <a:pt x="0" y="112955"/>
                    <a:pt x="0" y="72766"/>
                  </a:cubicBezTo>
                  <a:cubicBezTo>
                    <a:pt x="0" y="32577"/>
                    <a:pt x="32577" y="0"/>
                    <a:pt x="72766" y="0"/>
                  </a:cubicBezTo>
                  <a:cubicBezTo>
                    <a:pt x="112955" y="0"/>
                    <a:pt x="145533" y="32577"/>
                    <a:pt x="145533" y="72766"/>
                  </a:cubicBezTo>
                </a:path>
              </a:pathLst>
            </a:custGeom>
            <a:grpFill/>
            <a:ln w="7608" cap="flat">
              <a:noFill/>
              <a:prstDash val="solid"/>
              <a:miter/>
            </a:ln>
          </p:spPr>
          <p:txBody>
            <a:bodyPr rtlCol="0" anchor="ctr"/>
            <a:lstStyle/>
            <a:p>
              <a:endParaRPr lang="hi-IN"/>
            </a:p>
          </p:txBody>
        </p:sp>
        <p:sp>
          <p:nvSpPr>
            <p:cNvPr id="1942" name="Freeform: Shape 941"/>
            <p:cNvSpPr/>
            <p:nvPr/>
          </p:nvSpPr>
          <p:spPr>
            <a:xfrm>
              <a:off x="11417990" y="1042781"/>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3" y="146598"/>
                    <a:pt x="73299" y="146598"/>
                  </a:cubicBezTo>
                  <a:cubicBezTo>
                    <a:pt x="32806" y="146598"/>
                    <a:pt x="0" y="113793"/>
                    <a:pt x="0" y="73299"/>
                  </a:cubicBezTo>
                  <a:cubicBezTo>
                    <a:pt x="0" y="32806"/>
                    <a:pt x="32806" y="0"/>
                    <a:pt x="73299" y="0"/>
                  </a:cubicBezTo>
                  <a:cubicBezTo>
                    <a:pt x="113793" y="-76"/>
                    <a:pt x="146598" y="32806"/>
                    <a:pt x="146598" y="73299"/>
                  </a:cubicBezTo>
                </a:path>
              </a:pathLst>
            </a:custGeom>
            <a:grpFill/>
            <a:ln w="7608" cap="flat">
              <a:noFill/>
              <a:prstDash val="solid"/>
              <a:miter/>
            </a:ln>
          </p:spPr>
          <p:txBody>
            <a:bodyPr rtlCol="0" anchor="ctr"/>
            <a:lstStyle/>
            <a:p>
              <a:endParaRPr lang="hi-IN"/>
            </a:p>
          </p:txBody>
        </p:sp>
        <p:sp>
          <p:nvSpPr>
            <p:cNvPr id="1943" name="Freeform: Shape 942"/>
            <p:cNvSpPr/>
            <p:nvPr/>
          </p:nvSpPr>
          <p:spPr>
            <a:xfrm>
              <a:off x="11298870" y="913537"/>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2" y="146598"/>
                    <a:pt x="73299" y="146598"/>
                  </a:cubicBezTo>
                  <a:cubicBezTo>
                    <a:pt x="32805" y="146598"/>
                    <a:pt x="0" y="113793"/>
                    <a:pt x="0" y="73299"/>
                  </a:cubicBezTo>
                  <a:cubicBezTo>
                    <a:pt x="0" y="32806"/>
                    <a:pt x="32805" y="0"/>
                    <a:pt x="73299" y="0"/>
                  </a:cubicBezTo>
                  <a:cubicBezTo>
                    <a:pt x="113716" y="0"/>
                    <a:pt x="146598" y="32806"/>
                    <a:pt x="146598" y="73299"/>
                  </a:cubicBezTo>
                </a:path>
              </a:pathLst>
            </a:custGeom>
            <a:grpFill/>
            <a:ln w="7608" cap="flat">
              <a:noFill/>
              <a:prstDash val="solid"/>
              <a:miter/>
            </a:ln>
          </p:spPr>
          <p:txBody>
            <a:bodyPr rtlCol="0" anchor="ctr"/>
            <a:lstStyle/>
            <a:p>
              <a:endParaRPr lang="hi-IN"/>
            </a:p>
          </p:txBody>
        </p:sp>
        <p:sp>
          <p:nvSpPr>
            <p:cNvPr id="1944" name="Freeform: Shape 943"/>
            <p:cNvSpPr/>
            <p:nvPr/>
          </p:nvSpPr>
          <p:spPr>
            <a:xfrm>
              <a:off x="11175106" y="788708"/>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2" y="146598"/>
                    <a:pt x="73299" y="146598"/>
                  </a:cubicBezTo>
                  <a:cubicBezTo>
                    <a:pt x="32805" y="146598"/>
                    <a:pt x="0" y="113793"/>
                    <a:pt x="0" y="73299"/>
                  </a:cubicBezTo>
                  <a:cubicBezTo>
                    <a:pt x="0" y="32806"/>
                    <a:pt x="32805" y="0"/>
                    <a:pt x="73299" y="0"/>
                  </a:cubicBezTo>
                  <a:cubicBezTo>
                    <a:pt x="113792" y="0"/>
                    <a:pt x="146598" y="32806"/>
                    <a:pt x="146598" y="73299"/>
                  </a:cubicBezTo>
                </a:path>
              </a:pathLst>
            </a:custGeom>
            <a:grpFill/>
            <a:ln w="7608" cap="flat">
              <a:noFill/>
              <a:prstDash val="solid"/>
              <a:miter/>
            </a:ln>
          </p:spPr>
          <p:txBody>
            <a:bodyPr rtlCol="0" anchor="ctr"/>
            <a:lstStyle/>
            <a:p>
              <a:endParaRPr lang="hi-IN"/>
            </a:p>
          </p:txBody>
        </p:sp>
        <p:sp>
          <p:nvSpPr>
            <p:cNvPr id="1945" name="Freeform: Shape 944"/>
            <p:cNvSpPr/>
            <p:nvPr/>
          </p:nvSpPr>
          <p:spPr>
            <a:xfrm>
              <a:off x="11047003" y="668369"/>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3" y="146598"/>
                    <a:pt x="73299" y="146598"/>
                  </a:cubicBezTo>
                  <a:cubicBezTo>
                    <a:pt x="32806" y="146598"/>
                    <a:pt x="0" y="113793"/>
                    <a:pt x="0" y="73299"/>
                  </a:cubicBezTo>
                  <a:cubicBezTo>
                    <a:pt x="0" y="32806"/>
                    <a:pt x="32806" y="0"/>
                    <a:pt x="73299" y="0"/>
                  </a:cubicBezTo>
                  <a:cubicBezTo>
                    <a:pt x="113793" y="0"/>
                    <a:pt x="146598" y="32806"/>
                    <a:pt x="146598" y="73299"/>
                  </a:cubicBezTo>
                </a:path>
              </a:pathLst>
            </a:custGeom>
            <a:grpFill/>
            <a:ln w="7608" cap="flat">
              <a:noFill/>
              <a:prstDash val="solid"/>
              <a:miter/>
            </a:ln>
          </p:spPr>
          <p:txBody>
            <a:bodyPr rtlCol="0" anchor="ctr"/>
            <a:lstStyle/>
            <a:p>
              <a:endParaRPr lang="hi-IN"/>
            </a:p>
          </p:txBody>
        </p:sp>
        <p:sp>
          <p:nvSpPr>
            <p:cNvPr id="1946" name="Freeform: Shape 945"/>
            <p:cNvSpPr/>
            <p:nvPr/>
          </p:nvSpPr>
          <p:spPr>
            <a:xfrm>
              <a:off x="10915172" y="553283"/>
              <a:ext cx="145532" cy="145532"/>
            </a:xfrm>
            <a:custGeom>
              <a:avLst/>
              <a:gdLst>
                <a:gd name="connsiteX0" fmla="*/ 145533 w 145532"/>
                <a:gd name="connsiteY0" fmla="*/ 72766 h 145532"/>
                <a:gd name="connsiteX1" fmla="*/ 72766 w 145532"/>
                <a:gd name="connsiteY1" fmla="*/ 145533 h 145532"/>
                <a:gd name="connsiteX2" fmla="*/ 0 w 145532"/>
                <a:gd name="connsiteY2" fmla="*/ 72766 h 145532"/>
                <a:gd name="connsiteX3" fmla="*/ 72766 w 145532"/>
                <a:gd name="connsiteY3" fmla="*/ 0 h 145532"/>
                <a:gd name="connsiteX4" fmla="*/ 145533 w 145532"/>
                <a:gd name="connsiteY4" fmla="*/ 72766 h 145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32" h="145532">
                  <a:moveTo>
                    <a:pt x="145533" y="72766"/>
                  </a:moveTo>
                  <a:cubicBezTo>
                    <a:pt x="145533" y="112955"/>
                    <a:pt x="112955" y="145533"/>
                    <a:pt x="72766" y="145533"/>
                  </a:cubicBezTo>
                  <a:cubicBezTo>
                    <a:pt x="32578" y="145533"/>
                    <a:pt x="0" y="112955"/>
                    <a:pt x="0" y="72766"/>
                  </a:cubicBezTo>
                  <a:cubicBezTo>
                    <a:pt x="0" y="32577"/>
                    <a:pt x="32578" y="0"/>
                    <a:pt x="72766" y="0"/>
                  </a:cubicBezTo>
                  <a:cubicBezTo>
                    <a:pt x="112955" y="0"/>
                    <a:pt x="145533" y="32577"/>
                    <a:pt x="145533" y="72766"/>
                  </a:cubicBezTo>
                </a:path>
              </a:pathLst>
            </a:custGeom>
            <a:grpFill/>
            <a:ln w="7608" cap="flat">
              <a:noFill/>
              <a:prstDash val="solid"/>
              <a:miter/>
            </a:ln>
          </p:spPr>
          <p:txBody>
            <a:bodyPr rtlCol="0" anchor="ctr"/>
            <a:lstStyle/>
            <a:p>
              <a:endParaRPr lang="hi-IN"/>
            </a:p>
          </p:txBody>
        </p:sp>
        <p:sp>
          <p:nvSpPr>
            <p:cNvPr id="1947" name="Freeform: Shape 946"/>
            <p:cNvSpPr/>
            <p:nvPr/>
          </p:nvSpPr>
          <p:spPr>
            <a:xfrm>
              <a:off x="10779230" y="442991"/>
              <a:ext cx="144466" cy="144467"/>
            </a:xfrm>
            <a:custGeom>
              <a:avLst/>
              <a:gdLst>
                <a:gd name="connsiteX0" fmla="*/ 144467 w 144466"/>
                <a:gd name="connsiteY0" fmla="*/ 72234 h 144467"/>
                <a:gd name="connsiteX1" fmla="*/ 72233 w 144466"/>
                <a:gd name="connsiteY1" fmla="*/ 144467 h 144467"/>
                <a:gd name="connsiteX2" fmla="*/ 0 w 144466"/>
                <a:gd name="connsiteY2" fmla="*/ 72234 h 144467"/>
                <a:gd name="connsiteX3" fmla="*/ 72233 w 144466"/>
                <a:gd name="connsiteY3" fmla="*/ 0 h 144467"/>
                <a:gd name="connsiteX4" fmla="*/ 144467 w 144466"/>
                <a:gd name="connsiteY4" fmla="*/ 72234 h 144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66" h="144467">
                  <a:moveTo>
                    <a:pt x="144467" y="72234"/>
                  </a:moveTo>
                  <a:cubicBezTo>
                    <a:pt x="144467" y="112118"/>
                    <a:pt x="112118" y="144467"/>
                    <a:pt x="72233" y="144467"/>
                  </a:cubicBezTo>
                  <a:cubicBezTo>
                    <a:pt x="32349" y="144467"/>
                    <a:pt x="0" y="112118"/>
                    <a:pt x="0" y="72234"/>
                  </a:cubicBezTo>
                  <a:cubicBezTo>
                    <a:pt x="0" y="32349"/>
                    <a:pt x="32349" y="0"/>
                    <a:pt x="72233" y="0"/>
                  </a:cubicBezTo>
                  <a:cubicBezTo>
                    <a:pt x="112118" y="0"/>
                    <a:pt x="144467" y="32349"/>
                    <a:pt x="144467" y="72234"/>
                  </a:cubicBezTo>
                </a:path>
              </a:pathLst>
            </a:custGeom>
            <a:grpFill/>
            <a:ln w="7608" cap="flat">
              <a:noFill/>
              <a:prstDash val="solid"/>
              <a:miter/>
            </a:ln>
          </p:spPr>
          <p:txBody>
            <a:bodyPr rtlCol="0" anchor="ctr"/>
            <a:lstStyle/>
            <a:p>
              <a:endParaRPr lang="hi-IN"/>
            </a:p>
          </p:txBody>
        </p:sp>
        <p:sp>
          <p:nvSpPr>
            <p:cNvPr id="1948" name="Freeform: Shape 947"/>
            <p:cNvSpPr/>
            <p:nvPr/>
          </p:nvSpPr>
          <p:spPr>
            <a:xfrm>
              <a:off x="10639406" y="337648"/>
              <a:ext cx="143401" cy="143401"/>
            </a:xfrm>
            <a:custGeom>
              <a:avLst/>
              <a:gdLst>
                <a:gd name="connsiteX0" fmla="*/ 143401 w 143401"/>
                <a:gd name="connsiteY0" fmla="*/ 71701 h 143401"/>
                <a:gd name="connsiteX1" fmla="*/ 71700 w 143401"/>
                <a:gd name="connsiteY1" fmla="*/ 143401 h 143401"/>
                <a:gd name="connsiteX2" fmla="*/ 0 w 143401"/>
                <a:gd name="connsiteY2" fmla="*/ 71701 h 143401"/>
                <a:gd name="connsiteX3" fmla="*/ 71700 w 143401"/>
                <a:gd name="connsiteY3" fmla="*/ 0 h 143401"/>
                <a:gd name="connsiteX4" fmla="*/ 143401 w 143401"/>
                <a:gd name="connsiteY4" fmla="*/ 71701 h 143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401" h="143401">
                  <a:moveTo>
                    <a:pt x="143401" y="71701"/>
                  </a:moveTo>
                  <a:cubicBezTo>
                    <a:pt x="143401" y="111281"/>
                    <a:pt x="111281" y="143401"/>
                    <a:pt x="71700" y="143401"/>
                  </a:cubicBezTo>
                  <a:cubicBezTo>
                    <a:pt x="32120" y="143401"/>
                    <a:pt x="0" y="111281"/>
                    <a:pt x="0" y="71701"/>
                  </a:cubicBezTo>
                  <a:cubicBezTo>
                    <a:pt x="0" y="32121"/>
                    <a:pt x="32120" y="0"/>
                    <a:pt x="71700" y="0"/>
                  </a:cubicBezTo>
                  <a:cubicBezTo>
                    <a:pt x="111357" y="0"/>
                    <a:pt x="143401" y="32121"/>
                    <a:pt x="143401" y="71701"/>
                  </a:cubicBezTo>
                </a:path>
              </a:pathLst>
            </a:custGeom>
            <a:grpFill/>
            <a:ln w="7608" cap="flat">
              <a:noFill/>
              <a:prstDash val="solid"/>
              <a:miter/>
            </a:ln>
          </p:spPr>
          <p:txBody>
            <a:bodyPr rtlCol="0" anchor="ctr"/>
            <a:lstStyle/>
            <a:p>
              <a:endParaRPr lang="hi-IN"/>
            </a:p>
          </p:txBody>
        </p:sp>
        <p:sp>
          <p:nvSpPr>
            <p:cNvPr id="1949" name="Freeform: Shape 948"/>
            <p:cNvSpPr/>
            <p:nvPr/>
          </p:nvSpPr>
          <p:spPr>
            <a:xfrm>
              <a:off x="10496537" y="238012"/>
              <a:ext cx="141193" cy="141194"/>
            </a:xfrm>
            <a:custGeom>
              <a:avLst/>
              <a:gdLst>
                <a:gd name="connsiteX0" fmla="*/ 141194 w 141193"/>
                <a:gd name="connsiteY0" fmla="*/ 70635 h 141194"/>
                <a:gd name="connsiteX1" fmla="*/ 70559 w 141193"/>
                <a:gd name="connsiteY1" fmla="*/ 141194 h 141194"/>
                <a:gd name="connsiteX2" fmla="*/ 0 w 141193"/>
                <a:gd name="connsiteY2" fmla="*/ 70635 h 141194"/>
                <a:gd name="connsiteX3" fmla="*/ 70559 w 141193"/>
                <a:gd name="connsiteY3" fmla="*/ 0 h 141194"/>
                <a:gd name="connsiteX4" fmla="*/ 141194 w 141193"/>
                <a:gd name="connsiteY4" fmla="*/ 70635 h 141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93" h="141194">
                  <a:moveTo>
                    <a:pt x="141194" y="70635"/>
                  </a:moveTo>
                  <a:cubicBezTo>
                    <a:pt x="141194" y="109606"/>
                    <a:pt x="109606" y="141194"/>
                    <a:pt x="70559" y="141194"/>
                  </a:cubicBezTo>
                  <a:cubicBezTo>
                    <a:pt x="31588" y="141194"/>
                    <a:pt x="0" y="109606"/>
                    <a:pt x="0" y="70635"/>
                  </a:cubicBezTo>
                  <a:cubicBezTo>
                    <a:pt x="0" y="31664"/>
                    <a:pt x="31588" y="0"/>
                    <a:pt x="70559" y="0"/>
                  </a:cubicBezTo>
                  <a:cubicBezTo>
                    <a:pt x="109606" y="0"/>
                    <a:pt x="141194" y="31664"/>
                    <a:pt x="141194" y="70635"/>
                  </a:cubicBezTo>
                </a:path>
              </a:pathLst>
            </a:custGeom>
            <a:grpFill/>
            <a:ln w="7608" cap="flat">
              <a:noFill/>
              <a:prstDash val="solid"/>
              <a:miter/>
            </a:ln>
          </p:spPr>
          <p:txBody>
            <a:bodyPr rtlCol="0" anchor="ctr"/>
            <a:lstStyle/>
            <a:p>
              <a:endParaRPr lang="hi-IN"/>
            </a:p>
          </p:txBody>
        </p:sp>
        <p:sp>
          <p:nvSpPr>
            <p:cNvPr id="1950" name="Freeform: Shape 949"/>
            <p:cNvSpPr/>
            <p:nvPr/>
          </p:nvSpPr>
          <p:spPr>
            <a:xfrm>
              <a:off x="10350091" y="143629"/>
              <a:ext cx="138986" cy="138986"/>
            </a:xfrm>
            <a:custGeom>
              <a:avLst/>
              <a:gdLst>
                <a:gd name="connsiteX0" fmla="*/ 138987 w 138986"/>
                <a:gd name="connsiteY0" fmla="*/ 69493 h 138986"/>
                <a:gd name="connsiteX1" fmla="*/ 69493 w 138986"/>
                <a:gd name="connsiteY1" fmla="*/ 138987 h 138986"/>
                <a:gd name="connsiteX2" fmla="*/ 0 w 138986"/>
                <a:gd name="connsiteY2" fmla="*/ 69493 h 138986"/>
                <a:gd name="connsiteX3" fmla="*/ 69493 w 138986"/>
                <a:gd name="connsiteY3" fmla="*/ 0 h 138986"/>
                <a:gd name="connsiteX4" fmla="*/ 138987 w 138986"/>
                <a:gd name="connsiteY4" fmla="*/ 69493 h 138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986" h="138986">
                  <a:moveTo>
                    <a:pt x="138987" y="69493"/>
                  </a:moveTo>
                  <a:cubicBezTo>
                    <a:pt x="138987" y="107856"/>
                    <a:pt x="107855" y="138987"/>
                    <a:pt x="69493" y="138987"/>
                  </a:cubicBezTo>
                  <a:cubicBezTo>
                    <a:pt x="31131" y="138987"/>
                    <a:pt x="0" y="107856"/>
                    <a:pt x="0" y="69493"/>
                  </a:cubicBezTo>
                  <a:cubicBezTo>
                    <a:pt x="0" y="31131"/>
                    <a:pt x="31131" y="0"/>
                    <a:pt x="69493" y="0"/>
                  </a:cubicBezTo>
                  <a:cubicBezTo>
                    <a:pt x="107855" y="0"/>
                    <a:pt x="138987" y="31131"/>
                    <a:pt x="138987" y="69493"/>
                  </a:cubicBezTo>
                </a:path>
              </a:pathLst>
            </a:custGeom>
            <a:grpFill/>
            <a:ln w="7608" cap="flat">
              <a:noFill/>
              <a:prstDash val="solid"/>
              <a:miter/>
            </a:ln>
          </p:spPr>
          <p:txBody>
            <a:bodyPr rtlCol="0" anchor="ctr"/>
            <a:lstStyle/>
            <a:p>
              <a:endParaRPr lang="hi-IN"/>
            </a:p>
          </p:txBody>
        </p:sp>
        <p:sp>
          <p:nvSpPr>
            <p:cNvPr id="1951" name="Freeform: Shape 950"/>
            <p:cNvSpPr/>
            <p:nvPr/>
          </p:nvSpPr>
          <p:spPr>
            <a:xfrm>
              <a:off x="10200219" y="54574"/>
              <a:ext cx="136855" cy="136855"/>
            </a:xfrm>
            <a:custGeom>
              <a:avLst/>
              <a:gdLst>
                <a:gd name="connsiteX0" fmla="*/ 136855 w 136855"/>
                <a:gd name="connsiteY0" fmla="*/ 68428 h 136855"/>
                <a:gd name="connsiteX1" fmla="*/ 68428 w 136855"/>
                <a:gd name="connsiteY1" fmla="*/ 136856 h 136855"/>
                <a:gd name="connsiteX2" fmla="*/ 0 w 136855"/>
                <a:gd name="connsiteY2" fmla="*/ 68428 h 136855"/>
                <a:gd name="connsiteX3" fmla="*/ 68428 w 136855"/>
                <a:gd name="connsiteY3" fmla="*/ 0 h 136855"/>
                <a:gd name="connsiteX4" fmla="*/ 136855 w 136855"/>
                <a:gd name="connsiteY4" fmla="*/ 68428 h 136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855" h="136855">
                  <a:moveTo>
                    <a:pt x="136855" y="68428"/>
                  </a:moveTo>
                  <a:cubicBezTo>
                    <a:pt x="136855" y="106181"/>
                    <a:pt x="106258" y="136856"/>
                    <a:pt x="68428" y="136856"/>
                  </a:cubicBezTo>
                  <a:cubicBezTo>
                    <a:pt x="30675" y="136856"/>
                    <a:pt x="0" y="106257"/>
                    <a:pt x="0" y="68428"/>
                  </a:cubicBezTo>
                  <a:cubicBezTo>
                    <a:pt x="0" y="30675"/>
                    <a:pt x="30599" y="0"/>
                    <a:pt x="68428" y="0"/>
                  </a:cubicBezTo>
                  <a:cubicBezTo>
                    <a:pt x="106258" y="0"/>
                    <a:pt x="136855" y="30598"/>
                    <a:pt x="136855" y="68428"/>
                  </a:cubicBezTo>
                </a:path>
              </a:pathLst>
            </a:custGeom>
            <a:grpFill/>
            <a:ln w="7608" cap="flat">
              <a:noFill/>
              <a:prstDash val="solid"/>
              <a:miter/>
            </a:ln>
          </p:spPr>
          <p:txBody>
            <a:bodyPr rtlCol="0" anchor="ctr"/>
            <a:lstStyle/>
            <a:p>
              <a:endParaRPr lang="hi-IN"/>
            </a:p>
          </p:txBody>
        </p:sp>
        <p:sp>
          <p:nvSpPr>
            <p:cNvPr id="1952" name="Freeform: Shape 951"/>
            <p:cNvSpPr/>
            <p:nvPr/>
          </p:nvSpPr>
          <p:spPr>
            <a:xfrm>
              <a:off x="10047912" y="9514"/>
              <a:ext cx="133582" cy="95600"/>
            </a:xfrm>
            <a:custGeom>
              <a:avLst/>
              <a:gdLst>
                <a:gd name="connsiteX0" fmla="*/ 126809 w 133582"/>
                <a:gd name="connsiteY0" fmla="*/ 0 h 95600"/>
                <a:gd name="connsiteX1" fmla="*/ 133583 w 133582"/>
                <a:gd name="connsiteY1" fmla="*/ 28772 h 95600"/>
                <a:gd name="connsiteX2" fmla="*/ 66753 w 133582"/>
                <a:gd name="connsiteY2" fmla="*/ 95601 h 95600"/>
                <a:gd name="connsiteX3" fmla="*/ 0 w 133582"/>
                <a:gd name="connsiteY3" fmla="*/ 28772 h 95600"/>
                <a:gd name="connsiteX4" fmla="*/ 6774 w 133582"/>
                <a:gd name="connsiteY4" fmla="*/ 0 h 95600"/>
                <a:gd name="connsiteX5" fmla="*/ 126809 w 133582"/>
                <a:gd name="connsiteY5" fmla="*/ 0 h 9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582" h="95600">
                  <a:moveTo>
                    <a:pt x="126809" y="0"/>
                  </a:moveTo>
                  <a:cubicBezTo>
                    <a:pt x="130995" y="8753"/>
                    <a:pt x="133583" y="18420"/>
                    <a:pt x="133583" y="28772"/>
                  </a:cubicBezTo>
                  <a:cubicBezTo>
                    <a:pt x="133583" y="65688"/>
                    <a:pt x="103669" y="95601"/>
                    <a:pt x="66753" y="95601"/>
                  </a:cubicBezTo>
                  <a:cubicBezTo>
                    <a:pt x="29838" y="95601"/>
                    <a:pt x="0" y="65688"/>
                    <a:pt x="0" y="28772"/>
                  </a:cubicBezTo>
                  <a:cubicBezTo>
                    <a:pt x="0" y="18420"/>
                    <a:pt x="2589" y="8753"/>
                    <a:pt x="6774" y="0"/>
                  </a:cubicBezTo>
                  <a:lnTo>
                    <a:pt x="126809" y="0"/>
                  </a:lnTo>
                  <a:close/>
                </a:path>
              </a:pathLst>
            </a:custGeom>
            <a:grpFill/>
            <a:ln w="7608" cap="flat">
              <a:noFill/>
              <a:prstDash val="solid"/>
              <a:miter/>
            </a:ln>
          </p:spPr>
          <p:txBody>
            <a:bodyPr rtlCol="0" anchor="ctr"/>
            <a:lstStyle/>
            <a:p>
              <a:endParaRPr lang="hi-IN"/>
            </a:p>
          </p:txBody>
        </p:sp>
        <p:sp>
          <p:nvSpPr>
            <p:cNvPr id="1953" name="Freeform: Shape 952"/>
            <p:cNvSpPr/>
            <p:nvPr/>
          </p:nvSpPr>
          <p:spPr>
            <a:xfrm>
              <a:off x="5544772" y="30674"/>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954" name="Freeform: Shape 953"/>
            <p:cNvSpPr/>
            <p:nvPr/>
          </p:nvSpPr>
          <p:spPr>
            <a:xfrm>
              <a:off x="12138956" y="1704909"/>
              <a:ext cx="46277" cy="137616"/>
            </a:xfrm>
            <a:custGeom>
              <a:avLst/>
              <a:gdLst>
                <a:gd name="connsiteX0" fmla="*/ 46278 w 46277"/>
                <a:gd name="connsiteY0" fmla="*/ 137617 h 137616"/>
                <a:gd name="connsiteX1" fmla="*/ 0 w 46277"/>
                <a:gd name="connsiteY1" fmla="*/ 68808 h 137616"/>
                <a:gd name="connsiteX2" fmla="*/ 46278 w 46277"/>
                <a:gd name="connsiteY2" fmla="*/ 0 h 137616"/>
                <a:gd name="connsiteX3" fmla="*/ 46278 w 46277"/>
                <a:gd name="connsiteY3" fmla="*/ 137617 h 137616"/>
              </a:gdLst>
              <a:ahLst/>
              <a:cxnLst>
                <a:cxn ang="0">
                  <a:pos x="connsiteX0" y="connsiteY0"/>
                </a:cxn>
                <a:cxn ang="0">
                  <a:pos x="connsiteX1" y="connsiteY1"/>
                </a:cxn>
                <a:cxn ang="0">
                  <a:pos x="connsiteX2" y="connsiteY2"/>
                </a:cxn>
                <a:cxn ang="0">
                  <a:pos x="connsiteX3" y="connsiteY3"/>
                </a:cxn>
              </a:cxnLst>
              <a:rect l="l" t="t" r="r" b="b"/>
              <a:pathLst>
                <a:path w="46277" h="137616">
                  <a:moveTo>
                    <a:pt x="46278" y="137617"/>
                  </a:moveTo>
                  <a:cubicBezTo>
                    <a:pt x="19180" y="126504"/>
                    <a:pt x="0" y="99939"/>
                    <a:pt x="0" y="68808"/>
                  </a:cubicBezTo>
                  <a:cubicBezTo>
                    <a:pt x="0" y="37677"/>
                    <a:pt x="19180" y="11113"/>
                    <a:pt x="46278" y="0"/>
                  </a:cubicBezTo>
                  <a:lnTo>
                    <a:pt x="46278" y="137617"/>
                  </a:lnTo>
                  <a:close/>
                </a:path>
              </a:pathLst>
            </a:custGeom>
            <a:grpFill/>
            <a:ln w="7608" cap="flat">
              <a:noFill/>
              <a:prstDash val="solid"/>
              <a:miter/>
            </a:ln>
          </p:spPr>
          <p:txBody>
            <a:bodyPr rtlCol="0" anchor="ctr"/>
            <a:lstStyle/>
            <a:p>
              <a:endParaRPr lang="hi-IN"/>
            </a:p>
          </p:txBody>
        </p:sp>
        <p:sp>
          <p:nvSpPr>
            <p:cNvPr id="1955" name="Freeform: Shape 954"/>
            <p:cNvSpPr/>
            <p:nvPr/>
          </p:nvSpPr>
          <p:spPr>
            <a:xfrm>
              <a:off x="12045638" y="1548644"/>
              <a:ext cx="139595" cy="151012"/>
            </a:xfrm>
            <a:custGeom>
              <a:avLst/>
              <a:gdLst>
                <a:gd name="connsiteX0" fmla="*/ 139595 w 139595"/>
                <a:gd name="connsiteY0" fmla="*/ 36079 h 151012"/>
                <a:gd name="connsiteX1" fmla="*/ 139595 w 139595"/>
                <a:gd name="connsiteY1" fmla="*/ 114934 h 151012"/>
                <a:gd name="connsiteX2" fmla="*/ 75506 w 139595"/>
                <a:gd name="connsiteY2" fmla="*/ 151013 h 151012"/>
                <a:gd name="connsiteX3" fmla="*/ 0 w 139595"/>
                <a:gd name="connsiteY3" fmla="*/ 75506 h 151012"/>
                <a:gd name="connsiteX4" fmla="*/ 75506 w 139595"/>
                <a:gd name="connsiteY4" fmla="*/ 0 h 151012"/>
                <a:gd name="connsiteX5" fmla="*/ 139595 w 139595"/>
                <a:gd name="connsiteY5" fmla="*/ 36079 h 151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595" h="151012">
                  <a:moveTo>
                    <a:pt x="139595" y="36079"/>
                  </a:moveTo>
                  <a:lnTo>
                    <a:pt x="139595" y="114934"/>
                  </a:lnTo>
                  <a:cubicBezTo>
                    <a:pt x="126275" y="136475"/>
                    <a:pt x="102680" y="151013"/>
                    <a:pt x="75506" y="151013"/>
                  </a:cubicBezTo>
                  <a:cubicBezTo>
                    <a:pt x="33795" y="151013"/>
                    <a:pt x="0" y="117218"/>
                    <a:pt x="0" y="75506"/>
                  </a:cubicBezTo>
                  <a:cubicBezTo>
                    <a:pt x="0" y="33795"/>
                    <a:pt x="33795" y="0"/>
                    <a:pt x="75506" y="0"/>
                  </a:cubicBezTo>
                  <a:cubicBezTo>
                    <a:pt x="102680" y="0"/>
                    <a:pt x="126275" y="14462"/>
                    <a:pt x="139595" y="36079"/>
                  </a:cubicBezTo>
                </a:path>
              </a:pathLst>
            </a:custGeom>
            <a:grpFill/>
            <a:ln w="7608" cap="flat">
              <a:noFill/>
              <a:prstDash val="solid"/>
              <a:miter/>
            </a:ln>
          </p:spPr>
          <p:txBody>
            <a:bodyPr rtlCol="0" anchor="ctr"/>
            <a:lstStyle/>
            <a:p>
              <a:endParaRPr lang="hi-IN"/>
            </a:p>
          </p:txBody>
        </p:sp>
        <p:sp>
          <p:nvSpPr>
            <p:cNvPr id="1956" name="Freeform: Shape 955"/>
            <p:cNvSpPr/>
            <p:nvPr/>
          </p:nvSpPr>
          <p:spPr>
            <a:xfrm>
              <a:off x="11947220" y="1401208"/>
              <a:ext cx="153144" cy="153144"/>
            </a:xfrm>
            <a:custGeom>
              <a:avLst/>
              <a:gdLst>
                <a:gd name="connsiteX0" fmla="*/ 153144 w 153144"/>
                <a:gd name="connsiteY0" fmla="*/ 76572 h 153144"/>
                <a:gd name="connsiteX1" fmla="*/ 76573 w 153144"/>
                <a:gd name="connsiteY1" fmla="*/ 153144 h 153144"/>
                <a:gd name="connsiteX2" fmla="*/ 0 w 153144"/>
                <a:gd name="connsiteY2" fmla="*/ 76572 h 153144"/>
                <a:gd name="connsiteX3" fmla="*/ 76573 w 153144"/>
                <a:gd name="connsiteY3" fmla="*/ 0 h 153144"/>
                <a:gd name="connsiteX4" fmla="*/ 153144 w 153144"/>
                <a:gd name="connsiteY4" fmla="*/ 76572 h 153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144" h="153144">
                  <a:moveTo>
                    <a:pt x="153144" y="76572"/>
                  </a:moveTo>
                  <a:cubicBezTo>
                    <a:pt x="153144" y="118892"/>
                    <a:pt x="118892" y="153144"/>
                    <a:pt x="76573" y="153144"/>
                  </a:cubicBezTo>
                  <a:cubicBezTo>
                    <a:pt x="34252" y="153144"/>
                    <a:pt x="0" y="118892"/>
                    <a:pt x="0" y="76572"/>
                  </a:cubicBezTo>
                  <a:cubicBezTo>
                    <a:pt x="0" y="34328"/>
                    <a:pt x="34252" y="0"/>
                    <a:pt x="76573" y="0"/>
                  </a:cubicBezTo>
                  <a:cubicBezTo>
                    <a:pt x="118892" y="0"/>
                    <a:pt x="153144" y="34252"/>
                    <a:pt x="153144" y="76572"/>
                  </a:cubicBezTo>
                </a:path>
              </a:pathLst>
            </a:custGeom>
            <a:grpFill/>
            <a:ln w="7608" cap="flat">
              <a:noFill/>
              <a:prstDash val="solid"/>
              <a:miter/>
            </a:ln>
          </p:spPr>
          <p:txBody>
            <a:bodyPr rtlCol="0" anchor="ctr"/>
            <a:lstStyle/>
            <a:p>
              <a:endParaRPr lang="hi-IN"/>
            </a:p>
          </p:txBody>
        </p:sp>
        <p:sp>
          <p:nvSpPr>
            <p:cNvPr id="1957" name="Freeform: Shape 956"/>
            <p:cNvSpPr/>
            <p:nvPr/>
          </p:nvSpPr>
          <p:spPr>
            <a:xfrm>
              <a:off x="11843856" y="1257198"/>
              <a:ext cx="155275" cy="155275"/>
            </a:xfrm>
            <a:custGeom>
              <a:avLst/>
              <a:gdLst>
                <a:gd name="connsiteX0" fmla="*/ 155276 w 155275"/>
                <a:gd name="connsiteY0" fmla="*/ 77638 h 155275"/>
                <a:gd name="connsiteX1" fmla="*/ 77637 w 155275"/>
                <a:gd name="connsiteY1" fmla="*/ 155276 h 155275"/>
                <a:gd name="connsiteX2" fmla="*/ 0 w 155275"/>
                <a:gd name="connsiteY2" fmla="*/ 77638 h 155275"/>
                <a:gd name="connsiteX3" fmla="*/ 77637 w 155275"/>
                <a:gd name="connsiteY3" fmla="*/ 0 h 155275"/>
                <a:gd name="connsiteX4" fmla="*/ 155276 w 155275"/>
                <a:gd name="connsiteY4" fmla="*/ 77638 h 155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275" h="155275">
                  <a:moveTo>
                    <a:pt x="155276" y="77638"/>
                  </a:moveTo>
                  <a:cubicBezTo>
                    <a:pt x="155276" y="120491"/>
                    <a:pt x="120490" y="155276"/>
                    <a:pt x="77637" y="155276"/>
                  </a:cubicBezTo>
                  <a:cubicBezTo>
                    <a:pt x="34784" y="155276"/>
                    <a:pt x="0" y="120491"/>
                    <a:pt x="0" y="77638"/>
                  </a:cubicBezTo>
                  <a:cubicBezTo>
                    <a:pt x="0" y="34785"/>
                    <a:pt x="34784" y="0"/>
                    <a:pt x="77637" y="0"/>
                  </a:cubicBezTo>
                  <a:cubicBezTo>
                    <a:pt x="120490" y="0"/>
                    <a:pt x="155276" y="34785"/>
                    <a:pt x="155276" y="77638"/>
                  </a:cubicBezTo>
                </a:path>
              </a:pathLst>
            </a:custGeom>
            <a:grpFill/>
            <a:ln w="7608" cap="flat">
              <a:noFill/>
              <a:prstDash val="solid"/>
              <a:miter/>
            </a:ln>
          </p:spPr>
          <p:txBody>
            <a:bodyPr rtlCol="0" anchor="ctr"/>
            <a:lstStyle/>
            <a:p>
              <a:endParaRPr lang="hi-IN"/>
            </a:p>
          </p:txBody>
        </p:sp>
        <p:sp>
          <p:nvSpPr>
            <p:cNvPr id="1958" name="Freeform: Shape 957"/>
            <p:cNvSpPr/>
            <p:nvPr/>
          </p:nvSpPr>
          <p:spPr>
            <a:xfrm>
              <a:off x="11736152" y="1117374"/>
              <a:ext cx="156341" cy="156341"/>
            </a:xfrm>
            <a:custGeom>
              <a:avLst/>
              <a:gdLst>
                <a:gd name="connsiteX0" fmla="*/ 156341 w 156341"/>
                <a:gd name="connsiteY0" fmla="*/ 78171 h 156341"/>
                <a:gd name="connsiteX1" fmla="*/ 78171 w 156341"/>
                <a:gd name="connsiteY1" fmla="*/ 156341 h 156341"/>
                <a:gd name="connsiteX2" fmla="*/ 0 w 156341"/>
                <a:gd name="connsiteY2" fmla="*/ 78171 h 156341"/>
                <a:gd name="connsiteX3" fmla="*/ 78171 w 156341"/>
                <a:gd name="connsiteY3" fmla="*/ 0 h 156341"/>
                <a:gd name="connsiteX4" fmla="*/ 156341 w 156341"/>
                <a:gd name="connsiteY4" fmla="*/ 78171 h 156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341" h="156341">
                  <a:moveTo>
                    <a:pt x="156341" y="78171"/>
                  </a:moveTo>
                  <a:cubicBezTo>
                    <a:pt x="156341" y="121328"/>
                    <a:pt x="121328" y="156341"/>
                    <a:pt x="78171" y="156341"/>
                  </a:cubicBezTo>
                  <a:cubicBezTo>
                    <a:pt x="35013" y="156341"/>
                    <a:pt x="0" y="121328"/>
                    <a:pt x="0" y="78171"/>
                  </a:cubicBezTo>
                  <a:cubicBezTo>
                    <a:pt x="0" y="35013"/>
                    <a:pt x="35013" y="0"/>
                    <a:pt x="78171" y="0"/>
                  </a:cubicBezTo>
                  <a:cubicBezTo>
                    <a:pt x="121328" y="0"/>
                    <a:pt x="156341" y="35013"/>
                    <a:pt x="156341" y="78171"/>
                  </a:cubicBezTo>
                </a:path>
              </a:pathLst>
            </a:custGeom>
            <a:grpFill/>
            <a:ln w="7608" cap="flat">
              <a:noFill/>
              <a:prstDash val="solid"/>
              <a:miter/>
            </a:ln>
          </p:spPr>
          <p:txBody>
            <a:bodyPr rtlCol="0" anchor="ctr"/>
            <a:lstStyle/>
            <a:p>
              <a:endParaRPr lang="hi-IN"/>
            </a:p>
          </p:txBody>
        </p:sp>
        <p:sp>
          <p:nvSpPr>
            <p:cNvPr id="1959" name="Freeform: Shape 958"/>
            <p:cNvSpPr/>
            <p:nvPr/>
          </p:nvSpPr>
          <p:spPr>
            <a:xfrm>
              <a:off x="11623654" y="981356"/>
              <a:ext cx="157407" cy="157406"/>
            </a:xfrm>
            <a:custGeom>
              <a:avLst/>
              <a:gdLst>
                <a:gd name="connsiteX0" fmla="*/ 157407 w 157407"/>
                <a:gd name="connsiteY0" fmla="*/ 78704 h 157406"/>
                <a:gd name="connsiteX1" fmla="*/ 78704 w 157407"/>
                <a:gd name="connsiteY1" fmla="*/ 157407 h 157406"/>
                <a:gd name="connsiteX2" fmla="*/ 0 w 157407"/>
                <a:gd name="connsiteY2" fmla="*/ 78704 h 157406"/>
                <a:gd name="connsiteX3" fmla="*/ 78704 w 157407"/>
                <a:gd name="connsiteY3" fmla="*/ 0 h 157406"/>
                <a:gd name="connsiteX4" fmla="*/ 157407 w 157407"/>
                <a:gd name="connsiteY4" fmla="*/ 78704 h 157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07" h="157406">
                  <a:moveTo>
                    <a:pt x="157407" y="78704"/>
                  </a:moveTo>
                  <a:cubicBezTo>
                    <a:pt x="157407" y="122165"/>
                    <a:pt x="122166" y="157407"/>
                    <a:pt x="78704" y="157407"/>
                  </a:cubicBezTo>
                  <a:cubicBezTo>
                    <a:pt x="35241" y="157407"/>
                    <a:pt x="0" y="122165"/>
                    <a:pt x="0" y="78704"/>
                  </a:cubicBezTo>
                  <a:cubicBezTo>
                    <a:pt x="0" y="35242"/>
                    <a:pt x="35241" y="0"/>
                    <a:pt x="78704" y="0"/>
                  </a:cubicBezTo>
                  <a:cubicBezTo>
                    <a:pt x="122166" y="-76"/>
                    <a:pt x="157407" y="35242"/>
                    <a:pt x="157407" y="78704"/>
                  </a:cubicBezTo>
                </a:path>
              </a:pathLst>
            </a:custGeom>
            <a:grpFill/>
            <a:ln w="7608" cap="flat">
              <a:noFill/>
              <a:prstDash val="solid"/>
              <a:miter/>
            </a:ln>
          </p:spPr>
          <p:txBody>
            <a:bodyPr rtlCol="0" anchor="ctr"/>
            <a:lstStyle/>
            <a:p>
              <a:endParaRPr lang="hi-IN"/>
            </a:p>
          </p:txBody>
        </p:sp>
        <p:sp>
          <p:nvSpPr>
            <p:cNvPr id="1960" name="Freeform: Shape 959"/>
            <p:cNvSpPr/>
            <p:nvPr/>
          </p:nvSpPr>
          <p:spPr>
            <a:xfrm>
              <a:off x="11506436" y="849143"/>
              <a:ext cx="158625" cy="158624"/>
            </a:xfrm>
            <a:custGeom>
              <a:avLst/>
              <a:gdLst>
                <a:gd name="connsiteX0" fmla="*/ 158625 w 158625"/>
                <a:gd name="connsiteY0" fmla="*/ 79312 h 158624"/>
                <a:gd name="connsiteX1" fmla="*/ 79313 w 158625"/>
                <a:gd name="connsiteY1" fmla="*/ 158625 h 158624"/>
                <a:gd name="connsiteX2" fmla="*/ 0 w 158625"/>
                <a:gd name="connsiteY2" fmla="*/ 79312 h 158624"/>
                <a:gd name="connsiteX3" fmla="*/ 79313 w 158625"/>
                <a:gd name="connsiteY3" fmla="*/ 0 h 158624"/>
                <a:gd name="connsiteX4" fmla="*/ 158625 w 158625"/>
                <a:gd name="connsiteY4" fmla="*/ 79312 h 158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25" h="158624">
                  <a:moveTo>
                    <a:pt x="158625" y="79312"/>
                  </a:moveTo>
                  <a:cubicBezTo>
                    <a:pt x="158625" y="123079"/>
                    <a:pt x="123155" y="158625"/>
                    <a:pt x="79313" y="158625"/>
                  </a:cubicBezTo>
                  <a:cubicBezTo>
                    <a:pt x="35546" y="158625"/>
                    <a:pt x="0" y="123155"/>
                    <a:pt x="0" y="79312"/>
                  </a:cubicBezTo>
                  <a:cubicBezTo>
                    <a:pt x="0" y="35546"/>
                    <a:pt x="35470" y="0"/>
                    <a:pt x="79313" y="0"/>
                  </a:cubicBezTo>
                  <a:cubicBezTo>
                    <a:pt x="123079" y="76"/>
                    <a:pt x="158625" y="35546"/>
                    <a:pt x="158625" y="79312"/>
                  </a:cubicBezTo>
                </a:path>
              </a:pathLst>
            </a:custGeom>
            <a:grpFill/>
            <a:ln w="7608" cap="flat">
              <a:noFill/>
              <a:prstDash val="solid"/>
              <a:miter/>
            </a:ln>
          </p:spPr>
          <p:txBody>
            <a:bodyPr rtlCol="0" anchor="ctr"/>
            <a:lstStyle/>
            <a:p>
              <a:endParaRPr lang="hi-IN"/>
            </a:p>
          </p:txBody>
        </p:sp>
        <p:sp>
          <p:nvSpPr>
            <p:cNvPr id="1961" name="Freeform: Shape 960"/>
            <p:cNvSpPr/>
            <p:nvPr/>
          </p:nvSpPr>
          <p:spPr>
            <a:xfrm>
              <a:off x="11385413" y="721726"/>
              <a:ext cx="158624" cy="158624"/>
            </a:xfrm>
            <a:custGeom>
              <a:avLst/>
              <a:gdLst>
                <a:gd name="connsiteX0" fmla="*/ 158624 w 158624"/>
                <a:gd name="connsiteY0" fmla="*/ 79312 h 158624"/>
                <a:gd name="connsiteX1" fmla="*/ 79312 w 158624"/>
                <a:gd name="connsiteY1" fmla="*/ 158625 h 158624"/>
                <a:gd name="connsiteX2" fmla="*/ 0 w 158624"/>
                <a:gd name="connsiteY2" fmla="*/ 79312 h 158624"/>
                <a:gd name="connsiteX3" fmla="*/ 79312 w 158624"/>
                <a:gd name="connsiteY3" fmla="*/ 0 h 158624"/>
                <a:gd name="connsiteX4" fmla="*/ 158624 w 158624"/>
                <a:gd name="connsiteY4" fmla="*/ 79312 h 158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24" h="158624">
                  <a:moveTo>
                    <a:pt x="158624" y="79312"/>
                  </a:moveTo>
                  <a:cubicBezTo>
                    <a:pt x="158624" y="123079"/>
                    <a:pt x="123154" y="158625"/>
                    <a:pt x="79312" y="158625"/>
                  </a:cubicBezTo>
                  <a:cubicBezTo>
                    <a:pt x="35545" y="158625"/>
                    <a:pt x="0" y="123155"/>
                    <a:pt x="0" y="79312"/>
                  </a:cubicBezTo>
                  <a:cubicBezTo>
                    <a:pt x="0" y="35546"/>
                    <a:pt x="35469" y="0"/>
                    <a:pt x="79312" y="0"/>
                  </a:cubicBezTo>
                  <a:cubicBezTo>
                    <a:pt x="123078" y="0"/>
                    <a:pt x="158624" y="35546"/>
                    <a:pt x="158624" y="79312"/>
                  </a:cubicBezTo>
                </a:path>
              </a:pathLst>
            </a:custGeom>
            <a:grpFill/>
            <a:ln w="7608" cap="flat">
              <a:noFill/>
              <a:prstDash val="solid"/>
              <a:miter/>
            </a:ln>
          </p:spPr>
          <p:txBody>
            <a:bodyPr rtlCol="0" anchor="ctr"/>
            <a:lstStyle/>
            <a:p>
              <a:endParaRPr lang="hi-IN"/>
            </a:p>
          </p:txBody>
        </p:sp>
        <p:sp>
          <p:nvSpPr>
            <p:cNvPr id="1962" name="Freeform: Shape 961"/>
            <p:cNvSpPr/>
            <p:nvPr/>
          </p:nvSpPr>
          <p:spPr>
            <a:xfrm>
              <a:off x="11260050" y="598495"/>
              <a:ext cx="158625" cy="158624"/>
            </a:xfrm>
            <a:custGeom>
              <a:avLst/>
              <a:gdLst>
                <a:gd name="connsiteX0" fmla="*/ 158625 w 158625"/>
                <a:gd name="connsiteY0" fmla="*/ 79312 h 158624"/>
                <a:gd name="connsiteX1" fmla="*/ 79313 w 158625"/>
                <a:gd name="connsiteY1" fmla="*/ 158625 h 158624"/>
                <a:gd name="connsiteX2" fmla="*/ 0 w 158625"/>
                <a:gd name="connsiteY2" fmla="*/ 79312 h 158624"/>
                <a:gd name="connsiteX3" fmla="*/ 79313 w 158625"/>
                <a:gd name="connsiteY3" fmla="*/ 0 h 158624"/>
                <a:gd name="connsiteX4" fmla="*/ 158625 w 158625"/>
                <a:gd name="connsiteY4" fmla="*/ 79312 h 158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25" h="158624">
                  <a:moveTo>
                    <a:pt x="158625" y="79312"/>
                  </a:moveTo>
                  <a:cubicBezTo>
                    <a:pt x="158625" y="123079"/>
                    <a:pt x="123155" y="158625"/>
                    <a:pt x="79313" y="158625"/>
                  </a:cubicBezTo>
                  <a:cubicBezTo>
                    <a:pt x="35546" y="158625"/>
                    <a:pt x="0" y="123155"/>
                    <a:pt x="0" y="79312"/>
                  </a:cubicBezTo>
                  <a:cubicBezTo>
                    <a:pt x="0" y="35546"/>
                    <a:pt x="35470" y="0"/>
                    <a:pt x="79313" y="0"/>
                  </a:cubicBezTo>
                  <a:cubicBezTo>
                    <a:pt x="123155" y="76"/>
                    <a:pt x="158625" y="35546"/>
                    <a:pt x="158625" y="79312"/>
                  </a:cubicBezTo>
                </a:path>
              </a:pathLst>
            </a:custGeom>
            <a:grpFill/>
            <a:ln w="7608" cap="flat">
              <a:noFill/>
              <a:prstDash val="solid"/>
              <a:miter/>
            </a:ln>
          </p:spPr>
          <p:txBody>
            <a:bodyPr rtlCol="0" anchor="ctr"/>
            <a:lstStyle/>
            <a:p>
              <a:endParaRPr lang="hi-IN"/>
            </a:p>
          </p:txBody>
        </p:sp>
        <p:sp>
          <p:nvSpPr>
            <p:cNvPr id="1963" name="Freeform: Shape 962"/>
            <p:cNvSpPr/>
            <p:nvPr/>
          </p:nvSpPr>
          <p:spPr>
            <a:xfrm>
              <a:off x="11131111" y="480288"/>
              <a:ext cx="157482" cy="157406"/>
            </a:xfrm>
            <a:custGeom>
              <a:avLst/>
              <a:gdLst>
                <a:gd name="connsiteX0" fmla="*/ 157482 w 157482"/>
                <a:gd name="connsiteY0" fmla="*/ 78703 h 157406"/>
                <a:gd name="connsiteX1" fmla="*/ 78779 w 157482"/>
                <a:gd name="connsiteY1" fmla="*/ 157407 h 157406"/>
                <a:gd name="connsiteX2" fmla="*/ 0 w 157482"/>
                <a:gd name="connsiteY2" fmla="*/ 78703 h 157406"/>
                <a:gd name="connsiteX3" fmla="*/ 78779 w 157482"/>
                <a:gd name="connsiteY3" fmla="*/ 0 h 157406"/>
                <a:gd name="connsiteX4" fmla="*/ 157482 w 157482"/>
                <a:gd name="connsiteY4" fmla="*/ 78703 h 157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82" h="157406">
                  <a:moveTo>
                    <a:pt x="157482" y="78703"/>
                  </a:moveTo>
                  <a:cubicBezTo>
                    <a:pt x="157482" y="122165"/>
                    <a:pt x="122241" y="157407"/>
                    <a:pt x="78779" y="157407"/>
                  </a:cubicBezTo>
                  <a:cubicBezTo>
                    <a:pt x="35318" y="157407"/>
                    <a:pt x="0" y="122165"/>
                    <a:pt x="0" y="78703"/>
                  </a:cubicBezTo>
                  <a:cubicBezTo>
                    <a:pt x="0" y="35241"/>
                    <a:pt x="35241" y="0"/>
                    <a:pt x="78779" y="0"/>
                  </a:cubicBezTo>
                  <a:cubicBezTo>
                    <a:pt x="122241" y="0"/>
                    <a:pt x="157482" y="35241"/>
                    <a:pt x="157482" y="78703"/>
                  </a:cubicBezTo>
                </a:path>
              </a:pathLst>
            </a:custGeom>
            <a:grpFill/>
            <a:ln w="7608" cap="flat">
              <a:noFill/>
              <a:prstDash val="solid"/>
              <a:miter/>
            </a:ln>
          </p:spPr>
          <p:txBody>
            <a:bodyPr rtlCol="0" anchor="ctr"/>
            <a:lstStyle/>
            <a:p>
              <a:endParaRPr lang="hi-IN"/>
            </a:p>
          </p:txBody>
        </p:sp>
        <p:sp>
          <p:nvSpPr>
            <p:cNvPr id="1964" name="Freeform: Shape 963"/>
            <p:cNvSpPr/>
            <p:nvPr/>
          </p:nvSpPr>
          <p:spPr>
            <a:xfrm>
              <a:off x="10997528" y="366039"/>
              <a:ext cx="157483" cy="157406"/>
            </a:xfrm>
            <a:custGeom>
              <a:avLst/>
              <a:gdLst>
                <a:gd name="connsiteX0" fmla="*/ 157483 w 157483"/>
                <a:gd name="connsiteY0" fmla="*/ 78703 h 157406"/>
                <a:gd name="connsiteX1" fmla="*/ 78780 w 157483"/>
                <a:gd name="connsiteY1" fmla="*/ 157407 h 157406"/>
                <a:gd name="connsiteX2" fmla="*/ 0 w 157483"/>
                <a:gd name="connsiteY2" fmla="*/ 78703 h 157406"/>
                <a:gd name="connsiteX3" fmla="*/ 78780 w 157483"/>
                <a:gd name="connsiteY3" fmla="*/ 0 h 157406"/>
                <a:gd name="connsiteX4" fmla="*/ 157483 w 157483"/>
                <a:gd name="connsiteY4" fmla="*/ 78703 h 157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83" h="157406">
                  <a:moveTo>
                    <a:pt x="157483" y="78703"/>
                  </a:moveTo>
                  <a:cubicBezTo>
                    <a:pt x="157483" y="122165"/>
                    <a:pt x="122242" y="157407"/>
                    <a:pt x="78780" y="157407"/>
                  </a:cubicBezTo>
                  <a:cubicBezTo>
                    <a:pt x="35318" y="157407"/>
                    <a:pt x="0" y="122165"/>
                    <a:pt x="0" y="78703"/>
                  </a:cubicBezTo>
                  <a:cubicBezTo>
                    <a:pt x="0" y="35241"/>
                    <a:pt x="35241" y="0"/>
                    <a:pt x="78780" y="0"/>
                  </a:cubicBezTo>
                  <a:cubicBezTo>
                    <a:pt x="122242" y="0"/>
                    <a:pt x="157483" y="35241"/>
                    <a:pt x="157483" y="78703"/>
                  </a:cubicBezTo>
                </a:path>
              </a:pathLst>
            </a:custGeom>
            <a:grpFill/>
            <a:ln w="7608" cap="flat">
              <a:noFill/>
              <a:prstDash val="solid"/>
              <a:miter/>
            </a:ln>
          </p:spPr>
          <p:txBody>
            <a:bodyPr rtlCol="0" anchor="ctr"/>
            <a:lstStyle/>
            <a:p>
              <a:endParaRPr lang="hi-IN"/>
            </a:p>
          </p:txBody>
        </p:sp>
        <p:sp>
          <p:nvSpPr>
            <p:cNvPr id="1965" name="Freeform: Shape 964"/>
            <p:cNvSpPr/>
            <p:nvPr/>
          </p:nvSpPr>
          <p:spPr>
            <a:xfrm>
              <a:off x="10861282" y="257498"/>
              <a:ext cx="155274" cy="155275"/>
            </a:xfrm>
            <a:custGeom>
              <a:avLst/>
              <a:gdLst>
                <a:gd name="connsiteX0" fmla="*/ 155275 w 155274"/>
                <a:gd name="connsiteY0" fmla="*/ 77638 h 155275"/>
                <a:gd name="connsiteX1" fmla="*/ 77637 w 155274"/>
                <a:gd name="connsiteY1" fmla="*/ 155275 h 155275"/>
                <a:gd name="connsiteX2" fmla="*/ 0 w 155274"/>
                <a:gd name="connsiteY2" fmla="*/ 77638 h 155275"/>
                <a:gd name="connsiteX3" fmla="*/ 77637 w 155274"/>
                <a:gd name="connsiteY3" fmla="*/ 0 h 155275"/>
                <a:gd name="connsiteX4" fmla="*/ 155275 w 155274"/>
                <a:gd name="connsiteY4" fmla="*/ 77638 h 155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274" h="155275">
                  <a:moveTo>
                    <a:pt x="155275" y="77638"/>
                  </a:moveTo>
                  <a:cubicBezTo>
                    <a:pt x="155275" y="120491"/>
                    <a:pt x="120490" y="155275"/>
                    <a:pt x="77637" y="155275"/>
                  </a:cubicBezTo>
                  <a:cubicBezTo>
                    <a:pt x="34784" y="155275"/>
                    <a:pt x="0" y="120491"/>
                    <a:pt x="0" y="77638"/>
                  </a:cubicBezTo>
                  <a:cubicBezTo>
                    <a:pt x="0" y="34785"/>
                    <a:pt x="34784" y="0"/>
                    <a:pt x="77637" y="0"/>
                  </a:cubicBezTo>
                  <a:cubicBezTo>
                    <a:pt x="120490" y="0"/>
                    <a:pt x="155275" y="34785"/>
                    <a:pt x="155275" y="77638"/>
                  </a:cubicBezTo>
                </a:path>
              </a:pathLst>
            </a:custGeom>
            <a:grpFill/>
            <a:ln w="7608" cap="flat">
              <a:noFill/>
              <a:prstDash val="solid"/>
              <a:miter/>
            </a:ln>
          </p:spPr>
          <p:txBody>
            <a:bodyPr rtlCol="0" anchor="ctr"/>
            <a:lstStyle/>
            <a:p>
              <a:endParaRPr lang="hi-IN"/>
            </a:p>
          </p:txBody>
        </p:sp>
        <p:sp>
          <p:nvSpPr>
            <p:cNvPr id="1966" name="Freeform: Shape 965"/>
            <p:cNvSpPr/>
            <p:nvPr/>
          </p:nvSpPr>
          <p:spPr>
            <a:xfrm>
              <a:off x="10720620" y="153296"/>
              <a:ext cx="154209" cy="154209"/>
            </a:xfrm>
            <a:custGeom>
              <a:avLst/>
              <a:gdLst>
                <a:gd name="connsiteX0" fmla="*/ 154210 w 154209"/>
                <a:gd name="connsiteY0" fmla="*/ 77105 h 154209"/>
                <a:gd name="connsiteX1" fmla="*/ 77105 w 154209"/>
                <a:gd name="connsiteY1" fmla="*/ 154210 h 154209"/>
                <a:gd name="connsiteX2" fmla="*/ 0 w 154209"/>
                <a:gd name="connsiteY2" fmla="*/ 77105 h 154209"/>
                <a:gd name="connsiteX3" fmla="*/ 77105 w 154209"/>
                <a:gd name="connsiteY3" fmla="*/ 0 h 154209"/>
                <a:gd name="connsiteX4" fmla="*/ 154210 w 154209"/>
                <a:gd name="connsiteY4" fmla="*/ 77105 h 1542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209" h="154209">
                  <a:moveTo>
                    <a:pt x="154210" y="77105"/>
                  </a:moveTo>
                  <a:cubicBezTo>
                    <a:pt x="154210" y="119654"/>
                    <a:pt x="119654" y="154210"/>
                    <a:pt x="77105" y="154210"/>
                  </a:cubicBezTo>
                  <a:cubicBezTo>
                    <a:pt x="34481" y="154210"/>
                    <a:pt x="0" y="119654"/>
                    <a:pt x="0" y="77105"/>
                  </a:cubicBezTo>
                  <a:cubicBezTo>
                    <a:pt x="0" y="34480"/>
                    <a:pt x="34557" y="0"/>
                    <a:pt x="77105" y="0"/>
                  </a:cubicBezTo>
                  <a:cubicBezTo>
                    <a:pt x="119730" y="-76"/>
                    <a:pt x="154210" y="34480"/>
                    <a:pt x="154210" y="77105"/>
                  </a:cubicBezTo>
                </a:path>
              </a:pathLst>
            </a:custGeom>
            <a:grpFill/>
            <a:ln w="7608" cap="flat">
              <a:noFill/>
              <a:prstDash val="solid"/>
              <a:miter/>
            </a:ln>
          </p:spPr>
          <p:txBody>
            <a:bodyPr rtlCol="0" anchor="ctr"/>
            <a:lstStyle/>
            <a:p>
              <a:endParaRPr lang="hi-IN"/>
            </a:p>
          </p:txBody>
        </p:sp>
        <p:sp>
          <p:nvSpPr>
            <p:cNvPr id="1967" name="Freeform: Shape 966"/>
            <p:cNvSpPr/>
            <p:nvPr/>
          </p:nvSpPr>
          <p:spPr>
            <a:xfrm>
              <a:off x="10577067" y="54498"/>
              <a:ext cx="152078" cy="152078"/>
            </a:xfrm>
            <a:custGeom>
              <a:avLst/>
              <a:gdLst>
                <a:gd name="connsiteX0" fmla="*/ 152078 w 152078"/>
                <a:gd name="connsiteY0" fmla="*/ 76039 h 152078"/>
                <a:gd name="connsiteX1" fmla="*/ 76039 w 152078"/>
                <a:gd name="connsiteY1" fmla="*/ 152079 h 152078"/>
                <a:gd name="connsiteX2" fmla="*/ 0 w 152078"/>
                <a:gd name="connsiteY2" fmla="*/ 76039 h 152078"/>
                <a:gd name="connsiteX3" fmla="*/ 76039 w 152078"/>
                <a:gd name="connsiteY3" fmla="*/ 0 h 152078"/>
                <a:gd name="connsiteX4" fmla="*/ 152078 w 152078"/>
                <a:gd name="connsiteY4" fmla="*/ 76039 h 152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78" h="152078">
                  <a:moveTo>
                    <a:pt x="152078" y="76039"/>
                  </a:moveTo>
                  <a:cubicBezTo>
                    <a:pt x="152078" y="118055"/>
                    <a:pt x="118055" y="152079"/>
                    <a:pt x="76039" y="152079"/>
                  </a:cubicBezTo>
                  <a:cubicBezTo>
                    <a:pt x="34023" y="152079"/>
                    <a:pt x="0" y="118055"/>
                    <a:pt x="0" y="76039"/>
                  </a:cubicBezTo>
                  <a:cubicBezTo>
                    <a:pt x="0" y="34024"/>
                    <a:pt x="34023" y="0"/>
                    <a:pt x="76039" y="0"/>
                  </a:cubicBezTo>
                  <a:cubicBezTo>
                    <a:pt x="118055" y="0"/>
                    <a:pt x="152078" y="34024"/>
                    <a:pt x="152078" y="76039"/>
                  </a:cubicBezTo>
                </a:path>
              </a:pathLst>
            </a:custGeom>
            <a:grpFill/>
            <a:ln w="7608" cap="flat">
              <a:noFill/>
              <a:prstDash val="solid"/>
              <a:miter/>
            </a:ln>
          </p:spPr>
          <p:txBody>
            <a:bodyPr rtlCol="0" anchor="ctr"/>
            <a:lstStyle/>
            <a:p>
              <a:endParaRPr lang="hi-IN"/>
            </a:p>
          </p:txBody>
        </p:sp>
        <p:sp>
          <p:nvSpPr>
            <p:cNvPr id="1968" name="Freeform: Shape 967"/>
            <p:cNvSpPr/>
            <p:nvPr/>
          </p:nvSpPr>
          <p:spPr>
            <a:xfrm>
              <a:off x="10430088" y="9514"/>
              <a:ext cx="149870" cy="101157"/>
            </a:xfrm>
            <a:custGeom>
              <a:avLst/>
              <a:gdLst>
                <a:gd name="connsiteX0" fmla="*/ 144923 w 149870"/>
                <a:gd name="connsiteY0" fmla="*/ 0 h 101157"/>
                <a:gd name="connsiteX1" fmla="*/ 149871 w 149870"/>
                <a:gd name="connsiteY1" fmla="*/ 26184 h 101157"/>
                <a:gd name="connsiteX2" fmla="*/ 74897 w 149870"/>
                <a:gd name="connsiteY2" fmla="*/ 101157 h 101157"/>
                <a:gd name="connsiteX3" fmla="*/ 0 w 149870"/>
                <a:gd name="connsiteY3" fmla="*/ 26184 h 101157"/>
                <a:gd name="connsiteX4" fmla="*/ 4948 w 149870"/>
                <a:gd name="connsiteY4" fmla="*/ 0 h 101157"/>
                <a:gd name="connsiteX5" fmla="*/ 144923 w 149870"/>
                <a:gd name="connsiteY5" fmla="*/ 0 h 10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870" h="101157">
                  <a:moveTo>
                    <a:pt x="144923" y="0"/>
                  </a:moveTo>
                  <a:cubicBezTo>
                    <a:pt x="147968" y="8220"/>
                    <a:pt x="149871" y="16974"/>
                    <a:pt x="149871" y="26184"/>
                  </a:cubicBezTo>
                  <a:cubicBezTo>
                    <a:pt x="149871" y="67591"/>
                    <a:pt x="116304" y="101157"/>
                    <a:pt x="74897" y="101157"/>
                  </a:cubicBezTo>
                  <a:cubicBezTo>
                    <a:pt x="33491" y="101157"/>
                    <a:pt x="0" y="67591"/>
                    <a:pt x="0" y="26184"/>
                  </a:cubicBezTo>
                  <a:cubicBezTo>
                    <a:pt x="0" y="16898"/>
                    <a:pt x="1903" y="8144"/>
                    <a:pt x="4948" y="0"/>
                  </a:cubicBezTo>
                  <a:lnTo>
                    <a:pt x="144923" y="0"/>
                  </a:lnTo>
                  <a:close/>
                </a:path>
              </a:pathLst>
            </a:custGeom>
            <a:grpFill/>
            <a:ln w="7608" cap="flat">
              <a:noFill/>
              <a:prstDash val="solid"/>
              <a:miter/>
            </a:ln>
          </p:spPr>
          <p:txBody>
            <a:bodyPr rtlCol="0" anchor="ctr"/>
            <a:lstStyle/>
            <a:p>
              <a:endParaRPr lang="hi-IN"/>
            </a:p>
          </p:txBody>
        </p:sp>
        <p:sp>
          <p:nvSpPr>
            <p:cNvPr id="1969" name="Freeform: Shape 968"/>
            <p:cNvSpPr/>
            <p:nvPr/>
          </p:nvSpPr>
          <p:spPr>
            <a:xfrm>
              <a:off x="12144741" y="1357670"/>
              <a:ext cx="40492" cy="140661"/>
            </a:xfrm>
            <a:custGeom>
              <a:avLst/>
              <a:gdLst>
                <a:gd name="connsiteX0" fmla="*/ 40493 w 40492"/>
                <a:gd name="connsiteY0" fmla="*/ 140661 h 140661"/>
                <a:gd name="connsiteX1" fmla="*/ 0 w 40492"/>
                <a:gd name="connsiteY1" fmla="*/ 70331 h 140661"/>
                <a:gd name="connsiteX2" fmla="*/ 40493 w 40492"/>
                <a:gd name="connsiteY2" fmla="*/ 0 h 140661"/>
                <a:gd name="connsiteX3" fmla="*/ 40493 w 40492"/>
                <a:gd name="connsiteY3" fmla="*/ 140661 h 140661"/>
              </a:gdLst>
              <a:ahLst/>
              <a:cxnLst>
                <a:cxn ang="0">
                  <a:pos x="connsiteX0" y="connsiteY0"/>
                </a:cxn>
                <a:cxn ang="0">
                  <a:pos x="connsiteX1" y="connsiteY1"/>
                </a:cxn>
                <a:cxn ang="0">
                  <a:pos x="connsiteX2" y="connsiteY2"/>
                </a:cxn>
                <a:cxn ang="0">
                  <a:pos x="connsiteX3" y="connsiteY3"/>
                </a:cxn>
              </a:cxnLst>
              <a:rect l="l" t="t" r="r" b="b"/>
              <a:pathLst>
                <a:path w="40492" h="140661">
                  <a:moveTo>
                    <a:pt x="40493" y="140661"/>
                  </a:moveTo>
                  <a:cubicBezTo>
                    <a:pt x="16364" y="126352"/>
                    <a:pt x="0" y="100396"/>
                    <a:pt x="0" y="70331"/>
                  </a:cubicBezTo>
                  <a:cubicBezTo>
                    <a:pt x="0" y="40265"/>
                    <a:pt x="16364" y="14310"/>
                    <a:pt x="40493" y="0"/>
                  </a:cubicBezTo>
                  <a:lnTo>
                    <a:pt x="40493" y="140661"/>
                  </a:lnTo>
                  <a:close/>
                </a:path>
              </a:pathLst>
            </a:custGeom>
            <a:grpFill/>
            <a:ln w="7608" cap="flat">
              <a:noFill/>
              <a:prstDash val="solid"/>
              <a:miter/>
            </a:ln>
          </p:spPr>
          <p:txBody>
            <a:bodyPr rtlCol="0" anchor="ctr"/>
            <a:lstStyle/>
            <a:p>
              <a:endParaRPr lang="hi-IN"/>
            </a:p>
          </p:txBody>
        </p:sp>
        <p:sp>
          <p:nvSpPr>
            <p:cNvPr id="1970" name="Freeform: Shape 969"/>
            <p:cNvSpPr/>
            <p:nvPr/>
          </p:nvSpPr>
          <p:spPr>
            <a:xfrm>
              <a:off x="12043430" y="1200492"/>
              <a:ext cx="141803" cy="166236"/>
            </a:xfrm>
            <a:custGeom>
              <a:avLst/>
              <a:gdLst>
                <a:gd name="connsiteX0" fmla="*/ 141803 w 141803"/>
                <a:gd name="connsiteY0" fmla="*/ 141955 h 166236"/>
                <a:gd name="connsiteX1" fmla="*/ 83118 w 141803"/>
                <a:gd name="connsiteY1" fmla="*/ 166236 h 166236"/>
                <a:gd name="connsiteX2" fmla="*/ 0 w 141803"/>
                <a:gd name="connsiteY2" fmla="*/ 83118 h 166236"/>
                <a:gd name="connsiteX3" fmla="*/ 83118 w 141803"/>
                <a:gd name="connsiteY3" fmla="*/ 0 h 166236"/>
                <a:gd name="connsiteX4" fmla="*/ 141803 w 141803"/>
                <a:gd name="connsiteY4" fmla="*/ 24281 h 166236"/>
                <a:gd name="connsiteX5" fmla="*/ 141803 w 141803"/>
                <a:gd name="connsiteY5" fmla="*/ 141955 h 16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1803" h="166236">
                  <a:moveTo>
                    <a:pt x="141803" y="141955"/>
                  </a:moveTo>
                  <a:cubicBezTo>
                    <a:pt x="126809" y="156950"/>
                    <a:pt x="106029" y="166236"/>
                    <a:pt x="83118" y="166236"/>
                  </a:cubicBezTo>
                  <a:cubicBezTo>
                    <a:pt x="37221" y="166236"/>
                    <a:pt x="0" y="129016"/>
                    <a:pt x="0" y="83118"/>
                  </a:cubicBezTo>
                  <a:cubicBezTo>
                    <a:pt x="0" y="37220"/>
                    <a:pt x="37221" y="0"/>
                    <a:pt x="83118" y="0"/>
                  </a:cubicBezTo>
                  <a:cubicBezTo>
                    <a:pt x="106029" y="0"/>
                    <a:pt x="126732" y="9286"/>
                    <a:pt x="141803" y="24281"/>
                  </a:cubicBezTo>
                  <a:lnTo>
                    <a:pt x="141803" y="141955"/>
                  </a:lnTo>
                  <a:close/>
                </a:path>
              </a:pathLst>
            </a:custGeom>
            <a:grpFill/>
            <a:ln w="7608" cap="flat">
              <a:noFill/>
              <a:prstDash val="solid"/>
              <a:miter/>
            </a:ln>
          </p:spPr>
          <p:txBody>
            <a:bodyPr rtlCol="0" anchor="ctr"/>
            <a:lstStyle/>
            <a:p>
              <a:endParaRPr lang="hi-IN"/>
            </a:p>
          </p:txBody>
        </p:sp>
        <p:sp>
          <p:nvSpPr>
            <p:cNvPr id="1971" name="Freeform: Shape 970"/>
            <p:cNvSpPr/>
            <p:nvPr/>
          </p:nvSpPr>
          <p:spPr>
            <a:xfrm>
              <a:off x="11937935" y="1058993"/>
              <a:ext cx="167301" cy="167301"/>
            </a:xfrm>
            <a:custGeom>
              <a:avLst/>
              <a:gdLst>
                <a:gd name="connsiteX0" fmla="*/ 167302 w 167301"/>
                <a:gd name="connsiteY0" fmla="*/ 83651 h 167301"/>
                <a:gd name="connsiteX1" fmla="*/ 83651 w 167301"/>
                <a:gd name="connsiteY1" fmla="*/ 167302 h 167301"/>
                <a:gd name="connsiteX2" fmla="*/ 0 w 167301"/>
                <a:gd name="connsiteY2" fmla="*/ 83651 h 167301"/>
                <a:gd name="connsiteX3" fmla="*/ 83651 w 167301"/>
                <a:gd name="connsiteY3" fmla="*/ 0 h 167301"/>
                <a:gd name="connsiteX4" fmla="*/ 167302 w 167301"/>
                <a:gd name="connsiteY4" fmla="*/ 83651 h 167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01" h="167301">
                  <a:moveTo>
                    <a:pt x="167302" y="83651"/>
                  </a:moveTo>
                  <a:cubicBezTo>
                    <a:pt x="167302" y="129853"/>
                    <a:pt x="129852" y="167302"/>
                    <a:pt x="83651" y="167302"/>
                  </a:cubicBezTo>
                  <a:cubicBezTo>
                    <a:pt x="37449" y="167302"/>
                    <a:pt x="0" y="129853"/>
                    <a:pt x="0" y="83651"/>
                  </a:cubicBezTo>
                  <a:cubicBezTo>
                    <a:pt x="0" y="37449"/>
                    <a:pt x="37449" y="0"/>
                    <a:pt x="83651" y="0"/>
                  </a:cubicBezTo>
                  <a:cubicBezTo>
                    <a:pt x="129852" y="0"/>
                    <a:pt x="167302" y="37449"/>
                    <a:pt x="167302" y="83651"/>
                  </a:cubicBezTo>
                </a:path>
              </a:pathLst>
            </a:custGeom>
            <a:grpFill/>
            <a:ln w="7608" cap="flat">
              <a:noFill/>
              <a:prstDash val="solid"/>
              <a:miter/>
            </a:ln>
          </p:spPr>
          <p:txBody>
            <a:bodyPr rtlCol="0" anchor="ctr"/>
            <a:lstStyle/>
            <a:p>
              <a:endParaRPr lang="hi-IN"/>
            </a:p>
          </p:txBody>
        </p:sp>
        <p:sp>
          <p:nvSpPr>
            <p:cNvPr id="1972" name="Freeform: Shape 971"/>
            <p:cNvSpPr/>
            <p:nvPr/>
          </p:nvSpPr>
          <p:spPr>
            <a:xfrm>
              <a:off x="11827796" y="920996"/>
              <a:ext cx="168367" cy="168367"/>
            </a:xfrm>
            <a:custGeom>
              <a:avLst/>
              <a:gdLst>
                <a:gd name="connsiteX0" fmla="*/ 168367 w 168367"/>
                <a:gd name="connsiteY0" fmla="*/ 84184 h 168367"/>
                <a:gd name="connsiteX1" fmla="*/ 84183 w 168367"/>
                <a:gd name="connsiteY1" fmla="*/ 168367 h 168367"/>
                <a:gd name="connsiteX2" fmla="*/ 0 w 168367"/>
                <a:gd name="connsiteY2" fmla="*/ 84184 h 168367"/>
                <a:gd name="connsiteX3" fmla="*/ 84183 w 168367"/>
                <a:gd name="connsiteY3" fmla="*/ 0 h 168367"/>
                <a:gd name="connsiteX4" fmla="*/ 168367 w 168367"/>
                <a:gd name="connsiteY4" fmla="*/ 84184 h 16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67" h="168367">
                  <a:moveTo>
                    <a:pt x="168367" y="84184"/>
                  </a:moveTo>
                  <a:cubicBezTo>
                    <a:pt x="168367" y="130690"/>
                    <a:pt x="130690" y="168367"/>
                    <a:pt x="84183" y="168367"/>
                  </a:cubicBezTo>
                  <a:cubicBezTo>
                    <a:pt x="37677" y="168367"/>
                    <a:pt x="0" y="130690"/>
                    <a:pt x="0" y="84184"/>
                  </a:cubicBezTo>
                  <a:cubicBezTo>
                    <a:pt x="0" y="37677"/>
                    <a:pt x="37677" y="0"/>
                    <a:pt x="84183" y="0"/>
                  </a:cubicBezTo>
                  <a:cubicBezTo>
                    <a:pt x="130690" y="76"/>
                    <a:pt x="168367" y="37753"/>
                    <a:pt x="168367" y="84184"/>
                  </a:cubicBezTo>
                </a:path>
              </a:pathLst>
            </a:custGeom>
            <a:grpFill/>
            <a:ln w="7608" cap="flat">
              <a:noFill/>
              <a:prstDash val="solid"/>
              <a:miter/>
            </a:ln>
          </p:spPr>
          <p:txBody>
            <a:bodyPr rtlCol="0" anchor="ctr"/>
            <a:lstStyle/>
            <a:p>
              <a:endParaRPr lang="hi-IN"/>
            </a:p>
          </p:txBody>
        </p:sp>
        <p:sp>
          <p:nvSpPr>
            <p:cNvPr id="1973" name="Freeform: Shape 972"/>
            <p:cNvSpPr/>
            <p:nvPr/>
          </p:nvSpPr>
          <p:spPr>
            <a:xfrm>
              <a:off x="11713165" y="786805"/>
              <a:ext cx="169433" cy="169432"/>
            </a:xfrm>
            <a:custGeom>
              <a:avLst/>
              <a:gdLst>
                <a:gd name="connsiteX0" fmla="*/ 169433 w 169433"/>
                <a:gd name="connsiteY0" fmla="*/ 84716 h 169432"/>
                <a:gd name="connsiteX1" fmla="*/ 84717 w 169433"/>
                <a:gd name="connsiteY1" fmla="*/ 169433 h 169432"/>
                <a:gd name="connsiteX2" fmla="*/ 0 w 169433"/>
                <a:gd name="connsiteY2" fmla="*/ 84716 h 169432"/>
                <a:gd name="connsiteX3" fmla="*/ 84717 w 169433"/>
                <a:gd name="connsiteY3" fmla="*/ 0 h 169432"/>
                <a:gd name="connsiteX4" fmla="*/ 169433 w 169433"/>
                <a:gd name="connsiteY4" fmla="*/ 84716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6"/>
                  </a:moveTo>
                  <a:cubicBezTo>
                    <a:pt x="169433" y="131527"/>
                    <a:pt x="131528" y="169433"/>
                    <a:pt x="84717" y="169433"/>
                  </a:cubicBezTo>
                  <a:cubicBezTo>
                    <a:pt x="37905" y="169433"/>
                    <a:pt x="0" y="131527"/>
                    <a:pt x="0" y="84716"/>
                  </a:cubicBezTo>
                  <a:cubicBezTo>
                    <a:pt x="0" y="37905"/>
                    <a:pt x="37905" y="0"/>
                    <a:pt x="84717" y="0"/>
                  </a:cubicBezTo>
                  <a:cubicBezTo>
                    <a:pt x="131528" y="0"/>
                    <a:pt x="169433" y="37905"/>
                    <a:pt x="169433" y="84716"/>
                  </a:cubicBezTo>
                </a:path>
              </a:pathLst>
            </a:custGeom>
            <a:grpFill/>
            <a:ln w="7608" cap="flat">
              <a:noFill/>
              <a:prstDash val="solid"/>
              <a:miter/>
            </a:ln>
          </p:spPr>
          <p:txBody>
            <a:bodyPr rtlCol="0" anchor="ctr"/>
            <a:lstStyle/>
            <a:p>
              <a:endParaRPr lang="hi-IN"/>
            </a:p>
          </p:txBody>
        </p:sp>
        <p:sp>
          <p:nvSpPr>
            <p:cNvPr id="1974" name="Freeform: Shape 973"/>
            <p:cNvSpPr/>
            <p:nvPr/>
          </p:nvSpPr>
          <p:spPr>
            <a:xfrm>
              <a:off x="11594730" y="656952"/>
              <a:ext cx="169433" cy="169432"/>
            </a:xfrm>
            <a:custGeom>
              <a:avLst/>
              <a:gdLst>
                <a:gd name="connsiteX0" fmla="*/ 169433 w 169433"/>
                <a:gd name="connsiteY0" fmla="*/ 84717 h 169432"/>
                <a:gd name="connsiteX1" fmla="*/ 84717 w 169433"/>
                <a:gd name="connsiteY1" fmla="*/ 169433 h 169432"/>
                <a:gd name="connsiteX2" fmla="*/ 0 w 169433"/>
                <a:gd name="connsiteY2" fmla="*/ 84717 h 169432"/>
                <a:gd name="connsiteX3" fmla="*/ 84717 w 169433"/>
                <a:gd name="connsiteY3" fmla="*/ 0 h 169432"/>
                <a:gd name="connsiteX4" fmla="*/ 169433 w 169433"/>
                <a:gd name="connsiteY4" fmla="*/ 84717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7"/>
                  </a:moveTo>
                  <a:cubicBezTo>
                    <a:pt x="169433" y="131527"/>
                    <a:pt x="131527" y="169433"/>
                    <a:pt x="84717" y="169433"/>
                  </a:cubicBezTo>
                  <a:cubicBezTo>
                    <a:pt x="37905" y="169433"/>
                    <a:pt x="0" y="131527"/>
                    <a:pt x="0" y="84717"/>
                  </a:cubicBezTo>
                  <a:cubicBezTo>
                    <a:pt x="0" y="37906"/>
                    <a:pt x="37905" y="0"/>
                    <a:pt x="84717" y="0"/>
                  </a:cubicBezTo>
                  <a:cubicBezTo>
                    <a:pt x="131527" y="0"/>
                    <a:pt x="169433" y="37906"/>
                    <a:pt x="169433" y="84717"/>
                  </a:cubicBezTo>
                </a:path>
              </a:pathLst>
            </a:custGeom>
            <a:grpFill/>
            <a:ln w="7608" cap="flat">
              <a:noFill/>
              <a:prstDash val="solid"/>
              <a:miter/>
            </a:ln>
          </p:spPr>
          <p:txBody>
            <a:bodyPr rtlCol="0" anchor="ctr"/>
            <a:lstStyle/>
            <a:p>
              <a:endParaRPr lang="hi-IN"/>
            </a:p>
          </p:txBody>
        </p:sp>
        <p:sp>
          <p:nvSpPr>
            <p:cNvPr id="1975" name="Freeform: Shape 974"/>
            <p:cNvSpPr/>
            <p:nvPr/>
          </p:nvSpPr>
          <p:spPr>
            <a:xfrm>
              <a:off x="11471423" y="530600"/>
              <a:ext cx="170498" cy="170498"/>
            </a:xfrm>
            <a:custGeom>
              <a:avLst/>
              <a:gdLst>
                <a:gd name="connsiteX0" fmla="*/ 170499 w 170498"/>
                <a:gd name="connsiteY0" fmla="*/ 85249 h 170498"/>
                <a:gd name="connsiteX1" fmla="*/ 85250 w 170498"/>
                <a:gd name="connsiteY1" fmla="*/ 170499 h 170498"/>
                <a:gd name="connsiteX2" fmla="*/ 0 w 170498"/>
                <a:gd name="connsiteY2" fmla="*/ 85249 h 170498"/>
                <a:gd name="connsiteX3" fmla="*/ 85250 w 170498"/>
                <a:gd name="connsiteY3" fmla="*/ 0 h 170498"/>
                <a:gd name="connsiteX4" fmla="*/ 170499 w 170498"/>
                <a:gd name="connsiteY4" fmla="*/ 85249 h 170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498" h="170498">
                  <a:moveTo>
                    <a:pt x="170499" y="85249"/>
                  </a:moveTo>
                  <a:cubicBezTo>
                    <a:pt x="170499" y="132365"/>
                    <a:pt x="132289" y="170499"/>
                    <a:pt x="85250" y="170499"/>
                  </a:cubicBezTo>
                  <a:cubicBezTo>
                    <a:pt x="38210" y="170499"/>
                    <a:pt x="0" y="132289"/>
                    <a:pt x="0" y="85249"/>
                  </a:cubicBezTo>
                  <a:cubicBezTo>
                    <a:pt x="0" y="38134"/>
                    <a:pt x="38210" y="0"/>
                    <a:pt x="85250" y="0"/>
                  </a:cubicBezTo>
                  <a:cubicBezTo>
                    <a:pt x="132365" y="0"/>
                    <a:pt x="170499" y="38134"/>
                    <a:pt x="170499" y="85249"/>
                  </a:cubicBezTo>
                </a:path>
              </a:pathLst>
            </a:custGeom>
            <a:grpFill/>
            <a:ln w="7608" cap="flat">
              <a:noFill/>
              <a:prstDash val="solid"/>
              <a:miter/>
            </a:ln>
          </p:spPr>
          <p:txBody>
            <a:bodyPr rtlCol="0" anchor="ctr"/>
            <a:lstStyle/>
            <a:p>
              <a:endParaRPr lang="hi-IN"/>
            </a:p>
          </p:txBody>
        </p:sp>
        <p:sp>
          <p:nvSpPr>
            <p:cNvPr id="1976" name="Freeform: Shape 975"/>
            <p:cNvSpPr/>
            <p:nvPr/>
          </p:nvSpPr>
          <p:spPr>
            <a:xfrm>
              <a:off x="11345148" y="409424"/>
              <a:ext cx="169433" cy="169432"/>
            </a:xfrm>
            <a:custGeom>
              <a:avLst/>
              <a:gdLst>
                <a:gd name="connsiteX0" fmla="*/ 169433 w 169433"/>
                <a:gd name="connsiteY0" fmla="*/ 84716 h 169432"/>
                <a:gd name="connsiteX1" fmla="*/ 84717 w 169433"/>
                <a:gd name="connsiteY1" fmla="*/ 169433 h 169432"/>
                <a:gd name="connsiteX2" fmla="*/ 0 w 169433"/>
                <a:gd name="connsiteY2" fmla="*/ 84716 h 169432"/>
                <a:gd name="connsiteX3" fmla="*/ 84717 w 169433"/>
                <a:gd name="connsiteY3" fmla="*/ 0 h 169432"/>
                <a:gd name="connsiteX4" fmla="*/ 169433 w 169433"/>
                <a:gd name="connsiteY4" fmla="*/ 84716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6"/>
                  </a:moveTo>
                  <a:cubicBezTo>
                    <a:pt x="169433" y="131527"/>
                    <a:pt x="131528" y="169433"/>
                    <a:pt x="84717" y="169433"/>
                  </a:cubicBezTo>
                  <a:cubicBezTo>
                    <a:pt x="37905" y="169433"/>
                    <a:pt x="0" y="131527"/>
                    <a:pt x="0" y="84716"/>
                  </a:cubicBezTo>
                  <a:cubicBezTo>
                    <a:pt x="0" y="37905"/>
                    <a:pt x="37905" y="0"/>
                    <a:pt x="84717" y="0"/>
                  </a:cubicBezTo>
                  <a:cubicBezTo>
                    <a:pt x="131528" y="0"/>
                    <a:pt x="169433" y="37982"/>
                    <a:pt x="169433" y="84716"/>
                  </a:cubicBezTo>
                </a:path>
              </a:pathLst>
            </a:custGeom>
            <a:grpFill/>
            <a:ln w="7608" cap="flat">
              <a:noFill/>
              <a:prstDash val="solid"/>
              <a:miter/>
            </a:ln>
          </p:spPr>
          <p:txBody>
            <a:bodyPr rtlCol="0" anchor="ctr"/>
            <a:lstStyle/>
            <a:p>
              <a:endParaRPr lang="hi-IN"/>
            </a:p>
          </p:txBody>
        </p:sp>
        <p:sp>
          <p:nvSpPr>
            <p:cNvPr id="1977" name="Freeform: Shape 976"/>
            <p:cNvSpPr/>
            <p:nvPr/>
          </p:nvSpPr>
          <p:spPr>
            <a:xfrm>
              <a:off x="11214305" y="292054"/>
              <a:ext cx="169433" cy="169432"/>
            </a:xfrm>
            <a:custGeom>
              <a:avLst/>
              <a:gdLst>
                <a:gd name="connsiteX0" fmla="*/ 169433 w 169433"/>
                <a:gd name="connsiteY0" fmla="*/ 84716 h 169432"/>
                <a:gd name="connsiteX1" fmla="*/ 84717 w 169433"/>
                <a:gd name="connsiteY1" fmla="*/ 169433 h 169432"/>
                <a:gd name="connsiteX2" fmla="*/ 0 w 169433"/>
                <a:gd name="connsiteY2" fmla="*/ 84716 h 169432"/>
                <a:gd name="connsiteX3" fmla="*/ 84717 w 169433"/>
                <a:gd name="connsiteY3" fmla="*/ 0 h 169432"/>
                <a:gd name="connsiteX4" fmla="*/ 169433 w 169433"/>
                <a:gd name="connsiteY4" fmla="*/ 84716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6"/>
                  </a:moveTo>
                  <a:cubicBezTo>
                    <a:pt x="169433" y="131527"/>
                    <a:pt x="131528" y="169433"/>
                    <a:pt x="84717" y="169433"/>
                  </a:cubicBezTo>
                  <a:cubicBezTo>
                    <a:pt x="37906" y="169433"/>
                    <a:pt x="0" y="131527"/>
                    <a:pt x="0" y="84716"/>
                  </a:cubicBezTo>
                  <a:cubicBezTo>
                    <a:pt x="0" y="37905"/>
                    <a:pt x="37906" y="0"/>
                    <a:pt x="84717" y="0"/>
                  </a:cubicBezTo>
                  <a:cubicBezTo>
                    <a:pt x="131528" y="0"/>
                    <a:pt x="169433" y="37905"/>
                    <a:pt x="169433" y="84716"/>
                  </a:cubicBezTo>
                </a:path>
              </a:pathLst>
            </a:custGeom>
            <a:grpFill/>
            <a:ln w="7608" cap="flat">
              <a:noFill/>
              <a:prstDash val="solid"/>
              <a:miter/>
            </a:ln>
          </p:spPr>
          <p:txBody>
            <a:bodyPr rtlCol="0" anchor="ctr"/>
            <a:lstStyle/>
            <a:p>
              <a:endParaRPr lang="hi-IN"/>
            </a:p>
          </p:txBody>
        </p:sp>
        <p:sp>
          <p:nvSpPr>
            <p:cNvPr id="1978" name="Freeform: Shape 977"/>
            <p:cNvSpPr/>
            <p:nvPr/>
          </p:nvSpPr>
          <p:spPr>
            <a:xfrm>
              <a:off x="11080189" y="179632"/>
              <a:ext cx="168367" cy="168367"/>
            </a:xfrm>
            <a:custGeom>
              <a:avLst/>
              <a:gdLst>
                <a:gd name="connsiteX0" fmla="*/ 168367 w 168367"/>
                <a:gd name="connsiteY0" fmla="*/ 84184 h 168367"/>
                <a:gd name="connsiteX1" fmla="*/ 84184 w 168367"/>
                <a:gd name="connsiteY1" fmla="*/ 168367 h 168367"/>
                <a:gd name="connsiteX2" fmla="*/ 0 w 168367"/>
                <a:gd name="connsiteY2" fmla="*/ 84184 h 168367"/>
                <a:gd name="connsiteX3" fmla="*/ 84184 w 168367"/>
                <a:gd name="connsiteY3" fmla="*/ 0 h 168367"/>
                <a:gd name="connsiteX4" fmla="*/ 168367 w 168367"/>
                <a:gd name="connsiteY4" fmla="*/ 84184 h 16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67" h="168367">
                  <a:moveTo>
                    <a:pt x="168367" y="84184"/>
                  </a:moveTo>
                  <a:cubicBezTo>
                    <a:pt x="168367" y="130690"/>
                    <a:pt x="130691" y="168367"/>
                    <a:pt x="84184" y="168367"/>
                  </a:cubicBezTo>
                  <a:cubicBezTo>
                    <a:pt x="37678" y="168367"/>
                    <a:pt x="0" y="130690"/>
                    <a:pt x="0" y="84184"/>
                  </a:cubicBezTo>
                  <a:cubicBezTo>
                    <a:pt x="0" y="37677"/>
                    <a:pt x="37678" y="0"/>
                    <a:pt x="84184" y="0"/>
                  </a:cubicBezTo>
                  <a:cubicBezTo>
                    <a:pt x="130691" y="0"/>
                    <a:pt x="168367" y="37677"/>
                    <a:pt x="168367" y="84184"/>
                  </a:cubicBezTo>
                </a:path>
              </a:pathLst>
            </a:custGeom>
            <a:grpFill/>
            <a:ln w="7608" cap="flat">
              <a:noFill/>
              <a:prstDash val="solid"/>
              <a:miter/>
            </a:ln>
          </p:spPr>
          <p:txBody>
            <a:bodyPr rtlCol="0" anchor="ctr"/>
            <a:lstStyle/>
            <a:p>
              <a:endParaRPr lang="hi-IN"/>
            </a:p>
          </p:txBody>
        </p:sp>
        <p:sp>
          <p:nvSpPr>
            <p:cNvPr id="1979" name="Freeform: Shape 978"/>
            <p:cNvSpPr/>
            <p:nvPr/>
          </p:nvSpPr>
          <p:spPr>
            <a:xfrm>
              <a:off x="10942421" y="71700"/>
              <a:ext cx="167301" cy="167301"/>
            </a:xfrm>
            <a:custGeom>
              <a:avLst/>
              <a:gdLst>
                <a:gd name="connsiteX0" fmla="*/ 167302 w 167301"/>
                <a:gd name="connsiteY0" fmla="*/ 83651 h 167301"/>
                <a:gd name="connsiteX1" fmla="*/ 83651 w 167301"/>
                <a:gd name="connsiteY1" fmla="*/ 167302 h 167301"/>
                <a:gd name="connsiteX2" fmla="*/ 0 w 167301"/>
                <a:gd name="connsiteY2" fmla="*/ 83651 h 167301"/>
                <a:gd name="connsiteX3" fmla="*/ 83651 w 167301"/>
                <a:gd name="connsiteY3" fmla="*/ 0 h 167301"/>
                <a:gd name="connsiteX4" fmla="*/ 167302 w 167301"/>
                <a:gd name="connsiteY4" fmla="*/ 83651 h 167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01" h="167301">
                  <a:moveTo>
                    <a:pt x="167302" y="83651"/>
                  </a:moveTo>
                  <a:cubicBezTo>
                    <a:pt x="167302" y="129853"/>
                    <a:pt x="129853" y="167302"/>
                    <a:pt x="83651" y="167302"/>
                  </a:cubicBezTo>
                  <a:cubicBezTo>
                    <a:pt x="37449" y="167302"/>
                    <a:pt x="0" y="129853"/>
                    <a:pt x="0" y="83651"/>
                  </a:cubicBezTo>
                  <a:cubicBezTo>
                    <a:pt x="0" y="37449"/>
                    <a:pt x="37449" y="0"/>
                    <a:pt x="83651" y="0"/>
                  </a:cubicBezTo>
                  <a:cubicBezTo>
                    <a:pt x="129853" y="0"/>
                    <a:pt x="167302" y="37449"/>
                    <a:pt x="167302" y="83651"/>
                  </a:cubicBezTo>
                </a:path>
              </a:pathLst>
            </a:custGeom>
            <a:grpFill/>
            <a:ln w="7608" cap="flat">
              <a:noFill/>
              <a:prstDash val="solid"/>
              <a:miter/>
            </a:ln>
          </p:spPr>
          <p:txBody>
            <a:bodyPr rtlCol="0" anchor="ctr"/>
            <a:lstStyle/>
            <a:p>
              <a:endParaRPr lang="hi-IN"/>
            </a:p>
          </p:txBody>
        </p:sp>
        <p:sp>
          <p:nvSpPr>
            <p:cNvPr id="1980" name="Freeform: Shape 979"/>
            <p:cNvSpPr/>
            <p:nvPr/>
          </p:nvSpPr>
          <p:spPr>
            <a:xfrm>
              <a:off x="10801683" y="9514"/>
              <a:ext cx="165094" cy="124524"/>
            </a:xfrm>
            <a:custGeom>
              <a:avLst/>
              <a:gdLst>
                <a:gd name="connsiteX0" fmla="*/ 153220 w 165094"/>
                <a:gd name="connsiteY0" fmla="*/ 0 h 124524"/>
                <a:gd name="connsiteX1" fmla="*/ 165095 w 165094"/>
                <a:gd name="connsiteY1" fmla="*/ 42016 h 124524"/>
                <a:gd name="connsiteX2" fmla="*/ 82585 w 165094"/>
                <a:gd name="connsiteY2" fmla="*/ 124525 h 124524"/>
                <a:gd name="connsiteX3" fmla="*/ 0 w 165094"/>
                <a:gd name="connsiteY3" fmla="*/ 42016 h 124524"/>
                <a:gd name="connsiteX4" fmla="*/ 11874 w 165094"/>
                <a:gd name="connsiteY4" fmla="*/ 0 h 124524"/>
                <a:gd name="connsiteX5" fmla="*/ 153220 w 165094"/>
                <a:gd name="connsiteY5" fmla="*/ 0 h 124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094" h="124524">
                  <a:moveTo>
                    <a:pt x="153220" y="0"/>
                  </a:moveTo>
                  <a:cubicBezTo>
                    <a:pt x="160603" y="12331"/>
                    <a:pt x="165095" y="26640"/>
                    <a:pt x="165095" y="42016"/>
                  </a:cubicBezTo>
                  <a:cubicBezTo>
                    <a:pt x="165095" y="87609"/>
                    <a:pt x="128103" y="124525"/>
                    <a:pt x="82585" y="124525"/>
                  </a:cubicBezTo>
                  <a:cubicBezTo>
                    <a:pt x="36992" y="124525"/>
                    <a:pt x="0" y="87533"/>
                    <a:pt x="0" y="42016"/>
                  </a:cubicBezTo>
                  <a:cubicBezTo>
                    <a:pt x="0" y="26564"/>
                    <a:pt x="4491" y="12331"/>
                    <a:pt x="11874" y="0"/>
                  </a:cubicBezTo>
                  <a:lnTo>
                    <a:pt x="153220" y="0"/>
                  </a:lnTo>
                  <a:close/>
                </a:path>
              </a:pathLst>
            </a:custGeom>
            <a:grpFill/>
            <a:ln w="7608" cap="flat">
              <a:noFill/>
              <a:prstDash val="solid"/>
              <a:miter/>
            </a:ln>
          </p:spPr>
          <p:txBody>
            <a:bodyPr rtlCol="0" anchor="ctr"/>
            <a:lstStyle/>
            <a:p>
              <a:endParaRPr lang="hi-IN"/>
            </a:p>
          </p:txBody>
        </p:sp>
        <p:sp>
          <p:nvSpPr>
            <p:cNvPr id="1981" name="Freeform: Shape 980"/>
            <p:cNvSpPr/>
            <p:nvPr/>
          </p:nvSpPr>
          <p:spPr>
            <a:xfrm>
              <a:off x="12138270" y="1012259"/>
              <a:ext cx="46963" cy="156645"/>
            </a:xfrm>
            <a:custGeom>
              <a:avLst/>
              <a:gdLst>
                <a:gd name="connsiteX0" fmla="*/ 46964 w 46963"/>
                <a:gd name="connsiteY0" fmla="*/ 156646 h 156645"/>
                <a:gd name="connsiteX1" fmla="*/ 0 w 46963"/>
                <a:gd name="connsiteY1" fmla="*/ 78323 h 156645"/>
                <a:gd name="connsiteX2" fmla="*/ 46964 w 46963"/>
                <a:gd name="connsiteY2" fmla="*/ 0 h 156645"/>
                <a:gd name="connsiteX3" fmla="*/ 46964 w 46963"/>
                <a:gd name="connsiteY3" fmla="*/ 156646 h 156645"/>
              </a:gdLst>
              <a:ahLst/>
              <a:cxnLst>
                <a:cxn ang="0">
                  <a:pos x="connsiteX0" y="connsiteY0"/>
                </a:cxn>
                <a:cxn ang="0">
                  <a:pos x="connsiteX1" y="connsiteY1"/>
                </a:cxn>
                <a:cxn ang="0">
                  <a:pos x="connsiteX2" y="connsiteY2"/>
                </a:cxn>
                <a:cxn ang="0">
                  <a:pos x="connsiteX3" y="connsiteY3"/>
                </a:cxn>
              </a:cxnLst>
              <a:rect l="l" t="t" r="r" b="b"/>
              <a:pathLst>
                <a:path w="46963" h="156645">
                  <a:moveTo>
                    <a:pt x="46964" y="156646"/>
                  </a:moveTo>
                  <a:cubicBezTo>
                    <a:pt x="19105" y="141422"/>
                    <a:pt x="0" y="112270"/>
                    <a:pt x="0" y="78323"/>
                  </a:cubicBezTo>
                  <a:cubicBezTo>
                    <a:pt x="0" y="44375"/>
                    <a:pt x="19105" y="15147"/>
                    <a:pt x="46964" y="0"/>
                  </a:cubicBezTo>
                  <a:lnTo>
                    <a:pt x="46964" y="156646"/>
                  </a:lnTo>
                  <a:close/>
                </a:path>
              </a:pathLst>
            </a:custGeom>
            <a:grpFill/>
            <a:ln w="7608" cap="flat">
              <a:noFill/>
              <a:prstDash val="solid"/>
              <a:miter/>
            </a:ln>
          </p:spPr>
          <p:txBody>
            <a:bodyPr rtlCol="0" anchor="ctr"/>
            <a:lstStyle/>
            <a:p>
              <a:endParaRPr lang="hi-IN"/>
            </a:p>
          </p:txBody>
        </p:sp>
        <p:sp>
          <p:nvSpPr>
            <p:cNvPr id="1982" name="Freeform: Shape 981"/>
            <p:cNvSpPr/>
            <p:nvPr/>
          </p:nvSpPr>
          <p:spPr>
            <a:xfrm>
              <a:off x="12029805" y="860788"/>
              <a:ext cx="155428" cy="181307"/>
            </a:xfrm>
            <a:custGeom>
              <a:avLst/>
              <a:gdLst>
                <a:gd name="connsiteX0" fmla="*/ 155428 w 155428"/>
                <a:gd name="connsiteY0" fmla="*/ 27250 h 181307"/>
                <a:gd name="connsiteX1" fmla="*/ 155428 w 155428"/>
                <a:gd name="connsiteY1" fmla="*/ 153982 h 181307"/>
                <a:gd name="connsiteX2" fmla="*/ 90654 w 155428"/>
                <a:gd name="connsiteY2" fmla="*/ 181307 h 181307"/>
                <a:gd name="connsiteX3" fmla="*/ 0 w 155428"/>
                <a:gd name="connsiteY3" fmla="*/ 90654 h 181307"/>
                <a:gd name="connsiteX4" fmla="*/ 90654 w 155428"/>
                <a:gd name="connsiteY4" fmla="*/ 0 h 181307"/>
                <a:gd name="connsiteX5" fmla="*/ 155428 w 155428"/>
                <a:gd name="connsiteY5" fmla="*/ 27250 h 181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428" h="181307">
                  <a:moveTo>
                    <a:pt x="155428" y="27250"/>
                  </a:moveTo>
                  <a:lnTo>
                    <a:pt x="155428" y="153982"/>
                  </a:lnTo>
                  <a:cubicBezTo>
                    <a:pt x="138987" y="170803"/>
                    <a:pt x="116076" y="181307"/>
                    <a:pt x="90654" y="181307"/>
                  </a:cubicBezTo>
                  <a:cubicBezTo>
                    <a:pt x="40570" y="181307"/>
                    <a:pt x="0" y="140738"/>
                    <a:pt x="0" y="90654"/>
                  </a:cubicBezTo>
                  <a:cubicBezTo>
                    <a:pt x="0" y="40570"/>
                    <a:pt x="40570" y="0"/>
                    <a:pt x="90654" y="0"/>
                  </a:cubicBezTo>
                  <a:cubicBezTo>
                    <a:pt x="116076" y="-76"/>
                    <a:pt x="138987" y="10428"/>
                    <a:pt x="155428" y="27250"/>
                  </a:cubicBezTo>
                </a:path>
              </a:pathLst>
            </a:custGeom>
            <a:grpFill/>
            <a:ln w="7608" cap="flat">
              <a:noFill/>
              <a:prstDash val="solid"/>
              <a:miter/>
            </a:ln>
          </p:spPr>
          <p:txBody>
            <a:bodyPr rtlCol="0" anchor="ctr"/>
            <a:lstStyle/>
            <a:p>
              <a:endParaRPr lang="hi-IN"/>
            </a:p>
          </p:txBody>
        </p:sp>
        <p:sp>
          <p:nvSpPr>
            <p:cNvPr id="1983" name="Freeform: Shape 982"/>
            <p:cNvSpPr/>
            <p:nvPr/>
          </p:nvSpPr>
          <p:spPr>
            <a:xfrm>
              <a:off x="11917459" y="724542"/>
              <a:ext cx="182449" cy="182372"/>
            </a:xfrm>
            <a:custGeom>
              <a:avLst/>
              <a:gdLst>
                <a:gd name="connsiteX0" fmla="*/ 182449 w 182449"/>
                <a:gd name="connsiteY0" fmla="*/ 91186 h 182372"/>
                <a:gd name="connsiteX1" fmla="*/ 91263 w 182449"/>
                <a:gd name="connsiteY1" fmla="*/ 182373 h 182372"/>
                <a:gd name="connsiteX2" fmla="*/ 0 w 182449"/>
                <a:gd name="connsiteY2" fmla="*/ 91186 h 182372"/>
                <a:gd name="connsiteX3" fmla="*/ 91263 w 182449"/>
                <a:gd name="connsiteY3" fmla="*/ 0 h 182372"/>
                <a:gd name="connsiteX4" fmla="*/ 182449 w 182449"/>
                <a:gd name="connsiteY4" fmla="*/ 91186 h 182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49" h="182372">
                  <a:moveTo>
                    <a:pt x="182449" y="91186"/>
                  </a:moveTo>
                  <a:cubicBezTo>
                    <a:pt x="182449" y="141575"/>
                    <a:pt x="141575" y="182373"/>
                    <a:pt x="91263" y="182373"/>
                  </a:cubicBezTo>
                  <a:cubicBezTo>
                    <a:pt x="40874" y="182373"/>
                    <a:pt x="0" y="141575"/>
                    <a:pt x="0" y="91186"/>
                  </a:cubicBezTo>
                  <a:cubicBezTo>
                    <a:pt x="0" y="40798"/>
                    <a:pt x="40874" y="0"/>
                    <a:pt x="91263" y="0"/>
                  </a:cubicBezTo>
                  <a:cubicBezTo>
                    <a:pt x="141652" y="-76"/>
                    <a:pt x="182449" y="40798"/>
                    <a:pt x="182449" y="91186"/>
                  </a:cubicBezTo>
                </a:path>
              </a:pathLst>
            </a:custGeom>
            <a:grpFill/>
            <a:ln w="7608" cap="flat">
              <a:noFill/>
              <a:prstDash val="solid"/>
              <a:miter/>
            </a:ln>
          </p:spPr>
          <p:txBody>
            <a:bodyPr rtlCol="0" anchor="ctr"/>
            <a:lstStyle/>
            <a:p>
              <a:endParaRPr lang="hi-IN"/>
            </a:p>
          </p:txBody>
        </p:sp>
        <p:sp>
          <p:nvSpPr>
            <p:cNvPr id="1984" name="Freeform: Shape 983"/>
            <p:cNvSpPr/>
            <p:nvPr/>
          </p:nvSpPr>
          <p:spPr>
            <a:xfrm>
              <a:off x="11801308" y="592558"/>
              <a:ext cx="182524" cy="182372"/>
            </a:xfrm>
            <a:custGeom>
              <a:avLst/>
              <a:gdLst>
                <a:gd name="connsiteX0" fmla="*/ 182525 w 182524"/>
                <a:gd name="connsiteY0" fmla="*/ 91186 h 182372"/>
                <a:gd name="connsiteX1" fmla="*/ 91262 w 182524"/>
                <a:gd name="connsiteY1" fmla="*/ 182373 h 182372"/>
                <a:gd name="connsiteX2" fmla="*/ 0 w 182524"/>
                <a:gd name="connsiteY2" fmla="*/ 91186 h 182372"/>
                <a:gd name="connsiteX3" fmla="*/ 91262 w 182524"/>
                <a:gd name="connsiteY3" fmla="*/ 0 h 182372"/>
                <a:gd name="connsiteX4" fmla="*/ 182525 w 182524"/>
                <a:gd name="connsiteY4" fmla="*/ 91186 h 182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524" h="182372">
                  <a:moveTo>
                    <a:pt x="182525" y="91186"/>
                  </a:moveTo>
                  <a:cubicBezTo>
                    <a:pt x="182525" y="141575"/>
                    <a:pt x="141651" y="182373"/>
                    <a:pt x="91262" y="182373"/>
                  </a:cubicBezTo>
                  <a:cubicBezTo>
                    <a:pt x="40874" y="182373"/>
                    <a:pt x="0" y="141575"/>
                    <a:pt x="0" y="91186"/>
                  </a:cubicBezTo>
                  <a:cubicBezTo>
                    <a:pt x="0" y="40798"/>
                    <a:pt x="40874" y="0"/>
                    <a:pt x="91262" y="0"/>
                  </a:cubicBezTo>
                  <a:cubicBezTo>
                    <a:pt x="141727" y="-76"/>
                    <a:pt x="182525" y="40798"/>
                    <a:pt x="182525" y="91186"/>
                  </a:cubicBezTo>
                </a:path>
              </a:pathLst>
            </a:custGeom>
            <a:grpFill/>
            <a:ln w="7608" cap="flat">
              <a:noFill/>
              <a:prstDash val="solid"/>
              <a:miter/>
            </a:ln>
          </p:spPr>
          <p:txBody>
            <a:bodyPr rtlCol="0" anchor="ctr"/>
            <a:lstStyle/>
            <a:p>
              <a:endParaRPr lang="hi-IN"/>
            </a:p>
          </p:txBody>
        </p:sp>
        <p:sp>
          <p:nvSpPr>
            <p:cNvPr id="1985" name="Freeform: Shape 984"/>
            <p:cNvSpPr/>
            <p:nvPr/>
          </p:nvSpPr>
          <p:spPr>
            <a:xfrm>
              <a:off x="11680588" y="463695"/>
              <a:ext cx="183590" cy="183590"/>
            </a:xfrm>
            <a:custGeom>
              <a:avLst/>
              <a:gdLst>
                <a:gd name="connsiteX0" fmla="*/ 183590 w 183590"/>
                <a:gd name="connsiteY0" fmla="*/ 91795 h 183590"/>
                <a:gd name="connsiteX1" fmla="*/ 91796 w 183590"/>
                <a:gd name="connsiteY1" fmla="*/ 183590 h 183590"/>
                <a:gd name="connsiteX2" fmla="*/ 0 w 183590"/>
                <a:gd name="connsiteY2" fmla="*/ 91795 h 183590"/>
                <a:gd name="connsiteX3" fmla="*/ 91796 w 183590"/>
                <a:gd name="connsiteY3" fmla="*/ 0 h 183590"/>
                <a:gd name="connsiteX4" fmla="*/ 183590 w 183590"/>
                <a:gd name="connsiteY4" fmla="*/ 91795 h 183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0" h="183590">
                  <a:moveTo>
                    <a:pt x="183590" y="91795"/>
                  </a:moveTo>
                  <a:cubicBezTo>
                    <a:pt x="183590" y="142488"/>
                    <a:pt x="142489" y="183590"/>
                    <a:pt x="91796" y="183590"/>
                  </a:cubicBezTo>
                  <a:cubicBezTo>
                    <a:pt x="41103" y="183590"/>
                    <a:pt x="0" y="142488"/>
                    <a:pt x="0" y="91795"/>
                  </a:cubicBezTo>
                  <a:cubicBezTo>
                    <a:pt x="0" y="41102"/>
                    <a:pt x="41103" y="0"/>
                    <a:pt x="91796" y="0"/>
                  </a:cubicBezTo>
                  <a:cubicBezTo>
                    <a:pt x="142489" y="76"/>
                    <a:pt x="183590" y="41102"/>
                    <a:pt x="183590" y="91795"/>
                  </a:cubicBezTo>
                </a:path>
              </a:pathLst>
            </a:custGeom>
            <a:grpFill/>
            <a:ln w="7608" cap="flat">
              <a:noFill/>
              <a:prstDash val="solid"/>
              <a:miter/>
            </a:ln>
          </p:spPr>
          <p:txBody>
            <a:bodyPr rtlCol="0" anchor="ctr"/>
            <a:lstStyle/>
            <a:p>
              <a:endParaRPr lang="hi-IN"/>
            </a:p>
          </p:txBody>
        </p:sp>
        <p:sp>
          <p:nvSpPr>
            <p:cNvPr id="1986" name="Freeform: Shape 985"/>
            <p:cNvSpPr/>
            <p:nvPr/>
          </p:nvSpPr>
          <p:spPr>
            <a:xfrm>
              <a:off x="11556292" y="339398"/>
              <a:ext cx="183590" cy="183590"/>
            </a:xfrm>
            <a:custGeom>
              <a:avLst/>
              <a:gdLst>
                <a:gd name="connsiteX0" fmla="*/ 183590 w 183590"/>
                <a:gd name="connsiteY0" fmla="*/ 91795 h 183590"/>
                <a:gd name="connsiteX1" fmla="*/ 91796 w 183590"/>
                <a:gd name="connsiteY1" fmla="*/ 183590 h 183590"/>
                <a:gd name="connsiteX2" fmla="*/ 0 w 183590"/>
                <a:gd name="connsiteY2" fmla="*/ 91795 h 183590"/>
                <a:gd name="connsiteX3" fmla="*/ 91796 w 183590"/>
                <a:gd name="connsiteY3" fmla="*/ 0 h 183590"/>
                <a:gd name="connsiteX4" fmla="*/ 183590 w 183590"/>
                <a:gd name="connsiteY4" fmla="*/ 91795 h 183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0" h="183590">
                  <a:moveTo>
                    <a:pt x="183590" y="91795"/>
                  </a:moveTo>
                  <a:cubicBezTo>
                    <a:pt x="183590" y="142488"/>
                    <a:pt x="142488" y="183590"/>
                    <a:pt x="91796" y="183590"/>
                  </a:cubicBezTo>
                  <a:cubicBezTo>
                    <a:pt x="41103" y="183590"/>
                    <a:pt x="0" y="142488"/>
                    <a:pt x="0" y="91795"/>
                  </a:cubicBezTo>
                  <a:cubicBezTo>
                    <a:pt x="0" y="41102"/>
                    <a:pt x="41103" y="0"/>
                    <a:pt x="91796" y="0"/>
                  </a:cubicBezTo>
                  <a:cubicBezTo>
                    <a:pt x="142488" y="76"/>
                    <a:pt x="183590" y="41178"/>
                    <a:pt x="183590" y="91795"/>
                  </a:cubicBezTo>
                </a:path>
              </a:pathLst>
            </a:custGeom>
            <a:grpFill/>
            <a:ln w="7608" cap="flat">
              <a:noFill/>
              <a:prstDash val="solid"/>
              <a:miter/>
            </a:ln>
          </p:spPr>
          <p:txBody>
            <a:bodyPr rtlCol="0" anchor="ctr"/>
            <a:lstStyle/>
            <a:p>
              <a:endParaRPr lang="hi-IN"/>
            </a:p>
          </p:txBody>
        </p:sp>
        <p:sp>
          <p:nvSpPr>
            <p:cNvPr id="1987" name="Freeform: Shape 986"/>
            <p:cNvSpPr/>
            <p:nvPr/>
          </p:nvSpPr>
          <p:spPr>
            <a:xfrm>
              <a:off x="11428646" y="219821"/>
              <a:ext cx="182448" cy="182448"/>
            </a:xfrm>
            <a:custGeom>
              <a:avLst/>
              <a:gdLst>
                <a:gd name="connsiteX0" fmla="*/ 182448 w 182448"/>
                <a:gd name="connsiteY0" fmla="*/ 91186 h 182448"/>
                <a:gd name="connsiteX1" fmla="*/ 91262 w 182448"/>
                <a:gd name="connsiteY1" fmla="*/ 182449 h 182448"/>
                <a:gd name="connsiteX2" fmla="*/ 0 w 182448"/>
                <a:gd name="connsiteY2" fmla="*/ 91186 h 182448"/>
                <a:gd name="connsiteX3" fmla="*/ 91262 w 182448"/>
                <a:gd name="connsiteY3" fmla="*/ 0 h 182448"/>
                <a:gd name="connsiteX4" fmla="*/ 182448 w 182448"/>
                <a:gd name="connsiteY4" fmla="*/ 91186 h 18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48" h="182448">
                  <a:moveTo>
                    <a:pt x="182448" y="91186"/>
                  </a:moveTo>
                  <a:cubicBezTo>
                    <a:pt x="182448" y="141575"/>
                    <a:pt x="141575" y="182449"/>
                    <a:pt x="91262" y="182449"/>
                  </a:cubicBezTo>
                  <a:cubicBezTo>
                    <a:pt x="40874" y="182449"/>
                    <a:pt x="0" y="141651"/>
                    <a:pt x="0" y="91186"/>
                  </a:cubicBezTo>
                  <a:cubicBezTo>
                    <a:pt x="0" y="40798"/>
                    <a:pt x="40874" y="0"/>
                    <a:pt x="91262" y="0"/>
                  </a:cubicBezTo>
                  <a:cubicBezTo>
                    <a:pt x="141651" y="-76"/>
                    <a:pt x="182448" y="40798"/>
                    <a:pt x="182448" y="91186"/>
                  </a:cubicBezTo>
                </a:path>
              </a:pathLst>
            </a:custGeom>
            <a:grpFill/>
            <a:ln w="7608" cap="flat">
              <a:noFill/>
              <a:prstDash val="solid"/>
              <a:miter/>
            </a:ln>
          </p:spPr>
          <p:txBody>
            <a:bodyPr rtlCol="0" anchor="ctr"/>
            <a:lstStyle/>
            <a:p>
              <a:endParaRPr lang="hi-IN"/>
            </a:p>
          </p:txBody>
        </p:sp>
        <p:sp>
          <p:nvSpPr>
            <p:cNvPr id="1988" name="Freeform: Shape 987"/>
            <p:cNvSpPr/>
            <p:nvPr/>
          </p:nvSpPr>
          <p:spPr>
            <a:xfrm>
              <a:off x="11296662" y="103669"/>
              <a:ext cx="182448" cy="182524"/>
            </a:xfrm>
            <a:custGeom>
              <a:avLst/>
              <a:gdLst>
                <a:gd name="connsiteX0" fmla="*/ 182448 w 182448"/>
                <a:gd name="connsiteY0" fmla="*/ 91262 h 182524"/>
                <a:gd name="connsiteX1" fmla="*/ 91262 w 182448"/>
                <a:gd name="connsiteY1" fmla="*/ 182525 h 182524"/>
                <a:gd name="connsiteX2" fmla="*/ 0 w 182448"/>
                <a:gd name="connsiteY2" fmla="*/ 91262 h 182524"/>
                <a:gd name="connsiteX3" fmla="*/ 91262 w 182448"/>
                <a:gd name="connsiteY3" fmla="*/ 0 h 182524"/>
                <a:gd name="connsiteX4" fmla="*/ 182448 w 182448"/>
                <a:gd name="connsiteY4" fmla="*/ 91262 h 182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48" h="182524">
                  <a:moveTo>
                    <a:pt x="182448" y="91262"/>
                  </a:moveTo>
                  <a:cubicBezTo>
                    <a:pt x="182448" y="141651"/>
                    <a:pt x="141575" y="182525"/>
                    <a:pt x="91262" y="182525"/>
                  </a:cubicBezTo>
                  <a:cubicBezTo>
                    <a:pt x="40874" y="182525"/>
                    <a:pt x="0" y="141651"/>
                    <a:pt x="0" y="91262"/>
                  </a:cubicBezTo>
                  <a:cubicBezTo>
                    <a:pt x="0" y="40874"/>
                    <a:pt x="40874" y="0"/>
                    <a:pt x="91262" y="0"/>
                  </a:cubicBezTo>
                  <a:cubicBezTo>
                    <a:pt x="141651" y="0"/>
                    <a:pt x="182448" y="40874"/>
                    <a:pt x="182448" y="91262"/>
                  </a:cubicBezTo>
                </a:path>
              </a:pathLst>
            </a:custGeom>
            <a:grpFill/>
            <a:ln w="7608" cap="flat">
              <a:noFill/>
              <a:prstDash val="solid"/>
              <a:miter/>
            </a:ln>
          </p:spPr>
          <p:txBody>
            <a:bodyPr rtlCol="0" anchor="ctr"/>
            <a:lstStyle/>
            <a:p>
              <a:endParaRPr lang="hi-IN"/>
            </a:p>
          </p:txBody>
        </p:sp>
        <p:sp>
          <p:nvSpPr>
            <p:cNvPr id="1989" name="Freeform: Shape 988"/>
            <p:cNvSpPr/>
            <p:nvPr/>
          </p:nvSpPr>
          <p:spPr>
            <a:xfrm>
              <a:off x="11161633" y="9514"/>
              <a:ext cx="181306" cy="164257"/>
            </a:xfrm>
            <a:custGeom>
              <a:avLst/>
              <a:gdLst>
                <a:gd name="connsiteX0" fmla="*/ 143249 w 181306"/>
                <a:gd name="connsiteY0" fmla="*/ 0 h 164257"/>
                <a:gd name="connsiteX1" fmla="*/ 181307 w 181306"/>
                <a:gd name="connsiteY1" fmla="*/ 73604 h 164257"/>
                <a:gd name="connsiteX2" fmla="*/ 90654 w 181306"/>
                <a:gd name="connsiteY2" fmla="*/ 164257 h 164257"/>
                <a:gd name="connsiteX3" fmla="*/ 0 w 181306"/>
                <a:gd name="connsiteY3" fmla="*/ 73604 h 164257"/>
                <a:gd name="connsiteX4" fmla="*/ 38058 w 181306"/>
                <a:gd name="connsiteY4" fmla="*/ 0 h 164257"/>
                <a:gd name="connsiteX5" fmla="*/ 143249 w 181306"/>
                <a:gd name="connsiteY5" fmla="*/ 0 h 164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306" h="164257">
                  <a:moveTo>
                    <a:pt x="143249" y="0"/>
                  </a:moveTo>
                  <a:cubicBezTo>
                    <a:pt x="166236" y="16441"/>
                    <a:pt x="181307" y="43234"/>
                    <a:pt x="181307" y="73604"/>
                  </a:cubicBezTo>
                  <a:cubicBezTo>
                    <a:pt x="181307" y="123688"/>
                    <a:pt x="140737" y="164257"/>
                    <a:pt x="90654" y="164257"/>
                  </a:cubicBezTo>
                  <a:cubicBezTo>
                    <a:pt x="40569" y="164257"/>
                    <a:pt x="0" y="123688"/>
                    <a:pt x="0" y="73604"/>
                  </a:cubicBezTo>
                  <a:cubicBezTo>
                    <a:pt x="0" y="43157"/>
                    <a:pt x="15071" y="16441"/>
                    <a:pt x="38058" y="0"/>
                  </a:cubicBezTo>
                  <a:lnTo>
                    <a:pt x="143249" y="0"/>
                  </a:lnTo>
                  <a:close/>
                </a:path>
              </a:pathLst>
            </a:custGeom>
            <a:grpFill/>
            <a:ln w="7608" cap="flat">
              <a:noFill/>
              <a:prstDash val="solid"/>
              <a:miter/>
            </a:ln>
          </p:spPr>
          <p:txBody>
            <a:bodyPr rtlCol="0" anchor="ctr"/>
            <a:lstStyle/>
            <a:p>
              <a:endParaRPr lang="hi-IN"/>
            </a:p>
          </p:txBody>
        </p:sp>
        <p:sp>
          <p:nvSpPr>
            <p:cNvPr id="1990" name="Freeform: Shape 989"/>
            <p:cNvSpPr/>
            <p:nvPr/>
          </p:nvSpPr>
          <p:spPr>
            <a:xfrm>
              <a:off x="11030258" y="9514"/>
              <a:ext cx="165779" cy="55868"/>
            </a:xfrm>
            <a:custGeom>
              <a:avLst/>
              <a:gdLst>
                <a:gd name="connsiteX0" fmla="*/ 165780 w 165779"/>
                <a:gd name="connsiteY0" fmla="*/ 0 h 55868"/>
                <a:gd name="connsiteX1" fmla="*/ 82890 w 165779"/>
                <a:gd name="connsiteY1" fmla="*/ 55869 h 55868"/>
                <a:gd name="connsiteX2" fmla="*/ 0 w 165779"/>
                <a:gd name="connsiteY2" fmla="*/ 0 h 55868"/>
                <a:gd name="connsiteX3" fmla="*/ 165780 w 165779"/>
                <a:gd name="connsiteY3" fmla="*/ 0 h 55868"/>
              </a:gdLst>
              <a:ahLst/>
              <a:cxnLst>
                <a:cxn ang="0">
                  <a:pos x="connsiteX0" y="connsiteY0"/>
                </a:cxn>
                <a:cxn ang="0">
                  <a:pos x="connsiteX1" y="connsiteY1"/>
                </a:cxn>
                <a:cxn ang="0">
                  <a:pos x="connsiteX2" y="connsiteY2"/>
                </a:cxn>
                <a:cxn ang="0">
                  <a:pos x="connsiteX3" y="connsiteY3"/>
                </a:cxn>
              </a:cxnLst>
              <a:rect l="l" t="t" r="r" b="b"/>
              <a:pathLst>
                <a:path w="165779" h="55868">
                  <a:moveTo>
                    <a:pt x="165780" y="0"/>
                  </a:moveTo>
                  <a:cubicBezTo>
                    <a:pt x="152459" y="32730"/>
                    <a:pt x="120414" y="55869"/>
                    <a:pt x="82890" y="55869"/>
                  </a:cubicBezTo>
                  <a:cubicBezTo>
                    <a:pt x="45364" y="55869"/>
                    <a:pt x="13320" y="32730"/>
                    <a:pt x="0" y="0"/>
                  </a:cubicBezTo>
                  <a:lnTo>
                    <a:pt x="165780" y="0"/>
                  </a:lnTo>
                  <a:close/>
                </a:path>
              </a:pathLst>
            </a:custGeom>
            <a:grpFill/>
            <a:ln w="7608" cap="flat">
              <a:noFill/>
              <a:prstDash val="solid"/>
              <a:miter/>
            </a:ln>
          </p:spPr>
          <p:txBody>
            <a:bodyPr rtlCol="0" anchor="ctr"/>
            <a:lstStyle/>
            <a:p>
              <a:endParaRPr lang="hi-IN"/>
            </a:p>
          </p:txBody>
        </p:sp>
        <p:sp>
          <p:nvSpPr>
            <p:cNvPr id="1991" name="Freeform: Shape 990"/>
            <p:cNvSpPr/>
            <p:nvPr/>
          </p:nvSpPr>
          <p:spPr>
            <a:xfrm>
              <a:off x="12121068" y="669967"/>
              <a:ext cx="64165" cy="182068"/>
            </a:xfrm>
            <a:custGeom>
              <a:avLst/>
              <a:gdLst>
                <a:gd name="connsiteX0" fmla="*/ 64166 w 64165"/>
                <a:gd name="connsiteY0" fmla="*/ 182068 h 182068"/>
                <a:gd name="connsiteX1" fmla="*/ 0 w 64165"/>
                <a:gd name="connsiteY1" fmla="*/ 91034 h 182068"/>
                <a:gd name="connsiteX2" fmla="*/ 64166 w 64165"/>
                <a:gd name="connsiteY2" fmla="*/ 0 h 182068"/>
                <a:gd name="connsiteX3" fmla="*/ 64166 w 64165"/>
                <a:gd name="connsiteY3" fmla="*/ 182068 h 182068"/>
              </a:gdLst>
              <a:ahLst/>
              <a:cxnLst>
                <a:cxn ang="0">
                  <a:pos x="connsiteX0" y="connsiteY0"/>
                </a:cxn>
                <a:cxn ang="0">
                  <a:pos x="connsiteX1" y="connsiteY1"/>
                </a:cxn>
                <a:cxn ang="0">
                  <a:pos x="connsiteX2" y="connsiteY2"/>
                </a:cxn>
                <a:cxn ang="0">
                  <a:pos x="connsiteX3" y="connsiteY3"/>
                </a:cxn>
              </a:cxnLst>
              <a:rect l="l" t="t" r="r" b="b"/>
              <a:pathLst>
                <a:path w="64165" h="182068">
                  <a:moveTo>
                    <a:pt x="64166" y="182068"/>
                  </a:moveTo>
                  <a:cubicBezTo>
                    <a:pt x="26793" y="168520"/>
                    <a:pt x="0" y="133050"/>
                    <a:pt x="0" y="91034"/>
                  </a:cubicBezTo>
                  <a:cubicBezTo>
                    <a:pt x="0" y="49018"/>
                    <a:pt x="26793" y="13549"/>
                    <a:pt x="64166" y="0"/>
                  </a:cubicBezTo>
                  <a:lnTo>
                    <a:pt x="64166" y="182068"/>
                  </a:lnTo>
                  <a:close/>
                </a:path>
              </a:pathLst>
            </a:custGeom>
            <a:grpFill/>
            <a:ln w="7608" cap="flat">
              <a:noFill/>
              <a:prstDash val="solid"/>
              <a:miter/>
            </a:ln>
          </p:spPr>
          <p:txBody>
            <a:bodyPr rtlCol="0" anchor="ctr"/>
            <a:lstStyle/>
            <a:p>
              <a:endParaRPr lang="hi-IN"/>
            </a:p>
          </p:txBody>
        </p:sp>
        <p:sp>
          <p:nvSpPr>
            <p:cNvPr id="1992" name="Freeform: Shape 991"/>
            <p:cNvSpPr/>
            <p:nvPr/>
          </p:nvSpPr>
          <p:spPr>
            <a:xfrm>
              <a:off x="12006743" y="529306"/>
              <a:ext cx="178490" cy="195464"/>
            </a:xfrm>
            <a:custGeom>
              <a:avLst/>
              <a:gdLst>
                <a:gd name="connsiteX0" fmla="*/ 178490 w 178490"/>
                <a:gd name="connsiteY0" fmla="*/ 42701 h 195464"/>
                <a:gd name="connsiteX1" fmla="*/ 178490 w 178490"/>
                <a:gd name="connsiteY1" fmla="*/ 152688 h 195464"/>
                <a:gd name="connsiteX2" fmla="*/ 97732 w 178490"/>
                <a:gd name="connsiteY2" fmla="*/ 195465 h 195464"/>
                <a:gd name="connsiteX3" fmla="*/ 0 w 178490"/>
                <a:gd name="connsiteY3" fmla="*/ 97732 h 195464"/>
                <a:gd name="connsiteX4" fmla="*/ 97732 w 178490"/>
                <a:gd name="connsiteY4" fmla="*/ 0 h 195464"/>
                <a:gd name="connsiteX5" fmla="*/ 178490 w 178490"/>
                <a:gd name="connsiteY5" fmla="*/ 42701 h 195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490" h="195464">
                  <a:moveTo>
                    <a:pt x="178490" y="42701"/>
                  </a:moveTo>
                  <a:lnTo>
                    <a:pt x="178490" y="152688"/>
                  </a:lnTo>
                  <a:cubicBezTo>
                    <a:pt x="160907" y="178491"/>
                    <a:pt x="131299" y="195465"/>
                    <a:pt x="97732" y="195465"/>
                  </a:cubicBezTo>
                  <a:cubicBezTo>
                    <a:pt x="43766" y="195465"/>
                    <a:pt x="0" y="151698"/>
                    <a:pt x="0" y="97732"/>
                  </a:cubicBezTo>
                  <a:cubicBezTo>
                    <a:pt x="0" y="43767"/>
                    <a:pt x="43766" y="0"/>
                    <a:pt x="97732" y="0"/>
                  </a:cubicBezTo>
                  <a:cubicBezTo>
                    <a:pt x="131299" y="-76"/>
                    <a:pt x="160907" y="16898"/>
                    <a:pt x="178490" y="42701"/>
                  </a:cubicBezTo>
                </a:path>
              </a:pathLst>
            </a:custGeom>
            <a:grpFill/>
            <a:ln w="7608" cap="flat">
              <a:noFill/>
              <a:prstDash val="solid"/>
              <a:miter/>
            </a:ln>
          </p:spPr>
          <p:txBody>
            <a:bodyPr rtlCol="0" anchor="ctr"/>
            <a:lstStyle/>
            <a:p>
              <a:endParaRPr lang="hi-IN"/>
            </a:p>
          </p:txBody>
        </p:sp>
        <p:sp>
          <p:nvSpPr>
            <p:cNvPr id="1993" name="Freeform: Shape 992"/>
            <p:cNvSpPr/>
            <p:nvPr/>
          </p:nvSpPr>
          <p:spPr>
            <a:xfrm>
              <a:off x="11888840" y="398920"/>
              <a:ext cx="195463" cy="195464"/>
            </a:xfrm>
            <a:custGeom>
              <a:avLst/>
              <a:gdLst>
                <a:gd name="connsiteX0" fmla="*/ 195464 w 195463"/>
                <a:gd name="connsiteY0" fmla="*/ 97732 h 195464"/>
                <a:gd name="connsiteX1" fmla="*/ 97732 w 195463"/>
                <a:gd name="connsiteY1" fmla="*/ 195464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4"/>
                    <a:pt x="97732" y="195464"/>
                  </a:cubicBezTo>
                  <a:cubicBezTo>
                    <a:pt x="43766" y="195464"/>
                    <a:pt x="0" y="151698"/>
                    <a:pt x="0" y="97732"/>
                  </a:cubicBezTo>
                  <a:cubicBezTo>
                    <a:pt x="0" y="43766"/>
                    <a:pt x="43766" y="0"/>
                    <a:pt x="97732" y="0"/>
                  </a:cubicBezTo>
                  <a:cubicBezTo>
                    <a:pt x="151698" y="0"/>
                    <a:pt x="195464" y="43766"/>
                    <a:pt x="195464" y="97732"/>
                  </a:cubicBezTo>
                </a:path>
              </a:pathLst>
            </a:custGeom>
            <a:grpFill/>
            <a:ln w="7608" cap="flat">
              <a:noFill/>
              <a:prstDash val="solid"/>
              <a:miter/>
            </a:ln>
          </p:spPr>
          <p:txBody>
            <a:bodyPr rtlCol="0" anchor="ctr"/>
            <a:lstStyle/>
            <a:p>
              <a:endParaRPr lang="hi-IN"/>
            </a:p>
          </p:txBody>
        </p:sp>
        <p:sp>
          <p:nvSpPr>
            <p:cNvPr id="1994" name="Freeform: Shape 993"/>
            <p:cNvSpPr/>
            <p:nvPr/>
          </p:nvSpPr>
          <p:spPr>
            <a:xfrm>
              <a:off x="11766980" y="272264"/>
              <a:ext cx="195463" cy="195464"/>
            </a:xfrm>
            <a:custGeom>
              <a:avLst/>
              <a:gdLst>
                <a:gd name="connsiteX0" fmla="*/ 195464 w 195463"/>
                <a:gd name="connsiteY0" fmla="*/ 97732 h 195464"/>
                <a:gd name="connsiteX1" fmla="*/ 97732 w 195463"/>
                <a:gd name="connsiteY1" fmla="*/ 195465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5"/>
                    <a:pt x="97732" y="195465"/>
                  </a:cubicBezTo>
                  <a:cubicBezTo>
                    <a:pt x="43766" y="195465"/>
                    <a:pt x="0" y="151698"/>
                    <a:pt x="0" y="97732"/>
                  </a:cubicBezTo>
                  <a:cubicBezTo>
                    <a:pt x="0" y="43766"/>
                    <a:pt x="43766" y="0"/>
                    <a:pt x="97732" y="0"/>
                  </a:cubicBezTo>
                  <a:cubicBezTo>
                    <a:pt x="151698" y="-76"/>
                    <a:pt x="195464" y="43690"/>
                    <a:pt x="195464" y="97732"/>
                  </a:cubicBezTo>
                </a:path>
              </a:pathLst>
            </a:custGeom>
            <a:grpFill/>
            <a:ln w="7608" cap="flat">
              <a:noFill/>
              <a:prstDash val="solid"/>
              <a:miter/>
            </a:ln>
          </p:spPr>
          <p:txBody>
            <a:bodyPr rtlCol="0" anchor="ctr"/>
            <a:lstStyle/>
            <a:p>
              <a:endParaRPr lang="hi-IN"/>
            </a:p>
          </p:txBody>
        </p:sp>
        <p:sp>
          <p:nvSpPr>
            <p:cNvPr id="1995" name="Freeform: Shape 994"/>
            <p:cNvSpPr/>
            <p:nvPr/>
          </p:nvSpPr>
          <p:spPr>
            <a:xfrm>
              <a:off x="11641313" y="149414"/>
              <a:ext cx="195463" cy="195464"/>
            </a:xfrm>
            <a:custGeom>
              <a:avLst/>
              <a:gdLst>
                <a:gd name="connsiteX0" fmla="*/ 195464 w 195463"/>
                <a:gd name="connsiteY0" fmla="*/ 97732 h 195464"/>
                <a:gd name="connsiteX1" fmla="*/ 97732 w 195463"/>
                <a:gd name="connsiteY1" fmla="*/ 195464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4"/>
                    <a:pt x="97732" y="195464"/>
                  </a:cubicBezTo>
                  <a:cubicBezTo>
                    <a:pt x="43766" y="195464"/>
                    <a:pt x="0" y="151698"/>
                    <a:pt x="0" y="97732"/>
                  </a:cubicBezTo>
                  <a:cubicBezTo>
                    <a:pt x="0" y="43766"/>
                    <a:pt x="43766" y="0"/>
                    <a:pt x="97732" y="0"/>
                  </a:cubicBezTo>
                  <a:cubicBezTo>
                    <a:pt x="151698" y="0"/>
                    <a:pt x="195464" y="43766"/>
                    <a:pt x="195464" y="97732"/>
                  </a:cubicBezTo>
                </a:path>
              </a:pathLst>
            </a:custGeom>
            <a:grpFill/>
            <a:ln w="7608" cap="flat">
              <a:noFill/>
              <a:prstDash val="solid"/>
              <a:miter/>
            </a:ln>
          </p:spPr>
          <p:txBody>
            <a:bodyPr rtlCol="0" anchor="ctr"/>
            <a:lstStyle/>
            <a:p>
              <a:endParaRPr lang="hi-IN"/>
            </a:p>
          </p:txBody>
        </p:sp>
        <p:sp>
          <p:nvSpPr>
            <p:cNvPr id="1996" name="Freeform: Shape 995"/>
            <p:cNvSpPr/>
            <p:nvPr/>
          </p:nvSpPr>
          <p:spPr>
            <a:xfrm>
              <a:off x="11511841" y="30522"/>
              <a:ext cx="195463" cy="195464"/>
            </a:xfrm>
            <a:custGeom>
              <a:avLst/>
              <a:gdLst>
                <a:gd name="connsiteX0" fmla="*/ 195464 w 195463"/>
                <a:gd name="connsiteY0" fmla="*/ 97732 h 195464"/>
                <a:gd name="connsiteX1" fmla="*/ 97732 w 195463"/>
                <a:gd name="connsiteY1" fmla="*/ 195464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4"/>
                    <a:pt x="97732" y="195464"/>
                  </a:cubicBezTo>
                  <a:cubicBezTo>
                    <a:pt x="43766" y="195464"/>
                    <a:pt x="0" y="151698"/>
                    <a:pt x="0" y="97732"/>
                  </a:cubicBezTo>
                  <a:cubicBezTo>
                    <a:pt x="0" y="43766"/>
                    <a:pt x="43766" y="0"/>
                    <a:pt x="97732" y="0"/>
                  </a:cubicBezTo>
                  <a:cubicBezTo>
                    <a:pt x="151698" y="0"/>
                    <a:pt x="195464" y="43766"/>
                    <a:pt x="195464" y="97732"/>
                  </a:cubicBezTo>
                </a:path>
              </a:pathLst>
            </a:custGeom>
            <a:grpFill/>
            <a:ln w="7608" cap="flat">
              <a:noFill/>
              <a:prstDash val="solid"/>
              <a:miter/>
            </a:ln>
          </p:spPr>
          <p:txBody>
            <a:bodyPr rtlCol="0" anchor="ctr"/>
            <a:lstStyle/>
            <a:p>
              <a:endParaRPr lang="hi-IN"/>
            </a:p>
          </p:txBody>
        </p:sp>
        <p:sp>
          <p:nvSpPr>
            <p:cNvPr id="1997" name="Freeform: Shape 996"/>
            <p:cNvSpPr/>
            <p:nvPr/>
          </p:nvSpPr>
          <p:spPr>
            <a:xfrm>
              <a:off x="11379247" y="9514"/>
              <a:ext cx="194399" cy="101081"/>
            </a:xfrm>
            <a:custGeom>
              <a:avLst/>
              <a:gdLst>
                <a:gd name="connsiteX0" fmla="*/ 194018 w 194399"/>
                <a:gd name="connsiteY0" fmla="*/ 0 h 101081"/>
                <a:gd name="connsiteX1" fmla="*/ 194399 w 194399"/>
                <a:gd name="connsiteY1" fmla="*/ 3882 h 101081"/>
                <a:gd name="connsiteX2" fmla="*/ 97200 w 194399"/>
                <a:gd name="connsiteY2" fmla="*/ 101081 h 101081"/>
                <a:gd name="connsiteX3" fmla="*/ 0 w 194399"/>
                <a:gd name="connsiteY3" fmla="*/ 3882 h 101081"/>
                <a:gd name="connsiteX4" fmla="*/ 381 w 194399"/>
                <a:gd name="connsiteY4" fmla="*/ 0 h 101081"/>
                <a:gd name="connsiteX5" fmla="*/ 194018 w 194399"/>
                <a:gd name="connsiteY5" fmla="*/ 0 h 10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399" h="101081">
                  <a:moveTo>
                    <a:pt x="194018" y="0"/>
                  </a:moveTo>
                  <a:cubicBezTo>
                    <a:pt x="194094" y="1294"/>
                    <a:pt x="194399" y="2588"/>
                    <a:pt x="194399" y="3882"/>
                  </a:cubicBezTo>
                  <a:cubicBezTo>
                    <a:pt x="194399" y="57543"/>
                    <a:pt x="150861" y="101081"/>
                    <a:pt x="97200" y="101081"/>
                  </a:cubicBezTo>
                  <a:cubicBezTo>
                    <a:pt x="43538" y="101081"/>
                    <a:pt x="0" y="57543"/>
                    <a:pt x="0" y="3882"/>
                  </a:cubicBezTo>
                  <a:cubicBezTo>
                    <a:pt x="0" y="2512"/>
                    <a:pt x="381" y="1294"/>
                    <a:pt x="381" y="0"/>
                  </a:cubicBezTo>
                  <a:lnTo>
                    <a:pt x="194018" y="0"/>
                  </a:lnTo>
                  <a:close/>
                </a:path>
              </a:pathLst>
            </a:custGeom>
            <a:grpFill/>
            <a:ln w="7608" cap="flat">
              <a:noFill/>
              <a:prstDash val="solid"/>
              <a:miter/>
            </a:ln>
          </p:spPr>
          <p:txBody>
            <a:bodyPr rtlCol="0" anchor="ctr"/>
            <a:lstStyle/>
            <a:p>
              <a:endParaRPr lang="hi-IN"/>
            </a:p>
          </p:txBody>
        </p:sp>
        <p:sp>
          <p:nvSpPr>
            <p:cNvPr id="1998" name="Freeform: Shape 997"/>
            <p:cNvSpPr/>
            <p:nvPr/>
          </p:nvSpPr>
          <p:spPr>
            <a:xfrm>
              <a:off x="12095189" y="336201"/>
              <a:ext cx="90044" cy="205663"/>
            </a:xfrm>
            <a:custGeom>
              <a:avLst/>
              <a:gdLst>
                <a:gd name="connsiteX0" fmla="*/ 90044 w 90044"/>
                <a:gd name="connsiteY0" fmla="*/ 205664 h 205663"/>
                <a:gd name="connsiteX1" fmla="*/ 0 w 90044"/>
                <a:gd name="connsiteY1" fmla="*/ 102832 h 205663"/>
                <a:gd name="connsiteX2" fmla="*/ 90044 w 90044"/>
                <a:gd name="connsiteY2" fmla="*/ 0 h 205663"/>
                <a:gd name="connsiteX3" fmla="*/ 90044 w 90044"/>
                <a:gd name="connsiteY3" fmla="*/ 205664 h 205663"/>
              </a:gdLst>
              <a:ahLst/>
              <a:cxnLst>
                <a:cxn ang="0">
                  <a:pos x="connsiteX0" y="connsiteY0"/>
                </a:cxn>
                <a:cxn ang="0">
                  <a:pos x="connsiteX1" y="connsiteY1"/>
                </a:cxn>
                <a:cxn ang="0">
                  <a:pos x="connsiteX2" y="connsiteY2"/>
                </a:cxn>
                <a:cxn ang="0">
                  <a:pos x="connsiteX3" y="connsiteY3"/>
                </a:cxn>
              </a:cxnLst>
              <a:rect l="l" t="t" r="r" b="b"/>
              <a:pathLst>
                <a:path w="90044" h="205663">
                  <a:moveTo>
                    <a:pt x="90044" y="205664"/>
                  </a:moveTo>
                  <a:cubicBezTo>
                    <a:pt x="39199" y="198661"/>
                    <a:pt x="0" y="155580"/>
                    <a:pt x="0" y="102832"/>
                  </a:cubicBezTo>
                  <a:cubicBezTo>
                    <a:pt x="0" y="50084"/>
                    <a:pt x="39275" y="7003"/>
                    <a:pt x="90044" y="0"/>
                  </a:cubicBezTo>
                  <a:lnTo>
                    <a:pt x="90044" y="205664"/>
                  </a:lnTo>
                  <a:close/>
                </a:path>
              </a:pathLst>
            </a:custGeom>
            <a:grpFill/>
            <a:ln w="7608" cap="flat">
              <a:noFill/>
              <a:prstDash val="solid"/>
              <a:miter/>
            </a:ln>
          </p:spPr>
          <p:txBody>
            <a:bodyPr rtlCol="0" anchor="ctr"/>
            <a:lstStyle/>
            <a:p>
              <a:endParaRPr lang="hi-IN"/>
            </a:p>
          </p:txBody>
        </p:sp>
        <p:sp>
          <p:nvSpPr>
            <p:cNvPr id="1999" name="Freeform: Shape 998"/>
            <p:cNvSpPr/>
            <p:nvPr/>
          </p:nvSpPr>
          <p:spPr>
            <a:xfrm>
              <a:off x="11975003" y="205359"/>
              <a:ext cx="209622" cy="209621"/>
            </a:xfrm>
            <a:custGeom>
              <a:avLst/>
              <a:gdLst>
                <a:gd name="connsiteX0" fmla="*/ 209622 w 209622"/>
                <a:gd name="connsiteY0" fmla="*/ 104811 h 209621"/>
                <a:gd name="connsiteX1" fmla="*/ 104811 w 209622"/>
                <a:gd name="connsiteY1" fmla="*/ 209622 h 209621"/>
                <a:gd name="connsiteX2" fmla="*/ 0 w 209622"/>
                <a:gd name="connsiteY2" fmla="*/ 104811 h 209621"/>
                <a:gd name="connsiteX3" fmla="*/ 104811 w 209622"/>
                <a:gd name="connsiteY3" fmla="*/ 0 h 209621"/>
                <a:gd name="connsiteX4" fmla="*/ 209622 w 209622"/>
                <a:gd name="connsiteY4" fmla="*/ 104811 h 20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22" h="209621">
                  <a:moveTo>
                    <a:pt x="209622" y="104811"/>
                  </a:moveTo>
                  <a:cubicBezTo>
                    <a:pt x="209622" y="162659"/>
                    <a:pt x="162735" y="209622"/>
                    <a:pt x="104811" y="209622"/>
                  </a:cubicBezTo>
                  <a:cubicBezTo>
                    <a:pt x="46964" y="209622"/>
                    <a:pt x="0" y="162735"/>
                    <a:pt x="0" y="104811"/>
                  </a:cubicBezTo>
                  <a:cubicBezTo>
                    <a:pt x="0" y="46963"/>
                    <a:pt x="46887" y="0"/>
                    <a:pt x="104811" y="0"/>
                  </a:cubicBezTo>
                  <a:cubicBezTo>
                    <a:pt x="162735" y="0"/>
                    <a:pt x="209622" y="46963"/>
                    <a:pt x="209622" y="104811"/>
                  </a:cubicBezTo>
                </a:path>
              </a:pathLst>
            </a:custGeom>
            <a:grpFill/>
            <a:ln w="7608" cap="flat">
              <a:noFill/>
              <a:prstDash val="solid"/>
              <a:miter/>
            </a:ln>
          </p:spPr>
          <p:txBody>
            <a:bodyPr rtlCol="0" anchor="ctr"/>
            <a:lstStyle/>
            <a:p>
              <a:endParaRPr lang="hi-IN"/>
            </a:p>
          </p:txBody>
        </p:sp>
        <p:sp>
          <p:nvSpPr>
            <p:cNvPr id="2000" name="Freeform: Shape 999"/>
            <p:cNvSpPr/>
            <p:nvPr/>
          </p:nvSpPr>
          <p:spPr>
            <a:xfrm>
              <a:off x="11851696" y="80149"/>
              <a:ext cx="209621" cy="209621"/>
            </a:xfrm>
            <a:custGeom>
              <a:avLst/>
              <a:gdLst>
                <a:gd name="connsiteX0" fmla="*/ 209621 w 209621"/>
                <a:gd name="connsiteY0" fmla="*/ 104811 h 209621"/>
                <a:gd name="connsiteX1" fmla="*/ 104810 w 209621"/>
                <a:gd name="connsiteY1" fmla="*/ 209622 h 209621"/>
                <a:gd name="connsiteX2" fmla="*/ 0 w 209621"/>
                <a:gd name="connsiteY2" fmla="*/ 104811 h 209621"/>
                <a:gd name="connsiteX3" fmla="*/ 104810 w 209621"/>
                <a:gd name="connsiteY3" fmla="*/ 0 h 209621"/>
                <a:gd name="connsiteX4" fmla="*/ 209621 w 209621"/>
                <a:gd name="connsiteY4" fmla="*/ 104811 h 20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21" h="209621">
                  <a:moveTo>
                    <a:pt x="209621" y="104811"/>
                  </a:moveTo>
                  <a:cubicBezTo>
                    <a:pt x="209621" y="162659"/>
                    <a:pt x="162735" y="209622"/>
                    <a:pt x="104810" y="209622"/>
                  </a:cubicBezTo>
                  <a:cubicBezTo>
                    <a:pt x="46963" y="209622"/>
                    <a:pt x="0" y="162735"/>
                    <a:pt x="0" y="104811"/>
                  </a:cubicBezTo>
                  <a:cubicBezTo>
                    <a:pt x="0" y="46963"/>
                    <a:pt x="46886" y="0"/>
                    <a:pt x="104810" y="0"/>
                  </a:cubicBezTo>
                  <a:cubicBezTo>
                    <a:pt x="162659" y="0"/>
                    <a:pt x="209621" y="46963"/>
                    <a:pt x="209621" y="104811"/>
                  </a:cubicBezTo>
                </a:path>
              </a:pathLst>
            </a:custGeom>
            <a:grpFill/>
            <a:ln w="7608" cap="flat">
              <a:noFill/>
              <a:prstDash val="solid"/>
              <a:miter/>
            </a:ln>
          </p:spPr>
          <p:txBody>
            <a:bodyPr rtlCol="0" anchor="ctr"/>
            <a:lstStyle/>
            <a:p>
              <a:endParaRPr lang="hi-IN"/>
            </a:p>
          </p:txBody>
        </p:sp>
        <p:sp>
          <p:nvSpPr>
            <p:cNvPr id="2001" name="Freeform: Shape 1000"/>
            <p:cNvSpPr/>
            <p:nvPr/>
          </p:nvSpPr>
          <p:spPr>
            <a:xfrm>
              <a:off x="11724583" y="9514"/>
              <a:ext cx="209622" cy="158776"/>
            </a:xfrm>
            <a:custGeom>
              <a:avLst/>
              <a:gdLst>
                <a:gd name="connsiteX0" fmla="*/ 194247 w 209622"/>
                <a:gd name="connsiteY0" fmla="*/ 0 h 158776"/>
                <a:gd name="connsiteX1" fmla="*/ 209622 w 209622"/>
                <a:gd name="connsiteY1" fmla="*/ 53966 h 158776"/>
                <a:gd name="connsiteX2" fmla="*/ 104811 w 209622"/>
                <a:gd name="connsiteY2" fmla="*/ 158777 h 158776"/>
                <a:gd name="connsiteX3" fmla="*/ 0 w 209622"/>
                <a:gd name="connsiteY3" fmla="*/ 53966 h 158776"/>
                <a:gd name="connsiteX4" fmla="*/ 15375 w 209622"/>
                <a:gd name="connsiteY4" fmla="*/ 0 h 158776"/>
                <a:gd name="connsiteX5" fmla="*/ 194247 w 209622"/>
                <a:gd name="connsiteY5" fmla="*/ 0 h 15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22" h="158776">
                  <a:moveTo>
                    <a:pt x="194247" y="0"/>
                  </a:moveTo>
                  <a:cubicBezTo>
                    <a:pt x="203837" y="15832"/>
                    <a:pt x="209622" y="34176"/>
                    <a:pt x="209622" y="53966"/>
                  </a:cubicBezTo>
                  <a:cubicBezTo>
                    <a:pt x="209622" y="111814"/>
                    <a:pt x="162735" y="158777"/>
                    <a:pt x="104811" y="158777"/>
                  </a:cubicBezTo>
                  <a:cubicBezTo>
                    <a:pt x="46887" y="158777"/>
                    <a:pt x="0" y="111890"/>
                    <a:pt x="0" y="53966"/>
                  </a:cubicBezTo>
                  <a:cubicBezTo>
                    <a:pt x="0" y="34100"/>
                    <a:pt x="5861" y="15756"/>
                    <a:pt x="15375" y="0"/>
                  </a:cubicBezTo>
                  <a:lnTo>
                    <a:pt x="194247" y="0"/>
                  </a:lnTo>
                  <a:close/>
                </a:path>
              </a:pathLst>
            </a:custGeom>
            <a:grpFill/>
            <a:ln w="7608" cap="flat">
              <a:noFill/>
              <a:prstDash val="solid"/>
              <a:miter/>
            </a:ln>
          </p:spPr>
          <p:txBody>
            <a:bodyPr rtlCol="0" anchor="ctr"/>
            <a:lstStyle/>
            <a:p>
              <a:endParaRPr lang="hi-IN"/>
            </a:p>
          </p:txBody>
        </p:sp>
        <p:sp>
          <p:nvSpPr>
            <p:cNvPr id="2002" name="Freeform: Shape 1001"/>
            <p:cNvSpPr/>
            <p:nvPr/>
          </p:nvSpPr>
          <p:spPr>
            <a:xfrm>
              <a:off x="11616803" y="9514"/>
              <a:ext cx="164105" cy="40645"/>
            </a:xfrm>
            <a:custGeom>
              <a:avLst/>
              <a:gdLst>
                <a:gd name="connsiteX0" fmla="*/ 164105 w 164105"/>
                <a:gd name="connsiteY0" fmla="*/ 0 h 40645"/>
                <a:gd name="connsiteX1" fmla="*/ 82053 w 164105"/>
                <a:gd name="connsiteY1" fmla="*/ 40646 h 40645"/>
                <a:gd name="connsiteX2" fmla="*/ 0 w 164105"/>
                <a:gd name="connsiteY2" fmla="*/ 0 h 40645"/>
                <a:gd name="connsiteX3" fmla="*/ 164105 w 164105"/>
                <a:gd name="connsiteY3" fmla="*/ 0 h 40645"/>
              </a:gdLst>
              <a:ahLst/>
              <a:cxnLst>
                <a:cxn ang="0">
                  <a:pos x="connsiteX0" y="connsiteY0"/>
                </a:cxn>
                <a:cxn ang="0">
                  <a:pos x="connsiteX1" y="connsiteY1"/>
                </a:cxn>
                <a:cxn ang="0">
                  <a:pos x="connsiteX2" y="connsiteY2"/>
                </a:cxn>
                <a:cxn ang="0">
                  <a:pos x="connsiteX3" y="connsiteY3"/>
                </a:cxn>
              </a:cxnLst>
              <a:rect l="l" t="t" r="r" b="b"/>
              <a:pathLst>
                <a:path w="164105" h="40645">
                  <a:moveTo>
                    <a:pt x="164105" y="0"/>
                  </a:moveTo>
                  <a:cubicBezTo>
                    <a:pt x="145000" y="24585"/>
                    <a:pt x="115544" y="40646"/>
                    <a:pt x="82053" y="40646"/>
                  </a:cubicBezTo>
                  <a:cubicBezTo>
                    <a:pt x="48562" y="40646"/>
                    <a:pt x="19029" y="24585"/>
                    <a:pt x="0" y="0"/>
                  </a:cubicBezTo>
                  <a:lnTo>
                    <a:pt x="164105" y="0"/>
                  </a:lnTo>
                  <a:close/>
                </a:path>
              </a:pathLst>
            </a:custGeom>
            <a:grpFill/>
            <a:ln w="7608" cap="flat">
              <a:noFill/>
              <a:prstDash val="solid"/>
              <a:miter/>
            </a:ln>
          </p:spPr>
          <p:txBody>
            <a:bodyPr rtlCol="0" anchor="ctr"/>
            <a:lstStyle/>
            <a:p>
              <a:endParaRPr lang="hi-IN"/>
            </a:p>
          </p:txBody>
        </p:sp>
        <p:sp>
          <p:nvSpPr>
            <p:cNvPr id="2003" name="Freeform: Shape 1002"/>
            <p:cNvSpPr/>
            <p:nvPr/>
          </p:nvSpPr>
          <p:spPr>
            <a:xfrm>
              <a:off x="12060633" y="12406"/>
              <a:ext cx="124600" cy="223779"/>
            </a:xfrm>
            <a:custGeom>
              <a:avLst/>
              <a:gdLst>
                <a:gd name="connsiteX0" fmla="*/ 124601 w 124600"/>
                <a:gd name="connsiteY0" fmla="*/ 222485 h 223779"/>
                <a:gd name="connsiteX1" fmla="*/ 111889 w 124600"/>
                <a:gd name="connsiteY1" fmla="*/ 223779 h 223779"/>
                <a:gd name="connsiteX2" fmla="*/ 0 w 124600"/>
                <a:gd name="connsiteY2" fmla="*/ 111890 h 223779"/>
                <a:gd name="connsiteX3" fmla="*/ 111889 w 124600"/>
                <a:gd name="connsiteY3" fmla="*/ 0 h 223779"/>
                <a:gd name="connsiteX4" fmla="*/ 124601 w 124600"/>
                <a:gd name="connsiteY4" fmla="*/ 1294 h 223779"/>
                <a:gd name="connsiteX5" fmla="*/ 124601 w 124600"/>
                <a:gd name="connsiteY5" fmla="*/ 222485 h 22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600" h="223779">
                  <a:moveTo>
                    <a:pt x="124601" y="222485"/>
                  </a:moveTo>
                  <a:cubicBezTo>
                    <a:pt x="120414" y="222942"/>
                    <a:pt x="116228" y="223779"/>
                    <a:pt x="111889" y="223779"/>
                  </a:cubicBezTo>
                  <a:cubicBezTo>
                    <a:pt x="50084" y="223779"/>
                    <a:pt x="0" y="173695"/>
                    <a:pt x="0" y="111890"/>
                  </a:cubicBezTo>
                  <a:cubicBezTo>
                    <a:pt x="0" y="50084"/>
                    <a:pt x="50084" y="0"/>
                    <a:pt x="111889" y="0"/>
                  </a:cubicBezTo>
                  <a:cubicBezTo>
                    <a:pt x="116228" y="0"/>
                    <a:pt x="120414" y="761"/>
                    <a:pt x="124601" y="1294"/>
                  </a:cubicBezTo>
                  <a:lnTo>
                    <a:pt x="124601" y="222485"/>
                  </a:lnTo>
                  <a:close/>
                </a:path>
              </a:pathLst>
            </a:custGeom>
            <a:grpFill/>
            <a:ln w="7608" cap="flat">
              <a:noFill/>
              <a:prstDash val="solid"/>
              <a:miter/>
            </a:ln>
          </p:spPr>
          <p:txBody>
            <a:bodyPr rtlCol="0" anchor="ctr"/>
            <a:lstStyle/>
            <a:p>
              <a:endParaRPr lang="hi-IN"/>
            </a:p>
          </p:txBody>
        </p:sp>
        <p:sp>
          <p:nvSpPr>
            <p:cNvPr id="2004" name="Freeform: Shape 1003"/>
            <p:cNvSpPr/>
            <p:nvPr/>
          </p:nvSpPr>
          <p:spPr>
            <a:xfrm>
              <a:off x="11936793" y="9514"/>
              <a:ext cx="221952" cy="102831"/>
            </a:xfrm>
            <a:custGeom>
              <a:avLst/>
              <a:gdLst>
                <a:gd name="connsiteX0" fmla="*/ 221953 w 221952"/>
                <a:gd name="connsiteY0" fmla="*/ 0 h 102831"/>
                <a:gd name="connsiteX1" fmla="*/ 110976 w 221952"/>
                <a:gd name="connsiteY1" fmla="*/ 102832 h 102831"/>
                <a:gd name="connsiteX2" fmla="*/ 0 w 221952"/>
                <a:gd name="connsiteY2" fmla="*/ 0 h 102831"/>
                <a:gd name="connsiteX3" fmla="*/ 221953 w 221952"/>
                <a:gd name="connsiteY3" fmla="*/ 0 h 102831"/>
              </a:gdLst>
              <a:ahLst/>
              <a:cxnLst>
                <a:cxn ang="0">
                  <a:pos x="connsiteX0" y="connsiteY0"/>
                </a:cxn>
                <a:cxn ang="0">
                  <a:pos x="connsiteX1" y="connsiteY1"/>
                </a:cxn>
                <a:cxn ang="0">
                  <a:pos x="connsiteX2" y="connsiteY2"/>
                </a:cxn>
                <a:cxn ang="0">
                  <a:pos x="connsiteX3" y="connsiteY3"/>
                </a:cxn>
              </a:cxnLst>
              <a:rect l="l" t="t" r="r" b="b"/>
              <a:pathLst>
                <a:path w="221952" h="102831">
                  <a:moveTo>
                    <a:pt x="221953" y="0"/>
                  </a:moveTo>
                  <a:cubicBezTo>
                    <a:pt x="217310" y="57467"/>
                    <a:pt x="169662" y="102832"/>
                    <a:pt x="110976" y="102832"/>
                  </a:cubicBezTo>
                  <a:cubicBezTo>
                    <a:pt x="52291" y="102832"/>
                    <a:pt x="4719" y="57467"/>
                    <a:pt x="0" y="0"/>
                  </a:cubicBezTo>
                  <a:lnTo>
                    <a:pt x="221953" y="0"/>
                  </a:lnTo>
                  <a:close/>
                </a:path>
              </a:pathLst>
            </a:custGeom>
            <a:grpFill/>
            <a:ln w="7608" cap="flat">
              <a:noFill/>
              <a:prstDash val="solid"/>
              <a:miter/>
            </a:ln>
          </p:spPr>
          <p:txBody>
            <a:bodyPr rtlCol="0" anchor="ctr"/>
            <a:lstStyle/>
            <a:p>
              <a:endParaRPr lang="hi-IN"/>
            </a:p>
          </p:txBody>
        </p:sp>
      </p:grpSp>
      <p:sp>
        <p:nvSpPr>
          <p:cNvPr id="2005" name="Title 1"/>
          <p:cNvSpPr>
            <a:spLocks noGrp="1"/>
          </p:cNvSpPr>
          <p:nvPr>
            <p:ph type="title" hasCustomPrompt="1"/>
          </p:nvPr>
        </p:nvSpPr>
        <p:spPr>
          <a:xfrm>
            <a:off x="7705726" y="3018706"/>
            <a:ext cx="4260134" cy="1017288"/>
          </a:xfrm>
        </p:spPr>
        <p:txBody>
          <a:bodyPr>
            <a:normAutofit/>
          </a:bodyPr>
          <a:lstStyle>
            <a:lvl1pPr>
              <a:defRPr sz="3400">
                <a:solidFill>
                  <a:schemeClr val="tx2"/>
                </a:solidFill>
                <a:latin typeface="+mn-lt"/>
              </a:defRPr>
            </a:lvl1pPr>
          </a:lstStyle>
          <a:p>
            <a:r>
              <a:rPr lang="en-US"/>
              <a:t>CLICK TO EDIT MASTER TITLE STYLE</a:t>
            </a:r>
            <a:endParaRPr lang="en-GB"/>
          </a:p>
        </p:txBody>
      </p:sp>
      <p:sp>
        <p:nvSpPr>
          <p:cNvPr id="2006" name="Text Placeholder 5"/>
          <p:cNvSpPr>
            <a:spLocks noGrp="1"/>
          </p:cNvSpPr>
          <p:nvPr>
            <p:ph type="body" sz="quarter" idx="12" hasCustomPrompt="1"/>
          </p:nvPr>
        </p:nvSpPr>
        <p:spPr>
          <a:xfrm flipH="1">
            <a:off x="10676151" y="6544068"/>
            <a:ext cx="1515849" cy="313932"/>
          </a:xfrm>
          <a:prstGeom prst="round1Rect">
            <a:avLst/>
          </a:prstGeom>
          <a:solidFill>
            <a:schemeClr val="bg1">
              <a:lumMod val="65000"/>
            </a:schemeClr>
          </a:solidFill>
        </p:spPr>
        <p:txBody>
          <a:bodyPr wrap="square">
            <a:spAutoFit/>
          </a:bodyPr>
          <a:lstStyle>
            <a:lvl1pPr marL="0" indent="0">
              <a:buFontTx/>
              <a:buNone/>
              <a:defRPr sz="1600">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Date</a:t>
            </a:r>
          </a:p>
        </p:txBody>
      </p:sp>
      <p:sp>
        <p:nvSpPr>
          <p:cNvPr id="2007" name="Text Placeholder 1018"/>
          <p:cNvSpPr>
            <a:spLocks noGrp="1"/>
          </p:cNvSpPr>
          <p:nvPr>
            <p:ph type="body" sz="quarter" idx="13" hasCustomPrompt="1"/>
          </p:nvPr>
        </p:nvSpPr>
        <p:spPr>
          <a:xfrm>
            <a:off x="8273822" y="4289145"/>
            <a:ext cx="3692037" cy="369332"/>
          </a:xfrm>
        </p:spPr>
        <p:txBody>
          <a:bodyPr wrap="square">
            <a:spAutoFit/>
          </a:bodyPr>
          <a:lstStyle>
            <a:lvl1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1pPr>
            <a:lvl2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2pPr>
            <a:lvl3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3pPr>
            <a:lvl4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4pPr>
            <a:lvl5pPr marL="0" indent="0" algn="l" defTabSz="914400" rtl="0" eaLnBrk="1" latinLnBrk="0" hangingPunct="1">
              <a:lnSpc>
                <a:spcPct val="90000"/>
              </a:lnSpc>
              <a:spcBef>
                <a:spcPts val="1000"/>
              </a:spcBef>
              <a:buFontTx/>
              <a:buNone/>
              <a:defRPr lang="en-GB" sz="2000" kern="1200" dirty="0">
                <a:solidFill>
                  <a:schemeClr val="tx2"/>
                </a:solidFill>
                <a:latin typeface="+mj-lt"/>
                <a:ea typeface="+mn-ea"/>
                <a:cs typeface="+mn-cs"/>
              </a:defRPr>
            </a:lvl5pPr>
          </a:lstStyle>
          <a:p>
            <a:pPr lvl="0"/>
            <a:r>
              <a:rPr lang="en-IN"/>
              <a:t>Click to edit Master Subtitle Style</a:t>
            </a:r>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18" name="Rectangle 10"/>
          <p:cNvSpPr>
            <a:spLocks noChangeArrowheads="1"/>
          </p:cNvSpPr>
          <p:nvPr userDrawn="1"/>
        </p:nvSpPr>
        <p:spPr bwMode="auto">
          <a:xfrm>
            <a:off x="-1588" y="0"/>
            <a:ext cx="11933021" cy="797877"/>
          </a:xfrm>
          <a:prstGeom prst="rect">
            <a:avLst/>
          </a:prstGeom>
          <a:solidFill>
            <a:srgbClr val="1850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hi-IN"/>
          </a:p>
        </p:txBody>
      </p:sp>
      <p:sp>
        <p:nvSpPr>
          <p:cNvPr id="59" name="Freeform: Shape 58"/>
          <p:cNvSpPr/>
          <p:nvPr userDrawn="1"/>
        </p:nvSpPr>
        <p:spPr bwMode="auto">
          <a:xfrm>
            <a:off x="10489025" y="0"/>
            <a:ext cx="1702975" cy="981868"/>
          </a:xfrm>
          <a:custGeom>
            <a:avLst/>
            <a:gdLst>
              <a:gd name="connsiteX0" fmla="*/ 562580 w 1702975"/>
              <a:gd name="connsiteY0" fmla="*/ 0 h 981868"/>
              <a:gd name="connsiteX1" fmla="*/ 1684641 w 1702975"/>
              <a:gd name="connsiteY1" fmla="*/ 0 h 981868"/>
              <a:gd name="connsiteX2" fmla="*/ 1702900 w 1702975"/>
              <a:gd name="connsiteY2" fmla="*/ 0 h 981868"/>
              <a:gd name="connsiteX3" fmla="*/ 1702975 w 1702975"/>
              <a:gd name="connsiteY3" fmla="*/ 0 h 981868"/>
              <a:gd name="connsiteX4" fmla="*/ 1702975 w 1702975"/>
              <a:gd name="connsiteY4" fmla="*/ 659434 h 981868"/>
              <a:gd name="connsiteX5" fmla="*/ 1518230 w 1702975"/>
              <a:gd name="connsiteY5" fmla="*/ 981868 h 981868"/>
              <a:gd name="connsiteX6" fmla="*/ 0 w 1702975"/>
              <a:gd name="connsiteY6" fmla="*/ 981868 h 981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2975" h="981868">
                <a:moveTo>
                  <a:pt x="562580" y="0"/>
                </a:moveTo>
                <a:lnTo>
                  <a:pt x="1684641" y="0"/>
                </a:lnTo>
                <a:lnTo>
                  <a:pt x="1702900" y="0"/>
                </a:lnTo>
                <a:lnTo>
                  <a:pt x="1702975" y="0"/>
                </a:lnTo>
                <a:lnTo>
                  <a:pt x="1702975" y="659434"/>
                </a:lnTo>
                <a:lnTo>
                  <a:pt x="1518230" y="981868"/>
                </a:lnTo>
                <a:lnTo>
                  <a:pt x="0" y="981868"/>
                </a:lnTo>
                <a:close/>
              </a:path>
            </a:pathLst>
          </a:custGeom>
          <a:solidFill>
            <a:srgbClr val="D1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hi-IN"/>
          </a:p>
        </p:txBody>
      </p:sp>
      <p:sp>
        <p:nvSpPr>
          <p:cNvPr id="3" name="Content Placeholder 2"/>
          <p:cNvSpPr>
            <a:spLocks noGrp="1"/>
          </p:cNvSpPr>
          <p:nvPr userDrawn="1">
            <p:ph idx="1"/>
          </p:nvPr>
        </p:nvSpPr>
        <p:spPr>
          <a:xfrm>
            <a:off x="838199" y="1825625"/>
            <a:ext cx="10713631" cy="4351338"/>
          </a:xfrm>
        </p:spPr>
        <p:txBody>
          <a:bodyPr/>
          <a:lstStyle>
            <a:lvl1pPr marL="266700" indent="-266700">
              <a:buClr>
                <a:schemeClr val="accent2"/>
              </a:buClr>
              <a:buFont typeface="Wingdings" panose="05000000000000000000" pitchFamily="2" charset="2"/>
              <a:buChar char="§"/>
              <a:defRPr>
                <a:latin typeface="+mn-lt"/>
              </a:defRPr>
            </a:lvl1pPr>
            <a:lvl2pPr marL="809625" indent="-450850">
              <a:buClr>
                <a:schemeClr val="accent2"/>
              </a:buClr>
              <a:buFont typeface="Calibri" panose="020F0502020204030204" pitchFamily="34" charset="0"/>
              <a:buChar char="—"/>
              <a:defRPr>
                <a:latin typeface="+mn-lt"/>
              </a:defRPr>
            </a:lvl2pPr>
            <a:lvl3pPr>
              <a:buClr>
                <a:schemeClr val="accent2"/>
              </a:buClr>
              <a:defRPr>
                <a:latin typeface="+mn-lt"/>
              </a:defRPr>
            </a:lvl3pPr>
            <a:lvl4pPr>
              <a:buClr>
                <a:schemeClr val="accent2"/>
              </a:buClr>
              <a:defRPr>
                <a:latin typeface="+mn-lt"/>
              </a:defRPr>
            </a:lvl4pPr>
            <a:lvl5pPr>
              <a:buClr>
                <a:schemeClr val="accent2"/>
              </a:buCl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i-IN"/>
          </a:p>
        </p:txBody>
      </p:sp>
      <p:sp>
        <p:nvSpPr>
          <p:cNvPr id="2" name="Title 1"/>
          <p:cNvSpPr>
            <a:spLocks noGrp="1"/>
          </p:cNvSpPr>
          <p:nvPr userDrawn="1">
            <p:ph type="title" hasCustomPrompt="1"/>
          </p:nvPr>
        </p:nvSpPr>
        <p:spPr>
          <a:xfrm>
            <a:off x="533401" y="185378"/>
            <a:ext cx="9690100" cy="431657"/>
          </a:xfrm>
        </p:spPr>
        <p:txBody>
          <a:bodyPr>
            <a:spAutoFit/>
          </a:bodyPr>
          <a:lstStyle>
            <a:lvl1pPr>
              <a:defRPr sz="2400" b="1">
                <a:solidFill>
                  <a:schemeClr val="bg1"/>
                </a:solidFill>
                <a:latin typeface="Arial" panose="020B0604020202020204" pitchFamily="34" charset="0"/>
              </a:defRPr>
            </a:lvl1pPr>
          </a:lstStyle>
          <a:p>
            <a:r>
              <a:rPr lang="en-US"/>
              <a:t>CLICK TO EDIT MASTER TITLE STYLE</a:t>
            </a:r>
            <a:endParaRPr lang="hi-IN"/>
          </a:p>
        </p:txBody>
      </p:sp>
      <p:grpSp>
        <p:nvGrpSpPr>
          <p:cNvPr id="9" name="Group 8"/>
          <p:cNvGrpSpPr/>
          <p:nvPr userDrawn="1"/>
        </p:nvGrpSpPr>
        <p:grpSpPr>
          <a:xfrm>
            <a:off x="10216289" y="0"/>
            <a:ext cx="736191" cy="1205473"/>
            <a:chOff x="10022298" y="1"/>
            <a:chExt cx="736191" cy="1205473"/>
          </a:xfrm>
        </p:grpSpPr>
        <p:sp>
          <p:nvSpPr>
            <p:cNvPr id="30" name="Line 5"/>
            <p:cNvSpPr>
              <a:spLocks noChangeShapeType="1"/>
            </p:cNvSpPr>
            <p:nvPr userDrawn="1"/>
          </p:nvSpPr>
          <p:spPr bwMode="auto">
            <a:xfrm flipH="1">
              <a:off x="10098120" y="1"/>
              <a:ext cx="660369" cy="1115780"/>
            </a:xfrm>
            <a:prstGeom prst="line">
              <a:avLst/>
            </a:prstGeom>
            <a:noFill/>
            <a:ln w="19050" cap="flat">
              <a:solidFill>
                <a:srgbClr val="6E98D0"/>
              </a:solidFill>
              <a:prstDash val="solid"/>
              <a:miter lim="800000"/>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hi-IN"/>
            </a:p>
          </p:txBody>
        </p:sp>
        <p:grpSp>
          <p:nvGrpSpPr>
            <p:cNvPr id="5" name="Group 4"/>
            <p:cNvGrpSpPr/>
            <p:nvPr userDrawn="1"/>
          </p:nvGrpSpPr>
          <p:grpSpPr>
            <a:xfrm>
              <a:off x="10022298" y="1062599"/>
              <a:ext cx="150813" cy="142875"/>
              <a:chOff x="10313988" y="1589088"/>
              <a:chExt cx="150813" cy="142875"/>
            </a:xfrm>
          </p:grpSpPr>
          <p:sp>
            <p:nvSpPr>
              <p:cNvPr id="31" name="Freeform 6"/>
              <p:cNvSpPr/>
              <p:nvPr userDrawn="1"/>
            </p:nvSpPr>
            <p:spPr bwMode="auto">
              <a:xfrm>
                <a:off x="10313988" y="1589088"/>
                <a:ext cx="150813" cy="142875"/>
              </a:xfrm>
              <a:custGeom>
                <a:avLst/>
                <a:gdLst>
                  <a:gd name="T0" fmla="*/ 65 w 79"/>
                  <a:gd name="T1" fmla="*/ 14 h 75"/>
                  <a:gd name="T2" fmla="*/ 14 w 79"/>
                  <a:gd name="T3" fmla="*/ 14 h 75"/>
                  <a:gd name="T4" fmla="*/ 14 w 79"/>
                  <a:gd name="T5" fmla="*/ 65 h 75"/>
                  <a:gd name="T6" fmla="*/ 39 w 79"/>
                  <a:gd name="T7" fmla="*/ 75 h 75"/>
                  <a:gd name="T8" fmla="*/ 65 w 79"/>
                  <a:gd name="T9" fmla="*/ 65 h 75"/>
                  <a:gd name="T10" fmla="*/ 65 w 79"/>
                  <a:gd name="T11" fmla="*/ 14 h 75"/>
                </a:gdLst>
                <a:ahLst/>
                <a:cxnLst>
                  <a:cxn ang="0">
                    <a:pos x="T0" y="T1"/>
                  </a:cxn>
                  <a:cxn ang="0">
                    <a:pos x="T2" y="T3"/>
                  </a:cxn>
                  <a:cxn ang="0">
                    <a:pos x="T4" y="T5"/>
                  </a:cxn>
                  <a:cxn ang="0">
                    <a:pos x="T6" y="T7"/>
                  </a:cxn>
                  <a:cxn ang="0">
                    <a:pos x="T8" y="T9"/>
                  </a:cxn>
                  <a:cxn ang="0">
                    <a:pos x="T10" y="T11"/>
                  </a:cxn>
                </a:cxnLst>
                <a:rect l="0" t="0" r="r" b="b"/>
                <a:pathLst>
                  <a:path w="79" h="75">
                    <a:moveTo>
                      <a:pt x="65" y="14"/>
                    </a:moveTo>
                    <a:cubicBezTo>
                      <a:pt x="51" y="0"/>
                      <a:pt x="28" y="0"/>
                      <a:pt x="14" y="14"/>
                    </a:cubicBezTo>
                    <a:cubicBezTo>
                      <a:pt x="0" y="28"/>
                      <a:pt x="0" y="51"/>
                      <a:pt x="14" y="65"/>
                    </a:cubicBezTo>
                    <a:cubicBezTo>
                      <a:pt x="21" y="72"/>
                      <a:pt x="30" y="75"/>
                      <a:pt x="39" y="75"/>
                    </a:cubicBezTo>
                    <a:cubicBezTo>
                      <a:pt x="48" y="75"/>
                      <a:pt x="58" y="72"/>
                      <a:pt x="65" y="65"/>
                    </a:cubicBezTo>
                    <a:cubicBezTo>
                      <a:pt x="79" y="51"/>
                      <a:pt x="79" y="28"/>
                      <a:pt x="65" y="14"/>
                    </a:cubicBezTo>
                    <a:close/>
                  </a:path>
                </a:pathLst>
              </a:custGeom>
              <a:solidFill>
                <a:srgbClr val="72C4E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32" name="Freeform 7"/>
              <p:cNvSpPr/>
              <p:nvPr userDrawn="1"/>
            </p:nvSpPr>
            <p:spPr bwMode="auto">
              <a:xfrm>
                <a:off x="10325101" y="1600200"/>
                <a:ext cx="125413" cy="127000"/>
              </a:xfrm>
              <a:custGeom>
                <a:avLst/>
                <a:gdLst>
                  <a:gd name="T0" fmla="*/ 54 w 66"/>
                  <a:gd name="T1" fmla="*/ 55 h 66"/>
                  <a:gd name="T2" fmla="*/ 54 w 66"/>
                  <a:gd name="T3" fmla="*/ 12 h 66"/>
                  <a:gd name="T4" fmla="*/ 12 w 66"/>
                  <a:gd name="T5" fmla="*/ 12 h 66"/>
                  <a:gd name="T6" fmla="*/ 12 w 66"/>
                  <a:gd name="T7" fmla="*/ 55 h 66"/>
                  <a:gd name="T8" fmla="*/ 54 w 66"/>
                  <a:gd name="T9" fmla="*/ 55 h 66"/>
                </a:gdLst>
                <a:ahLst/>
                <a:cxnLst>
                  <a:cxn ang="0">
                    <a:pos x="T0" y="T1"/>
                  </a:cxn>
                  <a:cxn ang="0">
                    <a:pos x="T2" y="T3"/>
                  </a:cxn>
                  <a:cxn ang="0">
                    <a:pos x="T4" y="T5"/>
                  </a:cxn>
                  <a:cxn ang="0">
                    <a:pos x="T6" y="T7"/>
                  </a:cxn>
                  <a:cxn ang="0">
                    <a:pos x="T8" y="T9"/>
                  </a:cxn>
                </a:cxnLst>
                <a:rect l="0" t="0" r="r" b="b"/>
                <a:pathLst>
                  <a:path w="66" h="66">
                    <a:moveTo>
                      <a:pt x="54" y="55"/>
                    </a:moveTo>
                    <a:cubicBezTo>
                      <a:pt x="66" y="43"/>
                      <a:pt x="66" y="24"/>
                      <a:pt x="54" y="12"/>
                    </a:cubicBezTo>
                    <a:cubicBezTo>
                      <a:pt x="43" y="0"/>
                      <a:pt x="24" y="0"/>
                      <a:pt x="12" y="12"/>
                    </a:cubicBezTo>
                    <a:cubicBezTo>
                      <a:pt x="0" y="24"/>
                      <a:pt x="0" y="43"/>
                      <a:pt x="12" y="55"/>
                    </a:cubicBezTo>
                    <a:cubicBezTo>
                      <a:pt x="24" y="66"/>
                      <a:pt x="43" y="66"/>
                      <a:pt x="54" y="55"/>
                    </a:cubicBezTo>
                    <a:close/>
                  </a:path>
                </a:pathLst>
              </a:custGeom>
              <a:solidFill>
                <a:srgbClr val="C1D9F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33" name="Freeform 8"/>
              <p:cNvSpPr/>
              <p:nvPr userDrawn="1"/>
            </p:nvSpPr>
            <p:spPr bwMode="auto">
              <a:xfrm>
                <a:off x="10337801" y="1609725"/>
                <a:ext cx="103188" cy="103188"/>
              </a:xfrm>
              <a:custGeom>
                <a:avLst/>
                <a:gdLst>
                  <a:gd name="T0" fmla="*/ 26 w 54"/>
                  <a:gd name="T1" fmla="*/ 54 h 54"/>
                  <a:gd name="T2" fmla="*/ 8 w 54"/>
                  <a:gd name="T3" fmla="*/ 46 h 54"/>
                  <a:gd name="T4" fmla="*/ 0 w 54"/>
                  <a:gd name="T5" fmla="*/ 28 h 54"/>
                  <a:gd name="T6" fmla="*/ 8 w 54"/>
                  <a:gd name="T7" fmla="*/ 10 h 54"/>
                  <a:gd name="T8" fmla="*/ 44 w 54"/>
                  <a:gd name="T9" fmla="*/ 10 h 54"/>
                  <a:gd name="T10" fmla="*/ 44 w 54"/>
                  <a:gd name="T11" fmla="*/ 46 h 54"/>
                  <a:gd name="T12" fmla="*/ 26 w 54"/>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26" y="54"/>
                    </a:moveTo>
                    <a:cubicBezTo>
                      <a:pt x="19" y="54"/>
                      <a:pt x="13" y="51"/>
                      <a:pt x="8" y="46"/>
                    </a:cubicBezTo>
                    <a:cubicBezTo>
                      <a:pt x="3" y="42"/>
                      <a:pt x="0" y="35"/>
                      <a:pt x="0" y="28"/>
                    </a:cubicBezTo>
                    <a:cubicBezTo>
                      <a:pt x="0" y="22"/>
                      <a:pt x="3" y="15"/>
                      <a:pt x="8" y="10"/>
                    </a:cubicBezTo>
                    <a:cubicBezTo>
                      <a:pt x="18" y="0"/>
                      <a:pt x="34" y="0"/>
                      <a:pt x="44" y="10"/>
                    </a:cubicBezTo>
                    <a:cubicBezTo>
                      <a:pt x="54" y="20"/>
                      <a:pt x="54" y="36"/>
                      <a:pt x="44" y="46"/>
                    </a:cubicBezTo>
                    <a:cubicBezTo>
                      <a:pt x="39" y="51"/>
                      <a:pt x="33" y="54"/>
                      <a:pt x="26" y="54"/>
                    </a:cubicBezTo>
                    <a:close/>
                  </a:path>
                </a:pathLst>
              </a:custGeom>
              <a:solidFill>
                <a:srgbClr val="2050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34" name="Freeform 9"/>
              <p:cNvSpPr/>
              <p:nvPr userDrawn="1"/>
            </p:nvSpPr>
            <p:spPr bwMode="auto">
              <a:xfrm>
                <a:off x="10369551" y="1646238"/>
                <a:ext cx="39688" cy="38100"/>
              </a:xfrm>
              <a:custGeom>
                <a:avLst/>
                <a:gdLst>
                  <a:gd name="T0" fmla="*/ 17 w 21"/>
                  <a:gd name="T1" fmla="*/ 16 h 20"/>
                  <a:gd name="T2" fmla="*/ 17 w 21"/>
                  <a:gd name="T3" fmla="*/ 3 h 20"/>
                  <a:gd name="T4" fmla="*/ 10 w 21"/>
                  <a:gd name="T5" fmla="*/ 0 h 20"/>
                  <a:gd name="T6" fmla="*/ 3 w 21"/>
                  <a:gd name="T7" fmla="*/ 3 h 20"/>
                  <a:gd name="T8" fmla="*/ 3 w 21"/>
                  <a:gd name="T9" fmla="*/ 16 h 20"/>
                  <a:gd name="T10" fmla="*/ 17 w 21"/>
                  <a:gd name="T11" fmla="*/ 16 h 20"/>
                </a:gdLst>
                <a:ahLst/>
                <a:cxnLst>
                  <a:cxn ang="0">
                    <a:pos x="T0" y="T1"/>
                  </a:cxn>
                  <a:cxn ang="0">
                    <a:pos x="T2" y="T3"/>
                  </a:cxn>
                  <a:cxn ang="0">
                    <a:pos x="T4" y="T5"/>
                  </a:cxn>
                  <a:cxn ang="0">
                    <a:pos x="T6" y="T7"/>
                  </a:cxn>
                  <a:cxn ang="0">
                    <a:pos x="T8" y="T9"/>
                  </a:cxn>
                  <a:cxn ang="0">
                    <a:pos x="T10" y="T11"/>
                  </a:cxn>
                </a:cxnLst>
                <a:rect l="0" t="0" r="r" b="b"/>
                <a:pathLst>
                  <a:path w="21" h="20">
                    <a:moveTo>
                      <a:pt x="17" y="16"/>
                    </a:moveTo>
                    <a:cubicBezTo>
                      <a:pt x="21" y="12"/>
                      <a:pt x="21" y="6"/>
                      <a:pt x="17" y="3"/>
                    </a:cubicBezTo>
                    <a:cubicBezTo>
                      <a:pt x="15" y="1"/>
                      <a:pt x="13" y="0"/>
                      <a:pt x="10" y="0"/>
                    </a:cubicBezTo>
                    <a:cubicBezTo>
                      <a:pt x="8" y="0"/>
                      <a:pt x="5" y="1"/>
                      <a:pt x="3" y="3"/>
                    </a:cubicBezTo>
                    <a:cubicBezTo>
                      <a:pt x="0" y="6"/>
                      <a:pt x="0" y="12"/>
                      <a:pt x="3" y="16"/>
                    </a:cubicBezTo>
                    <a:cubicBezTo>
                      <a:pt x="7" y="20"/>
                      <a:pt x="13" y="20"/>
                      <a:pt x="17" y="16"/>
                    </a:cubicBezTo>
                    <a:close/>
                  </a:path>
                </a:pathLst>
              </a:custGeom>
              <a:solidFill>
                <a:srgbClr val="D2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grpSp>
      </p:grpSp>
      <p:sp>
        <p:nvSpPr>
          <p:cNvPr id="12" name="Rectangle 11"/>
          <p:cNvSpPr/>
          <p:nvPr userDrawn="1"/>
        </p:nvSpPr>
        <p:spPr>
          <a:xfrm>
            <a:off x="0" y="6585087"/>
            <a:ext cx="4552545" cy="2729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Slide Number Placeholder 5"/>
          <p:cNvSpPr>
            <a:spLocks noGrp="1"/>
          </p:cNvSpPr>
          <p:nvPr userDrawn="1">
            <p:ph type="sldNum" sz="quarter" idx="12"/>
          </p:nvPr>
        </p:nvSpPr>
        <p:spPr>
          <a:xfrm>
            <a:off x="5847266" y="6606788"/>
            <a:ext cx="497468" cy="211203"/>
          </a:xfrm>
          <a:prstGeom prst="roundRect">
            <a:avLst>
              <a:gd name="adj" fmla="val 0"/>
            </a:avLst>
          </a:prstGeom>
          <a:noFill/>
        </p:spPr>
        <p:txBody>
          <a:bodyPr wrap="square" lIns="46800" tIns="36000" rIns="46800" bIns="36000">
            <a:spAutoFit/>
          </a:bodyPr>
          <a:lstStyle>
            <a:lvl1pPr algn="ctr">
              <a:defRPr sz="900">
                <a:solidFill>
                  <a:schemeClr val="bg1">
                    <a:lumMod val="50000"/>
                  </a:schemeClr>
                </a:solidFill>
                <a:latin typeface="+mn-lt"/>
                <a:cs typeface="Mangal" panose="02040503050203030202" pitchFamily="18" charset="0"/>
              </a:defRPr>
            </a:lvl1pPr>
          </a:lstStyle>
          <a:p>
            <a:fld id="{C7F1B9D8-1D95-44B3-9E1C-E404196FC055}" type="slidenum">
              <a:rPr lang="hi-IN" smtClean="0"/>
              <a:t>‹#›</a:t>
            </a:fld>
            <a:endParaRPr lang="hi-IN"/>
          </a:p>
        </p:txBody>
      </p:sp>
      <p:grpSp>
        <p:nvGrpSpPr>
          <p:cNvPr id="8" name="Group 7"/>
          <p:cNvGrpSpPr/>
          <p:nvPr userDrawn="1"/>
        </p:nvGrpSpPr>
        <p:grpSpPr>
          <a:xfrm>
            <a:off x="5847405" y="6595247"/>
            <a:ext cx="497793" cy="212027"/>
            <a:chOff x="5165455" y="6595247"/>
            <a:chExt cx="497793" cy="212027"/>
          </a:xfrm>
        </p:grpSpPr>
        <p:cxnSp>
          <p:nvCxnSpPr>
            <p:cNvPr id="6" name="Straight Connector 5"/>
            <p:cNvCxnSpPr/>
            <p:nvPr userDrawn="1"/>
          </p:nvCxnSpPr>
          <p:spPr>
            <a:xfrm>
              <a:off x="5165455" y="6595247"/>
              <a:ext cx="0" cy="21202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5663248" y="6595247"/>
              <a:ext cx="0" cy="21202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cxnSp>
        <p:nvCxnSpPr>
          <p:cNvPr id="13" name="Straight Connector 12"/>
          <p:cNvCxnSpPr/>
          <p:nvPr userDrawn="1"/>
        </p:nvCxnSpPr>
        <p:spPr>
          <a:xfrm>
            <a:off x="0" y="6585626"/>
            <a:ext cx="10831361" cy="0"/>
          </a:xfrm>
          <a:prstGeom prst="line">
            <a:avLst/>
          </a:prstGeom>
          <a:ln w="19050">
            <a:gradFill flip="none" rotWithShape="1">
              <a:gsLst>
                <a:gs pos="100000">
                  <a:srgbClr val="D23981"/>
                </a:gs>
                <a:gs pos="23000">
                  <a:schemeClr val="accent2"/>
                </a:gs>
              </a:gsLst>
              <a:lin ang="0" scaled="1"/>
              <a:tileRect/>
            </a:gra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userDrawn="1"/>
        </p:nvCxnSpPr>
        <p:spPr>
          <a:xfrm>
            <a:off x="11963374" y="6585626"/>
            <a:ext cx="228626" cy="0"/>
          </a:xfrm>
          <a:prstGeom prst="line">
            <a:avLst/>
          </a:prstGeom>
          <a:ln w="19050">
            <a:gradFill flip="none" rotWithShape="1">
              <a:gsLst>
                <a:gs pos="100000">
                  <a:srgbClr val="D23981"/>
                </a:gs>
                <a:gs pos="23000">
                  <a:schemeClr val="accent2"/>
                </a:gs>
              </a:gsLst>
              <a:lin ang="0" scaled="1"/>
              <a:tileRect/>
            </a:gra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2"/>
          <a:stretch>
            <a:fillRect/>
          </a:stretch>
        </p:blipFill>
        <p:spPr>
          <a:xfrm>
            <a:off x="-12700" y="4096268"/>
            <a:ext cx="3145809" cy="2761727"/>
          </a:xfrm>
          <a:prstGeom prst="rect">
            <a:avLst/>
          </a:prstGeom>
        </p:spPr>
      </p:pic>
      <p:pic>
        <p:nvPicPr>
          <p:cNvPr id="55" name="Picture 54"/>
          <p:cNvPicPr>
            <a:picLocks noChangeAspect="1"/>
          </p:cNvPicPr>
          <p:nvPr userDrawn="1"/>
        </p:nvPicPr>
        <p:blipFill rotWithShape="1">
          <a:blip r:embed="rId3" cstate="print">
            <a:extLst>
              <a:ext uri="{28A0092B-C50C-407E-A947-70E740481C1C}">
                <a14:useLocalDpi xmlns:a14="http://schemas.microsoft.com/office/drawing/2010/main" val="0"/>
              </a:ext>
            </a:extLst>
          </a:blip>
          <a:srcRect t="26695" b="20174"/>
          <a:stretch>
            <a:fillRect/>
          </a:stretch>
        </p:blipFill>
        <p:spPr>
          <a:xfrm>
            <a:off x="10918314" y="6407589"/>
            <a:ext cx="985581" cy="274320"/>
          </a:xfrm>
          <a:prstGeom prst="rect">
            <a:avLst/>
          </a:prstGeom>
        </p:spPr>
      </p:pic>
      <p:grpSp>
        <p:nvGrpSpPr>
          <p:cNvPr id="15" name="Group 14"/>
          <p:cNvGrpSpPr/>
          <p:nvPr userDrawn="1"/>
        </p:nvGrpSpPr>
        <p:grpSpPr>
          <a:xfrm>
            <a:off x="10605911" y="0"/>
            <a:ext cx="1586089" cy="1771836"/>
            <a:chOff x="10605911" y="0"/>
            <a:chExt cx="1586089" cy="1771836"/>
          </a:xfrm>
          <a:solidFill>
            <a:schemeClr val="accent2">
              <a:alpha val="13000"/>
            </a:schemeClr>
          </a:solidFill>
        </p:grpSpPr>
        <p:sp>
          <p:nvSpPr>
            <p:cNvPr id="1109" name="Oval 74"/>
            <p:cNvSpPr>
              <a:spLocks noChangeArrowheads="1"/>
            </p:cNvSpPr>
            <p:nvPr userDrawn="1"/>
          </p:nvSpPr>
          <p:spPr bwMode="auto">
            <a:xfrm flipH="1" flipV="1">
              <a:off x="10682120" y="979590"/>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46" name="Oval 111"/>
            <p:cNvSpPr>
              <a:spLocks noChangeArrowheads="1"/>
            </p:cNvSpPr>
            <p:nvPr userDrawn="1"/>
          </p:nvSpPr>
          <p:spPr bwMode="auto">
            <a:xfrm flipH="1" flipV="1">
              <a:off x="10656718" y="274667"/>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48" name="Oval 113"/>
            <p:cNvSpPr>
              <a:spLocks noChangeArrowheads="1"/>
            </p:cNvSpPr>
            <p:nvPr userDrawn="1"/>
          </p:nvSpPr>
          <p:spPr bwMode="auto">
            <a:xfrm flipH="1" flipV="1">
              <a:off x="10645604" y="808123"/>
              <a:ext cx="12701"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50" name="Oval 115"/>
            <p:cNvSpPr>
              <a:spLocks noChangeArrowheads="1"/>
            </p:cNvSpPr>
            <p:nvPr userDrawn="1"/>
          </p:nvSpPr>
          <p:spPr bwMode="auto">
            <a:xfrm flipH="1" flipV="1">
              <a:off x="10653542" y="536632"/>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53" name="Oval 118"/>
            <p:cNvSpPr>
              <a:spLocks noChangeArrowheads="1"/>
            </p:cNvSpPr>
            <p:nvPr userDrawn="1"/>
          </p:nvSpPr>
          <p:spPr bwMode="auto">
            <a:xfrm flipH="1" flipV="1">
              <a:off x="10656717" y="15877"/>
              <a:ext cx="26991"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57" name="Oval 122"/>
            <p:cNvSpPr>
              <a:spLocks noChangeArrowheads="1"/>
            </p:cNvSpPr>
            <p:nvPr userDrawn="1"/>
          </p:nvSpPr>
          <p:spPr bwMode="auto">
            <a:xfrm flipH="1" flipV="1">
              <a:off x="10605911" y="127014"/>
              <a:ext cx="25403"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61" name="Oval 126"/>
            <p:cNvSpPr>
              <a:spLocks noChangeArrowheads="1"/>
            </p:cNvSpPr>
            <p:nvPr userDrawn="1"/>
          </p:nvSpPr>
          <p:spPr bwMode="auto">
            <a:xfrm flipH="1" flipV="1">
              <a:off x="10628139" y="1092315"/>
              <a:ext cx="9526" cy="79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62" name="Oval 127"/>
            <p:cNvSpPr>
              <a:spLocks noChangeArrowheads="1"/>
            </p:cNvSpPr>
            <p:nvPr userDrawn="1"/>
          </p:nvSpPr>
          <p:spPr bwMode="auto">
            <a:xfrm flipH="1" flipV="1">
              <a:off x="10650366" y="1282835"/>
              <a:ext cx="4763" cy="635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0" name="Oval 165"/>
            <p:cNvSpPr>
              <a:spLocks noChangeArrowheads="1"/>
            </p:cNvSpPr>
            <p:nvPr userDrawn="1"/>
          </p:nvSpPr>
          <p:spPr bwMode="auto">
            <a:xfrm flipH="1" flipV="1">
              <a:off x="11666479" y="85734"/>
              <a:ext cx="53981" cy="5398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1" name="Oval 166"/>
            <p:cNvSpPr>
              <a:spLocks noChangeArrowheads="1"/>
            </p:cNvSpPr>
            <p:nvPr userDrawn="1"/>
          </p:nvSpPr>
          <p:spPr bwMode="auto">
            <a:xfrm flipH="1" flipV="1">
              <a:off x="11612498" y="1041510"/>
              <a:ext cx="26991"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2" name="Oval 167"/>
            <p:cNvSpPr>
              <a:spLocks noChangeArrowheads="1"/>
            </p:cNvSpPr>
            <p:nvPr userDrawn="1"/>
          </p:nvSpPr>
          <p:spPr bwMode="auto">
            <a:xfrm flipH="1" flipV="1">
              <a:off x="11685531" y="916084"/>
              <a:ext cx="30166"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3" name="Oval 168"/>
            <p:cNvSpPr>
              <a:spLocks noChangeArrowheads="1"/>
            </p:cNvSpPr>
            <p:nvPr userDrawn="1"/>
          </p:nvSpPr>
          <p:spPr bwMode="auto">
            <a:xfrm flipH="1" flipV="1">
              <a:off x="11637901" y="604902"/>
              <a:ext cx="38104"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4" name="Oval 169"/>
            <p:cNvSpPr>
              <a:spLocks noChangeArrowheads="1"/>
            </p:cNvSpPr>
            <p:nvPr userDrawn="1"/>
          </p:nvSpPr>
          <p:spPr bwMode="auto">
            <a:xfrm flipH="1" flipV="1">
              <a:off x="11698232" y="695399"/>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5" name="Oval 170"/>
            <p:cNvSpPr>
              <a:spLocks noChangeArrowheads="1"/>
            </p:cNvSpPr>
            <p:nvPr userDrawn="1"/>
          </p:nvSpPr>
          <p:spPr bwMode="auto">
            <a:xfrm flipH="1" flipV="1">
              <a:off x="11731574" y="1012932"/>
              <a:ext cx="28578"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6" name="Oval 171"/>
            <p:cNvSpPr>
              <a:spLocks noChangeArrowheads="1"/>
            </p:cNvSpPr>
            <p:nvPr userDrawn="1"/>
          </p:nvSpPr>
          <p:spPr bwMode="auto">
            <a:xfrm flipH="1" flipV="1">
              <a:off x="11760152" y="573148"/>
              <a:ext cx="41280"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7" name="Oval 172"/>
            <p:cNvSpPr>
              <a:spLocks noChangeArrowheads="1"/>
            </p:cNvSpPr>
            <p:nvPr userDrawn="1"/>
          </p:nvSpPr>
          <p:spPr bwMode="auto">
            <a:xfrm flipH="1" flipV="1">
              <a:off x="11753802" y="1565440"/>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8" name="Oval 173"/>
            <p:cNvSpPr>
              <a:spLocks noChangeArrowheads="1"/>
            </p:cNvSpPr>
            <p:nvPr userDrawn="1"/>
          </p:nvSpPr>
          <p:spPr bwMode="auto">
            <a:xfrm flipH="1" flipV="1">
              <a:off x="11753801" y="789070"/>
              <a:ext cx="34929"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9" name="Oval 174"/>
            <p:cNvSpPr>
              <a:spLocks noChangeArrowheads="1"/>
            </p:cNvSpPr>
            <p:nvPr userDrawn="1"/>
          </p:nvSpPr>
          <p:spPr bwMode="auto">
            <a:xfrm flipH="1" flipV="1">
              <a:off x="11572807" y="519167"/>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0" name="Oval 175"/>
            <p:cNvSpPr>
              <a:spLocks noChangeArrowheads="1"/>
            </p:cNvSpPr>
            <p:nvPr userDrawn="1"/>
          </p:nvSpPr>
          <p:spPr bwMode="auto">
            <a:xfrm flipH="1" flipV="1">
              <a:off x="11514063" y="638242"/>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1" name="Oval 176"/>
            <p:cNvSpPr>
              <a:spLocks noChangeArrowheads="1"/>
            </p:cNvSpPr>
            <p:nvPr userDrawn="1"/>
          </p:nvSpPr>
          <p:spPr bwMode="auto">
            <a:xfrm flipH="1" flipV="1">
              <a:off x="12058635" y="601726"/>
              <a:ext cx="50806"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2" name="Oval 177"/>
            <p:cNvSpPr>
              <a:spLocks noChangeArrowheads="1"/>
            </p:cNvSpPr>
            <p:nvPr userDrawn="1"/>
          </p:nvSpPr>
          <p:spPr bwMode="auto">
            <a:xfrm flipH="1" flipV="1">
              <a:off x="11577569" y="727152"/>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3" name="Oval 178"/>
            <p:cNvSpPr>
              <a:spLocks noChangeArrowheads="1"/>
            </p:cNvSpPr>
            <p:nvPr userDrawn="1"/>
          </p:nvSpPr>
          <p:spPr bwMode="auto">
            <a:xfrm flipH="1" flipV="1">
              <a:off x="11534702" y="127014"/>
              <a:ext cx="49218"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4" name="Oval 179"/>
            <p:cNvSpPr>
              <a:spLocks noChangeArrowheads="1"/>
            </p:cNvSpPr>
            <p:nvPr userDrawn="1"/>
          </p:nvSpPr>
          <p:spPr bwMode="auto">
            <a:xfrm flipH="1" flipV="1">
              <a:off x="11629963" y="398505"/>
              <a:ext cx="42867" cy="4445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5" name="Oval 180"/>
            <p:cNvSpPr>
              <a:spLocks noChangeArrowheads="1"/>
            </p:cNvSpPr>
            <p:nvPr userDrawn="1"/>
          </p:nvSpPr>
          <p:spPr bwMode="auto">
            <a:xfrm flipH="1" flipV="1">
              <a:off x="11612498" y="201634"/>
              <a:ext cx="49218" cy="4763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6" name="Oval 181"/>
            <p:cNvSpPr>
              <a:spLocks noChangeArrowheads="1"/>
            </p:cNvSpPr>
            <p:nvPr userDrawn="1"/>
          </p:nvSpPr>
          <p:spPr bwMode="auto">
            <a:xfrm flipH="1" flipV="1">
              <a:off x="11588684" y="12702"/>
              <a:ext cx="52393" cy="5239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7" name="Oval 182"/>
            <p:cNvSpPr>
              <a:spLocks noChangeArrowheads="1"/>
            </p:cNvSpPr>
            <p:nvPr userDrawn="1"/>
          </p:nvSpPr>
          <p:spPr bwMode="auto">
            <a:xfrm flipH="1" flipV="1">
              <a:off x="11755389" y="365164"/>
              <a:ext cx="49218" cy="4604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8" name="Oval 183"/>
            <p:cNvSpPr>
              <a:spLocks noChangeArrowheads="1"/>
            </p:cNvSpPr>
            <p:nvPr userDrawn="1"/>
          </p:nvSpPr>
          <p:spPr bwMode="auto">
            <a:xfrm flipH="1" flipV="1">
              <a:off x="11558518" y="319122"/>
              <a:ext cx="42867"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0" name="Oval 185"/>
            <p:cNvSpPr>
              <a:spLocks noChangeArrowheads="1"/>
            </p:cNvSpPr>
            <p:nvPr userDrawn="1"/>
          </p:nvSpPr>
          <p:spPr bwMode="auto">
            <a:xfrm flipH="1" flipV="1">
              <a:off x="11964962" y="955776"/>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1" name="Oval 186"/>
            <p:cNvSpPr>
              <a:spLocks noChangeArrowheads="1"/>
            </p:cNvSpPr>
            <p:nvPr userDrawn="1"/>
          </p:nvSpPr>
          <p:spPr bwMode="auto">
            <a:xfrm flipH="1" flipV="1">
              <a:off x="11939560" y="633479"/>
              <a:ext cx="44455"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2" name="Oval 187"/>
            <p:cNvSpPr>
              <a:spLocks noChangeArrowheads="1"/>
            </p:cNvSpPr>
            <p:nvPr userDrawn="1"/>
          </p:nvSpPr>
          <p:spPr bwMode="auto">
            <a:xfrm flipH="1" flipV="1">
              <a:off x="11922096" y="854165"/>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3" name="Oval 188"/>
            <p:cNvSpPr>
              <a:spLocks noChangeArrowheads="1"/>
            </p:cNvSpPr>
            <p:nvPr userDrawn="1"/>
          </p:nvSpPr>
          <p:spPr bwMode="auto">
            <a:xfrm flipH="1" flipV="1">
              <a:off x="11998304" y="1617833"/>
              <a:ext cx="20640"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4" name="Oval 189"/>
            <p:cNvSpPr>
              <a:spLocks noChangeArrowheads="1"/>
            </p:cNvSpPr>
            <p:nvPr userDrawn="1"/>
          </p:nvSpPr>
          <p:spPr bwMode="auto">
            <a:xfrm flipH="1" flipV="1">
              <a:off x="12039583" y="825587"/>
              <a:ext cx="41280"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5" name="Oval 190"/>
            <p:cNvSpPr>
              <a:spLocks noChangeArrowheads="1"/>
            </p:cNvSpPr>
            <p:nvPr userDrawn="1"/>
          </p:nvSpPr>
          <p:spPr bwMode="auto">
            <a:xfrm flipH="1" flipV="1">
              <a:off x="12003067" y="1057386"/>
              <a:ext cx="34929"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6" name="Oval 191"/>
            <p:cNvSpPr>
              <a:spLocks noChangeArrowheads="1"/>
            </p:cNvSpPr>
            <p:nvPr userDrawn="1"/>
          </p:nvSpPr>
          <p:spPr bwMode="auto">
            <a:xfrm flipH="1" flipV="1">
              <a:off x="12003067" y="508054"/>
              <a:ext cx="52393" cy="5080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7" name="Oval 192"/>
            <p:cNvSpPr>
              <a:spLocks noChangeArrowheads="1"/>
            </p:cNvSpPr>
            <p:nvPr userDrawn="1"/>
          </p:nvSpPr>
          <p:spPr bwMode="auto">
            <a:xfrm flipH="1" flipV="1">
              <a:off x="11987190" y="1509872"/>
              <a:ext cx="25403"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8" name="Oval 193"/>
            <p:cNvSpPr>
              <a:spLocks noChangeArrowheads="1"/>
            </p:cNvSpPr>
            <p:nvPr userDrawn="1"/>
          </p:nvSpPr>
          <p:spPr bwMode="auto">
            <a:xfrm flipH="1" flipV="1">
              <a:off x="11882403" y="539807"/>
              <a:ext cx="46043" cy="4604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9" name="Oval 194"/>
            <p:cNvSpPr>
              <a:spLocks noChangeArrowheads="1"/>
            </p:cNvSpPr>
            <p:nvPr userDrawn="1"/>
          </p:nvSpPr>
          <p:spPr bwMode="auto">
            <a:xfrm flipH="1" flipV="1">
              <a:off x="11818896" y="663645"/>
              <a:ext cx="39692" cy="3969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0" name="Oval 195"/>
            <p:cNvSpPr>
              <a:spLocks noChangeArrowheads="1"/>
            </p:cNvSpPr>
            <p:nvPr userDrawn="1"/>
          </p:nvSpPr>
          <p:spPr bwMode="auto">
            <a:xfrm flipH="1" flipV="1">
              <a:off x="11855413" y="1430488"/>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1" name="Oval 196"/>
            <p:cNvSpPr>
              <a:spLocks noChangeArrowheads="1"/>
            </p:cNvSpPr>
            <p:nvPr userDrawn="1"/>
          </p:nvSpPr>
          <p:spPr bwMode="auto">
            <a:xfrm flipH="1" flipV="1">
              <a:off x="11804607" y="885918"/>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2" name="Oval 197"/>
            <p:cNvSpPr>
              <a:spLocks noChangeArrowheads="1"/>
            </p:cNvSpPr>
            <p:nvPr userDrawn="1"/>
          </p:nvSpPr>
          <p:spPr bwMode="auto">
            <a:xfrm flipH="1" flipV="1">
              <a:off x="11849062" y="984354"/>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3" name="Oval 198"/>
            <p:cNvSpPr>
              <a:spLocks noChangeArrowheads="1"/>
            </p:cNvSpPr>
            <p:nvPr userDrawn="1"/>
          </p:nvSpPr>
          <p:spPr bwMode="auto">
            <a:xfrm flipH="1" flipV="1">
              <a:off x="11871289" y="1538449"/>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4" name="Oval 199"/>
            <p:cNvSpPr>
              <a:spLocks noChangeArrowheads="1"/>
            </p:cNvSpPr>
            <p:nvPr userDrawn="1"/>
          </p:nvSpPr>
          <p:spPr bwMode="auto">
            <a:xfrm flipH="1" flipV="1">
              <a:off x="11887166" y="1085964"/>
              <a:ext cx="31754"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5" name="Oval 200"/>
            <p:cNvSpPr>
              <a:spLocks noChangeArrowheads="1"/>
            </p:cNvSpPr>
            <p:nvPr userDrawn="1"/>
          </p:nvSpPr>
          <p:spPr bwMode="auto">
            <a:xfrm flipH="1" flipV="1">
              <a:off x="11880816" y="1644822"/>
              <a:ext cx="19052"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6" name="Oval 201"/>
            <p:cNvSpPr>
              <a:spLocks noChangeArrowheads="1"/>
            </p:cNvSpPr>
            <p:nvPr userDrawn="1"/>
          </p:nvSpPr>
          <p:spPr bwMode="auto">
            <a:xfrm flipH="1" flipV="1">
              <a:off x="11566455" y="944662"/>
              <a:ext cx="26991"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7" name="Oval 202"/>
            <p:cNvSpPr>
              <a:spLocks noChangeArrowheads="1"/>
            </p:cNvSpPr>
            <p:nvPr userDrawn="1"/>
          </p:nvSpPr>
          <p:spPr bwMode="auto">
            <a:xfrm flipH="1" flipV="1">
              <a:off x="11267973" y="214336"/>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8" name="Oval 203"/>
            <p:cNvSpPr>
              <a:spLocks noChangeArrowheads="1"/>
            </p:cNvSpPr>
            <p:nvPr userDrawn="1"/>
          </p:nvSpPr>
          <p:spPr bwMode="auto">
            <a:xfrm flipH="1" flipV="1">
              <a:off x="11215579" y="328648"/>
              <a:ext cx="33341"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9" name="Oval 204"/>
            <p:cNvSpPr>
              <a:spLocks noChangeArrowheads="1"/>
            </p:cNvSpPr>
            <p:nvPr userDrawn="1"/>
          </p:nvSpPr>
          <p:spPr bwMode="auto">
            <a:xfrm flipH="1" flipV="1">
              <a:off x="11869702" y="125426"/>
              <a:ext cx="57156" cy="5874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0" name="Oval 205"/>
            <p:cNvSpPr>
              <a:spLocks noChangeArrowheads="1"/>
            </p:cNvSpPr>
            <p:nvPr userDrawn="1"/>
          </p:nvSpPr>
          <p:spPr bwMode="auto">
            <a:xfrm flipH="1" flipV="1">
              <a:off x="11263209" y="708099"/>
              <a:ext cx="25403"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1" name="Oval 206"/>
            <p:cNvSpPr>
              <a:spLocks noChangeArrowheads="1"/>
            </p:cNvSpPr>
            <p:nvPr userDrawn="1"/>
          </p:nvSpPr>
          <p:spPr bwMode="auto">
            <a:xfrm flipH="1" flipV="1">
              <a:off x="11233044" y="36517"/>
              <a:ext cx="42867"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2" name="Oval 207"/>
            <p:cNvSpPr>
              <a:spLocks noChangeArrowheads="1"/>
            </p:cNvSpPr>
            <p:nvPr userDrawn="1"/>
          </p:nvSpPr>
          <p:spPr bwMode="auto">
            <a:xfrm flipH="1" flipV="1">
              <a:off x="12004655" y="295307"/>
              <a:ext cx="57156" cy="5715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3" name="Oval 208"/>
            <p:cNvSpPr>
              <a:spLocks noChangeArrowheads="1"/>
            </p:cNvSpPr>
            <p:nvPr userDrawn="1"/>
          </p:nvSpPr>
          <p:spPr bwMode="auto">
            <a:xfrm flipH="1" flipV="1">
              <a:off x="11269560" y="914496"/>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4" name="Oval 209"/>
            <p:cNvSpPr>
              <a:spLocks noChangeArrowheads="1"/>
            </p:cNvSpPr>
            <p:nvPr userDrawn="1"/>
          </p:nvSpPr>
          <p:spPr bwMode="auto">
            <a:xfrm flipH="1" flipV="1">
              <a:off x="11872877" y="757317"/>
              <a:ext cx="39692" cy="3969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5" name="Oval 210"/>
            <p:cNvSpPr>
              <a:spLocks noChangeArrowheads="1"/>
            </p:cNvSpPr>
            <p:nvPr userDrawn="1"/>
          </p:nvSpPr>
          <p:spPr bwMode="auto">
            <a:xfrm flipH="1" flipV="1">
              <a:off x="11996717" y="88910"/>
              <a:ext cx="61919" cy="6350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6" name="Oval 211"/>
            <p:cNvSpPr>
              <a:spLocks noChangeArrowheads="1"/>
            </p:cNvSpPr>
            <p:nvPr userDrawn="1"/>
          </p:nvSpPr>
          <p:spPr bwMode="auto">
            <a:xfrm flipH="1" flipV="1">
              <a:off x="11182238" y="149241"/>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7" name="Oval 212"/>
            <p:cNvSpPr>
              <a:spLocks noChangeArrowheads="1"/>
            </p:cNvSpPr>
            <p:nvPr userDrawn="1"/>
          </p:nvSpPr>
          <p:spPr bwMode="auto">
            <a:xfrm flipH="1" flipV="1">
              <a:off x="12118967" y="1028808"/>
              <a:ext cx="39692"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8" name="Oval 213"/>
            <p:cNvSpPr>
              <a:spLocks noChangeArrowheads="1"/>
            </p:cNvSpPr>
            <p:nvPr userDrawn="1"/>
          </p:nvSpPr>
          <p:spPr bwMode="auto">
            <a:xfrm flipH="1" flipV="1">
              <a:off x="12152308" y="1132007"/>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0" name="Oval 215"/>
            <p:cNvSpPr>
              <a:spLocks noChangeArrowheads="1"/>
            </p:cNvSpPr>
            <p:nvPr userDrawn="1"/>
          </p:nvSpPr>
          <p:spPr bwMode="auto">
            <a:xfrm flipH="1" flipV="1">
              <a:off x="11320365" y="101611"/>
              <a:ext cx="41280"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1" name="Oval 216"/>
            <p:cNvSpPr>
              <a:spLocks noChangeArrowheads="1"/>
            </p:cNvSpPr>
            <p:nvPr userDrawn="1"/>
          </p:nvSpPr>
          <p:spPr bwMode="auto">
            <a:xfrm flipH="1" flipV="1">
              <a:off x="11634726" y="819237"/>
              <a:ext cx="30166"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2" name="Oval 217"/>
            <p:cNvSpPr>
              <a:spLocks noChangeArrowheads="1"/>
            </p:cNvSpPr>
            <p:nvPr userDrawn="1"/>
          </p:nvSpPr>
          <p:spPr bwMode="auto">
            <a:xfrm flipH="1" flipV="1">
              <a:off x="11377522" y="1100253"/>
              <a:ext cx="20640"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3" name="Oval 218"/>
            <p:cNvSpPr>
              <a:spLocks noChangeArrowheads="1"/>
            </p:cNvSpPr>
            <p:nvPr userDrawn="1"/>
          </p:nvSpPr>
          <p:spPr bwMode="auto">
            <a:xfrm flipH="1" flipV="1">
              <a:off x="11374347" y="473125"/>
              <a:ext cx="34929"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4" name="Oval 220"/>
            <p:cNvSpPr>
              <a:spLocks noChangeArrowheads="1"/>
            </p:cNvSpPr>
            <p:nvPr userDrawn="1"/>
          </p:nvSpPr>
          <p:spPr bwMode="auto">
            <a:xfrm flipH="1" flipV="1">
              <a:off x="11504535" y="435021"/>
              <a:ext cx="36517"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5" name="Oval 221"/>
            <p:cNvSpPr>
              <a:spLocks noChangeArrowheads="1"/>
            </p:cNvSpPr>
            <p:nvPr userDrawn="1"/>
          </p:nvSpPr>
          <p:spPr bwMode="auto">
            <a:xfrm flipH="1" flipV="1">
              <a:off x="11637900" y="1594017"/>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6" name="Oval 222"/>
            <p:cNvSpPr>
              <a:spLocks noChangeArrowheads="1"/>
            </p:cNvSpPr>
            <p:nvPr userDrawn="1"/>
          </p:nvSpPr>
          <p:spPr bwMode="auto">
            <a:xfrm flipH="1" flipV="1">
              <a:off x="11402925" y="169881"/>
              <a:ext cx="42867"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7" name="Oval 223"/>
            <p:cNvSpPr>
              <a:spLocks noChangeArrowheads="1"/>
            </p:cNvSpPr>
            <p:nvPr userDrawn="1"/>
          </p:nvSpPr>
          <p:spPr bwMode="auto">
            <a:xfrm flipH="1" flipV="1">
              <a:off x="11698232" y="484239"/>
              <a:ext cx="41280"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8" name="Freeform 224"/>
            <p:cNvSpPr/>
            <p:nvPr userDrawn="1"/>
          </p:nvSpPr>
          <p:spPr bwMode="auto">
            <a:xfrm flipH="1" flipV="1">
              <a:off x="11371171" y="0"/>
              <a:ext cx="47630" cy="34929"/>
            </a:xfrm>
            <a:custGeom>
              <a:avLst/>
              <a:gdLst>
                <a:gd name="T0" fmla="*/ 14 w 28"/>
                <a:gd name="T1" fmla="*/ 0 h 20"/>
                <a:gd name="T2" fmla="*/ 0 w 28"/>
                <a:gd name="T3" fmla="*/ 13 h 20"/>
                <a:gd name="T4" fmla="*/ 2 w 28"/>
                <a:gd name="T5" fmla="*/ 20 h 20"/>
                <a:gd name="T6" fmla="*/ 26 w 28"/>
                <a:gd name="T7" fmla="*/ 20 h 20"/>
                <a:gd name="T8" fmla="*/ 28 w 28"/>
                <a:gd name="T9" fmla="*/ 13 h 20"/>
                <a:gd name="T10" fmla="*/ 14 w 28"/>
                <a:gd name="T11" fmla="*/ 0 h 20"/>
              </a:gdLst>
              <a:ahLst/>
              <a:cxnLst>
                <a:cxn ang="0">
                  <a:pos x="T0" y="T1"/>
                </a:cxn>
                <a:cxn ang="0">
                  <a:pos x="T2" y="T3"/>
                </a:cxn>
                <a:cxn ang="0">
                  <a:pos x="T4" y="T5"/>
                </a:cxn>
                <a:cxn ang="0">
                  <a:pos x="T6" y="T7"/>
                </a:cxn>
                <a:cxn ang="0">
                  <a:pos x="T8" y="T9"/>
                </a:cxn>
                <a:cxn ang="0">
                  <a:pos x="T10" y="T11"/>
                </a:cxn>
              </a:cxnLst>
              <a:rect l="0" t="0" r="r" b="b"/>
              <a:pathLst>
                <a:path w="28" h="20">
                  <a:moveTo>
                    <a:pt x="14" y="0"/>
                  </a:moveTo>
                  <a:cubicBezTo>
                    <a:pt x="7" y="0"/>
                    <a:pt x="0" y="6"/>
                    <a:pt x="0" y="13"/>
                  </a:cubicBezTo>
                  <a:cubicBezTo>
                    <a:pt x="0" y="16"/>
                    <a:pt x="1" y="18"/>
                    <a:pt x="2" y="20"/>
                  </a:cubicBezTo>
                  <a:cubicBezTo>
                    <a:pt x="26" y="20"/>
                    <a:pt x="26" y="20"/>
                    <a:pt x="26" y="20"/>
                  </a:cubicBezTo>
                  <a:cubicBezTo>
                    <a:pt x="27" y="18"/>
                    <a:pt x="28" y="16"/>
                    <a:pt x="28" y="13"/>
                  </a:cubicBezTo>
                  <a:cubicBezTo>
                    <a:pt x="28" y="6"/>
                    <a:pt x="22" y="0"/>
                    <a:pt x="1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9" name="Oval 225"/>
            <p:cNvSpPr>
              <a:spLocks noChangeArrowheads="1"/>
            </p:cNvSpPr>
            <p:nvPr userDrawn="1"/>
          </p:nvSpPr>
          <p:spPr bwMode="auto">
            <a:xfrm flipH="1" flipV="1">
              <a:off x="11685531" y="281017"/>
              <a:ext cx="49218"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0" name="Oval 226"/>
            <p:cNvSpPr>
              <a:spLocks noChangeArrowheads="1"/>
            </p:cNvSpPr>
            <p:nvPr userDrawn="1"/>
          </p:nvSpPr>
          <p:spPr bwMode="auto">
            <a:xfrm flipH="1" flipV="1">
              <a:off x="11429915" y="357225"/>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1" name="Oval 227"/>
            <p:cNvSpPr>
              <a:spLocks noChangeArrowheads="1"/>
            </p:cNvSpPr>
            <p:nvPr userDrawn="1"/>
          </p:nvSpPr>
          <p:spPr bwMode="auto">
            <a:xfrm flipH="1" flipV="1">
              <a:off x="11495010" y="1071676"/>
              <a:ext cx="25403"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2" name="Oval 228"/>
            <p:cNvSpPr>
              <a:spLocks noChangeArrowheads="1"/>
            </p:cNvSpPr>
            <p:nvPr userDrawn="1"/>
          </p:nvSpPr>
          <p:spPr bwMode="auto">
            <a:xfrm flipH="1" flipV="1">
              <a:off x="11483896" y="241326"/>
              <a:ext cx="42867"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3" name="Oval 229"/>
            <p:cNvSpPr>
              <a:spLocks noChangeArrowheads="1"/>
            </p:cNvSpPr>
            <p:nvPr userDrawn="1"/>
          </p:nvSpPr>
          <p:spPr bwMode="auto">
            <a:xfrm flipH="1" flipV="1">
              <a:off x="11455318" y="55569"/>
              <a:ext cx="47630" cy="4763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4" name="Oval 230"/>
            <p:cNvSpPr>
              <a:spLocks noChangeArrowheads="1"/>
            </p:cNvSpPr>
            <p:nvPr userDrawn="1"/>
          </p:nvSpPr>
          <p:spPr bwMode="auto">
            <a:xfrm flipH="1" flipV="1">
              <a:off x="11925270" y="7939"/>
              <a:ext cx="63507" cy="6350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5" name="Oval 231"/>
            <p:cNvSpPr>
              <a:spLocks noChangeArrowheads="1"/>
            </p:cNvSpPr>
            <p:nvPr userDrawn="1"/>
          </p:nvSpPr>
          <p:spPr bwMode="auto">
            <a:xfrm flipH="1" flipV="1">
              <a:off x="11939559" y="207984"/>
              <a:ext cx="57156" cy="5874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6" name="Oval 232"/>
            <p:cNvSpPr>
              <a:spLocks noChangeArrowheads="1"/>
            </p:cNvSpPr>
            <p:nvPr userDrawn="1"/>
          </p:nvSpPr>
          <p:spPr bwMode="auto">
            <a:xfrm flipH="1" flipV="1">
              <a:off x="11990364" y="728739"/>
              <a:ext cx="46043"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7" name="Oval 233"/>
            <p:cNvSpPr>
              <a:spLocks noChangeArrowheads="1"/>
            </p:cNvSpPr>
            <p:nvPr userDrawn="1"/>
          </p:nvSpPr>
          <p:spPr bwMode="auto">
            <a:xfrm flipH="1" flipV="1">
              <a:off x="11944322" y="415969"/>
              <a:ext cx="52393" cy="5239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8" name="Oval 234"/>
            <p:cNvSpPr>
              <a:spLocks noChangeArrowheads="1"/>
            </p:cNvSpPr>
            <p:nvPr userDrawn="1"/>
          </p:nvSpPr>
          <p:spPr bwMode="auto">
            <a:xfrm flipH="1" flipV="1">
              <a:off x="11880815" y="330235"/>
              <a:ext cx="50806" cy="5080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9" name="Oval 235"/>
            <p:cNvSpPr>
              <a:spLocks noChangeArrowheads="1"/>
            </p:cNvSpPr>
            <p:nvPr userDrawn="1"/>
          </p:nvSpPr>
          <p:spPr bwMode="auto">
            <a:xfrm flipH="1" flipV="1">
              <a:off x="11820484" y="450898"/>
              <a:ext cx="47630" cy="4763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0" name="Oval 236"/>
            <p:cNvSpPr>
              <a:spLocks noChangeArrowheads="1"/>
            </p:cNvSpPr>
            <p:nvPr userDrawn="1"/>
          </p:nvSpPr>
          <p:spPr bwMode="auto">
            <a:xfrm flipH="1" flipV="1">
              <a:off x="11741100" y="163530"/>
              <a:ext cx="53981" cy="5398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1" name="Freeform 237"/>
            <p:cNvSpPr/>
            <p:nvPr userDrawn="1"/>
          </p:nvSpPr>
          <p:spPr bwMode="auto">
            <a:xfrm flipH="1" flipV="1">
              <a:off x="11720460" y="1"/>
              <a:ext cx="57156" cy="28578"/>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8" y="0"/>
                    <a:pt x="0" y="7"/>
                    <a:pt x="0" y="16"/>
                  </a:cubicBezTo>
                  <a:cubicBezTo>
                    <a:pt x="33" y="16"/>
                    <a:pt x="33" y="16"/>
                    <a:pt x="33" y="16"/>
                  </a:cubicBezTo>
                  <a:cubicBezTo>
                    <a:pt x="32"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2" name="Oval 238"/>
            <p:cNvSpPr>
              <a:spLocks noChangeArrowheads="1"/>
            </p:cNvSpPr>
            <p:nvPr userDrawn="1"/>
          </p:nvSpPr>
          <p:spPr bwMode="auto">
            <a:xfrm flipH="1" flipV="1">
              <a:off x="11812545" y="244501"/>
              <a:ext cx="53981" cy="5239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3" name="Oval 239"/>
            <p:cNvSpPr>
              <a:spLocks noChangeArrowheads="1"/>
            </p:cNvSpPr>
            <p:nvPr userDrawn="1"/>
          </p:nvSpPr>
          <p:spPr bwMode="auto">
            <a:xfrm flipH="1" flipV="1">
              <a:off x="11796669" y="47631"/>
              <a:ext cx="57156" cy="5715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1" name="Freeform 277"/>
            <p:cNvSpPr/>
            <p:nvPr userDrawn="1"/>
          </p:nvSpPr>
          <p:spPr bwMode="auto">
            <a:xfrm flipH="1" flipV="1">
              <a:off x="12052284" y="0"/>
              <a:ext cx="68270" cy="39692"/>
            </a:xfrm>
            <a:custGeom>
              <a:avLst/>
              <a:gdLst>
                <a:gd name="T0" fmla="*/ 40 w 40"/>
                <a:gd name="T1" fmla="*/ 20 h 23"/>
                <a:gd name="T2" fmla="*/ 20 w 40"/>
                <a:gd name="T3" fmla="*/ 0 h 23"/>
                <a:gd name="T4" fmla="*/ 0 w 40"/>
                <a:gd name="T5" fmla="*/ 20 h 23"/>
                <a:gd name="T6" fmla="*/ 0 w 40"/>
                <a:gd name="T7" fmla="*/ 23 h 23"/>
                <a:gd name="T8" fmla="*/ 40 w 40"/>
                <a:gd name="T9" fmla="*/ 23 h 23"/>
                <a:gd name="T10" fmla="*/ 40 w 40"/>
                <a:gd name="T11" fmla="*/ 20 h 23"/>
              </a:gdLst>
              <a:ahLst/>
              <a:cxnLst>
                <a:cxn ang="0">
                  <a:pos x="T0" y="T1"/>
                </a:cxn>
                <a:cxn ang="0">
                  <a:pos x="T2" y="T3"/>
                </a:cxn>
                <a:cxn ang="0">
                  <a:pos x="T4" y="T5"/>
                </a:cxn>
                <a:cxn ang="0">
                  <a:pos x="T6" y="T7"/>
                </a:cxn>
                <a:cxn ang="0">
                  <a:pos x="T8" y="T9"/>
                </a:cxn>
                <a:cxn ang="0">
                  <a:pos x="T10" y="T11"/>
                </a:cxn>
              </a:cxnLst>
              <a:rect l="0" t="0" r="r" b="b"/>
              <a:pathLst>
                <a:path w="40" h="23">
                  <a:moveTo>
                    <a:pt x="40" y="20"/>
                  </a:moveTo>
                  <a:cubicBezTo>
                    <a:pt x="40" y="9"/>
                    <a:pt x="31" y="0"/>
                    <a:pt x="20" y="0"/>
                  </a:cubicBezTo>
                  <a:cubicBezTo>
                    <a:pt x="9" y="0"/>
                    <a:pt x="0" y="9"/>
                    <a:pt x="0" y="20"/>
                  </a:cubicBezTo>
                  <a:cubicBezTo>
                    <a:pt x="0" y="21"/>
                    <a:pt x="0" y="22"/>
                    <a:pt x="0" y="23"/>
                  </a:cubicBezTo>
                  <a:cubicBezTo>
                    <a:pt x="40" y="23"/>
                    <a:pt x="40" y="23"/>
                    <a:pt x="40" y="23"/>
                  </a:cubicBezTo>
                  <a:cubicBezTo>
                    <a:pt x="40" y="22"/>
                    <a:pt x="40" y="21"/>
                    <a:pt x="40" y="2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2" name="Oval 278"/>
            <p:cNvSpPr>
              <a:spLocks noChangeArrowheads="1"/>
            </p:cNvSpPr>
            <p:nvPr userDrawn="1"/>
          </p:nvSpPr>
          <p:spPr bwMode="auto">
            <a:xfrm flipH="1" flipV="1">
              <a:off x="12120554" y="53982"/>
              <a:ext cx="69858" cy="6985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3" name="Oval 279"/>
            <p:cNvSpPr>
              <a:spLocks noChangeArrowheads="1"/>
            </p:cNvSpPr>
            <p:nvPr userDrawn="1"/>
          </p:nvSpPr>
          <p:spPr bwMode="auto">
            <a:xfrm flipH="1" flipV="1">
              <a:off x="12128492" y="261966"/>
              <a:ext cx="60332" cy="6033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4" name="Freeform 280"/>
            <p:cNvSpPr/>
            <p:nvPr userDrawn="1"/>
          </p:nvSpPr>
          <p:spPr bwMode="auto">
            <a:xfrm flipH="1" flipV="1">
              <a:off x="11144133" y="1"/>
              <a:ext cx="39692" cy="19052"/>
            </a:xfrm>
            <a:custGeom>
              <a:avLst/>
              <a:gdLst>
                <a:gd name="T0" fmla="*/ 11 w 23"/>
                <a:gd name="T1" fmla="*/ 0 h 11"/>
                <a:gd name="T2" fmla="*/ 0 w 23"/>
                <a:gd name="T3" fmla="*/ 11 h 11"/>
                <a:gd name="T4" fmla="*/ 23 w 23"/>
                <a:gd name="T5" fmla="*/ 11 h 11"/>
                <a:gd name="T6" fmla="*/ 11 w 23"/>
                <a:gd name="T7" fmla="*/ 0 h 11"/>
              </a:gdLst>
              <a:ahLst/>
              <a:cxnLst>
                <a:cxn ang="0">
                  <a:pos x="T0" y="T1"/>
                </a:cxn>
                <a:cxn ang="0">
                  <a:pos x="T2" y="T3"/>
                </a:cxn>
                <a:cxn ang="0">
                  <a:pos x="T4" y="T5"/>
                </a:cxn>
                <a:cxn ang="0">
                  <a:pos x="T6" y="T7"/>
                </a:cxn>
              </a:cxnLst>
              <a:rect l="0" t="0" r="r" b="b"/>
              <a:pathLst>
                <a:path w="23" h="11">
                  <a:moveTo>
                    <a:pt x="11" y="0"/>
                  </a:moveTo>
                  <a:cubicBezTo>
                    <a:pt x="5" y="0"/>
                    <a:pt x="0" y="5"/>
                    <a:pt x="0" y="11"/>
                  </a:cubicBezTo>
                  <a:cubicBezTo>
                    <a:pt x="23" y="11"/>
                    <a:pt x="23" y="11"/>
                    <a:pt x="23" y="11"/>
                  </a:cubicBezTo>
                  <a:cubicBezTo>
                    <a:pt x="22" y="5"/>
                    <a:pt x="17" y="0"/>
                    <a:pt x="1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6" name="Oval 282"/>
            <p:cNvSpPr>
              <a:spLocks noChangeArrowheads="1"/>
            </p:cNvSpPr>
            <p:nvPr userDrawn="1"/>
          </p:nvSpPr>
          <p:spPr bwMode="auto">
            <a:xfrm flipH="1" flipV="1">
              <a:off x="11145721" y="944662"/>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7" name="Oval 283"/>
            <p:cNvSpPr>
              <a:spLocks noChangeArrowheads="1"/>
            </p:cNvSpPr>
            <p:nvPr userDrawn="1"/>
          </p:nvSpPr>
          <p:spPr bwMode="auto">
            <a:xfrm flipH="1" flipV="1">
              <a:off x="11131432" y="261965"/>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8" name="Oval 284"/>
            <p:cNvSpPr>
              <a:spLocks noChangeArrowheads="1"/>
            </p:cNvSpPr>
            <p:nvPr userDrawn="1"/>
          </p:nvSpPr>
          <p:spPr bwMode="auto">
            <a:xfrm flipH="1" flipV="1">
              <a:off x="12125317" y="474713"/>
              <a:ext cx="53981" cy="5556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9" name="Oval 285"/>
            <p:cNvSpPr>
              <a:spLocks noChangeArrowheads="1"/>
            </p:cNvSpPr>
            <p:nvPr userDrawn="1"/>
          </p:nvSpPr>
          <p:spPr bwMode="auto">
            <a:xfrm flipH="1" flipV="1">
              <a:off x="11093327" y="90498"/>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0" name="Oval 286"/>
            <p:cNvSpPr>
              <a:spLocks noChangeArrowheads="1"/>
            </p:cNvSpPr>
            <p:nvPr userDrawn="1"/>
          </p:nvSpPr>
          <p:spPr bwMode="auto">
            <a:xfrm flipH="1" flipV="1">
              <a:off x="12111028" y="696986"/>
              <a:ext cx="46043"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1" name="Oval 287"/>
            <p:cNvSpPr>
              <a:spLocks noChangeArrowheads="1"/>
            </p:cNvSpPr>
            <p:nvPr userDrawn="1"/>
          </p:nvSpPr>
          <p:spPr bwMode="auto">
            <a:xfrm flipH="1" flipV="1">
              <a:off x="12085625" y="1373332"/>
              <a:ext cx="30166"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2" name="Oval 288"/>
            <p:cNvSpPr>
              <a:spLocks noChangeArrowheads="1"/>
            </p:cNvSpPr>
            <p:nvPr userDrawn="1"/>
          </p:nvSpPr>
          <p:spPr bwMode="auto">
            <a:xfrm flipH="1" flipV="1">
              <a:off x="12103090" y="1481293"/>
              <a:ext cx="28578"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3" name="Oval 289"/>
            <p:cNvSpPr>
              <a:spLocks noChangeArrowheads="1"/>
            </p:cNvSpPr>
            <p:nvPr userDrawn="1"/>
          </p:nvSpPr>
          <p:spPr bwMode="auto">
            <a:xfrm flipH="1" flipV="1">
              <a:off x="12066573" y="385804"/>
              <a:ext cx="55569" cy="5556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4" name="Oval 290"/>
            <p:cNvSpPr>
              <a:spLocks noChangeArrowheads="1"/>
            </p:cNvSpPr>
            <p:nvPr userDrawn="1"/>
          </p:nvSpPr>
          <p:spPr bwMode="auto">
            <a:xfrm flipH="1" flipV="1">
              <a:off x="12080862" y="925610"/>
              <a:ext cx="41280" cy="3969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5" name="Oval 291"/>
            <p:cNvSpPr>
              <a:spLocks noChangeArrowheads="1"/>
            </p:cNvSpPr>
            <p:nvPr userDrawn="1"/>
          </p:nvSpPr>
          <p:spPr bwMode="auto">
            <a:xfrm flipH="1" flipV="1">
              <a:off x="12114203" y="1589254"/>
              <a:ext cx="25403"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7" name="Oval 293"/>
            <p:cNvSpPr>
              <a:spLocks noChangeArrowheads="1"/>
            </p:cNvSpPr>
            <p:nvPr userDrawn="1"/>
          </p:nvSpPr>
          <p:spPr bwMode="auto">
            <a:xfrm flipH="1" flipV="1">
              <a:off x="12118966" y="1698804"/>
              <a:ext cx="25403"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8" name="Oval 294"/>
            <p:cNvSpPr>
              <a:spLocks noChangeArrowheads="1"/>
            </p:cNvSpPr>
            <p:nvPr userDrawn="1"/>
          </p:nvSpPr>
          <p:spPr bwMode="auto">
            <a:xfrm flipH="1" flipV="1">
              <a:off x="11139370" y="1160585"/>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33" name="Oval 299"/>
            <p:cNvSpPr>
              <a:spLocks noChangeArrowheads="1"/>
            </p:cNvSpPr>
            <p:nvPr userDrawn="1"/>
          </p:nvSpPr>
          <p:spPr bwMode="auto">
            <a:xfrm flipH="1" flipV="1">
              <a:off x="12063398" y="173056"/>
              <a:ext cx="63507" cy="6350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37" name="Oval 303"/>
            <p:cNvSpPr>
              <a:spLocks noChangeArrowheads="1"/>
            </p:cNvSpPr>
            <p:nvPr userDrawn="1"/>
          </p:nvSpPr>
          <p:spPr bwMode="auto">
            <a:xfrm flipH="1" flipV="1">
              <a:off x="10950436" y="146066"/>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38" name="Oval 304"/>
            <p:cNvSpPr>
              <a:spLocks noChangeArrowheads="1"/>
            </p:cNvSpPr>
            <p:nvPr userDrawn="1"/>
          </p:nvSpPr>
          <p:spPr bwMode="auto">
            <a:xfrm flipH="1" flipV="1">
              <a:off x="10993305" y="312771"/>
              <a:ext cx="26990"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0" name="Freeform 306"/>
            <p:cNvSpPr/>
            <p:nvPr userDrawn="1"/>
          </p:nvSpPr>
          <p:spPr bwMode="auto">
            <a:xfrm flipH="1" flipV="1">
              <a:off x="10905982" y="0"/>
              <a:ext cx="33341" cy="20640"/>
            </a:xfrm>
            <a:custGeom>
              <a:avLst/>
              <a:gdLst>
                <a:gd name="T0" fmla="*/ 19 w 19"/>
                <a:gd name="T1" fmla="*/ 10 h 12"/>
                <a:gd name="T2" fmla="*/ 9 w 19"/>
                <a:gd name="T3" fmla="*/ 0 h 12"/>
                <a:gd name="T4" fmla="*/ 0 w 19"/>
                <a:gd name="T5" fmla="*/ 10 h 12"/>
                <a:gd name="T6" fmla="*/ 0 w 19"/>
                <a:gd name="T7" fmla="*/ 12 h 12"/>
                <a:gd name="T8" fmla="*/ 19 w 19"/>
                <a:gd name="T9" fmla="*/ 12 h 12"/>
                <a:gd name="T10" fmla="*/ 19 w 19"/>
                <a:gd name="T11" fmla="*/ 10 h 12"/>
              </a:gdLst>
              <a:ahLst/>
              <a:cxnLst>
                <a:cxn ang="0">
                  <a:pos x="T0" y="T1"/>
                </a:cxn>
                <a:cxn ang="0">
                  <a:pos x="T2" y="T3"/>
                </a:cxn>
                <a:cxn ang="0">
                  <a:pos x="T4" y="T5"/>
                </a:cxn>
                <a:cxn ang="0">
                  <a:pos x="T6" y="T7"/>
                </a:cxn>
                <a:cxn ang="0">
                  <a:pos x="T8" y="T9"/>
                </a:cxn>
                <a:cxn ang="0">
                  <a:pos x="T10" y="T11"/>
                </a:cxn>
              </a:cxnLst>
              <a:rect l="0" t="0" r="r" b="b"/>
              <a:pathLst>
                <a:path w="19" h="12">
                  <a:moveTo>
                    <a:pt x="19" y="10"/>
                  </a:moveTo>
                  <a:cubicBezTo>
                    <a:pt x="19" y="5"/>
                    <a:pt x="15" y="0"/>
                    <a:pt x="9" y="0"/>
                  </a:cubicBezTo>
                  <a:cubicBezTo>
                    <a:pt x="4" y="0"/>
                    <a:pt x="0" y="5"/>
                    <a:pt x="0" y="10"/>
                  </a:cubicBezTo>
                  <a:cubicBezTo>
                    <a:pt x="0" y="11"/>
                    <a:pt x="0" y="11"/>
                    <a:pt x="0" y="12"/>
                  </a:cubicBezTo>
                  <a:cubicBezTo>
                    <a:pt x="19" y="12"/>
                    <a:pt x="19" y="12"/>
                    <a:pt x="19" y="12"/>
                  </a:cubicBezTo>
                  <a:cubicBezTo>
                    <a:pt x="19" y="11"/>
                    <a:pt x="19" y="11"/>
                    <a:pt x="19"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1" name="Oval 307"/>
            <p:cNvSpPr>
              <a:spLocks noChangeArrowheads="1"/>
            </p:cNvSpPr>
            <p:nvPr userDrawn="1"/>
          </p:nvSpPr>
          <p:spPr bwMode="auto">
            <a:xfrm flipH="1" flipV="1">
              <a:off x="11001242" y="34930"/>
              <a:ext cx="34929"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2" name="Oval 308"/>
            <p:cNvSpPr>
              <a:spLocks noChangeArrowheads="1"/>
            </p:cNvSpPr>
            <p:nvPr userDrawn="1"/>
          </p:nvSpPr>
          <p:spPr bwMode="auto">
            <a:xfrm flipH="1" flipV="1">
              <a:off x="11042522" y="201634"/>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3" name="Oval 309"/>
            <p:cNvSpPr>
              <a:spLocks noChangeArrowheads="1"/>
            </p:cNvSpPr>
            <p:nvPr userDrawn="1"/>
          </p:nvSpPr>
          <p:spPr bwMode="auto">
            <a:xfrm flipH="1" flipV="1">
              <a:off x="10855176" y="96848"/>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5" name="Oval 311"/>
            <p:cNvSpPr>
              <a:spLocks noChangeArrowheads="1"/>
            </p:cNvSpPr>
            <p:nvPr userDrawn="1"/>
          </p:nvSpPr>
          <p:spPr bwMode="auto">
            <a:xfrm flipH="1" flipV="1">
              <a:off x="10805958" y="206397"/>
              <a:ext cx="25403"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6" name="Oval 312"/>
            <p:cNvSpPr>
              <a:spLocks noChangeArrowheads="1"/>
            </p:cNvSpPr>
            <p:nvPr userDrawn="1"/>
          </p:nvSpPr>
          <p:spPr bwMode="auto">
            <a:xfrm flipH="1" flipV="1">
              <a:off x="10850414" y="366751"/>
              <a:ext cx="22227"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8" name="Oval 314"/>
            <p:cNvSpPr>
              <a:spLocks noChangeArrowheads="1"/>
            </p:cNvSpPr>
            <p:nvPr userDrawn="1"/>
          </p:nvSpPr>
          <p:spPr bwMode="auto">
            <a:xfrm flipH="1" flipV="1">
              <a:off x="11833185" y="1322526"/>
              <a:ext cx="23815"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59" name="Oval 325"/>
            <p:cNvSpPr>
              <a:spLocks noChangeArrowheads="1"/>
            </p:cNvSpPr>
            <p:nvPr userDrawn="1"/>
          </p:nvSpPr>
          <p:spPr bwMode="auto">
            <a:xfrm flipH="1" flipV="1">
              <a:off x="11882403" y="1754372"/>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61" name="Oval 327"/>
            <p:cNvSpPr>
              <a:spLocks noChangeArrowheads="1"/>
            </p:cNvSpPr>
            <p:nvPr userDrawn="1"/>
          </p:nvSpPr>
          <p:spPr bwMode="auto">
            <a:xfrm flipH="1" flipV="1">
              <a:off x="11761739" y="1674988"/>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62" name="Oval 328"/>
            <p:cNvSpPr>
              <a:spLocks noChangeArrowheads="1"/>
            </p:cNvSpPr>
            <p:nvPr userDrawn="1"/>
          </p:nvSpPr>
          <p:spPr bwMode="auto">
            <a:xfrm flipH="1" flipV="1">
              <a:off x="11806194" y="1217741"/>
              <a:ext cx="25403"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63" name="Oval 329"/>
            <p:cNvSpPr>
              <a:spLocks noChangeArrowheads="1"/>
            </p:cNvSpPr>
            <p:nvPr userDrawn="1"/>
          </p:nvSpPr>
          <p:spPr bwMode="auto">
            <a:xfrm flipH="1" flipV="1">
              <a:off x="11771266" y="1114542"/>
              <a:ext cx="26990"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70" name="Oval 336"/>
            <p:cNvSpPr>
              <a:spLocks noChangeArrowheads="1"/>
            </p:cNvSpPr>
            <p:nvPr userDrawn="1"/>
          </p:nvSpPr>
          <p:spPr bwMode="auto">
            <a:xfrm flipH="1" flipV="1">
              <a:off x="11971313" y="1400322"/>
              <a:ext cx="26990"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77" name="Oval 343"/>
            <p:cNvSpPr>
              <a:spLocks noChangeArrowheads="1"/>
            </p:cNvSpPr>
            <p:nvPr userDrawn="1"/>
          </p:nvSpPr>
          <p:spPr bwMode="auto">
            <a:xfrm flipH="1" flipV="1">
              <a:off x="12001479" y="1727381"/>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1" name="Oval 347"/>
            <p:cNvSpPr>
              <a:spLocks noChangeArrowheads="1"/>
            </p:cNvSpPr>
            <p:nvPr userDrawn="1"/>
          </p:nvSpPr>
          <p:spPr bwMode="auto">
            <a:xfrm flipH="1" flipV="1">
              <a:off x="11922095" y="1189162"/>
              <a:ext cx="28578"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2" name="Oval 348"/>
            <p:cNvSpPr>
              <a:spLocks noChangeArrowheads="1"/>
            </p:cNvSpPr>
            <p:nvPr userDrawn="1"/>
          </p:nvSpPr>
          <p:spPr bwMode="auto">
            <a:xfrm flipH="1" flipV="1">
              <a:off x="11949085" y="1295537"/>
              <a:ext cx="28578"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4" name="Oval 350"/>
            <p:cNvSpPr>
              <a:spLocks noChangeArrowheads="1"/>
            </p:cNvSpPr>
            <p:nvPr userDrawn="1"/>
          </p:nvSpPr>
          <p:spPr bwMode="auto">
            <a:xfrm flipH="1" flipV="1">
              <a:off x="11602972" y="1379682"/>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8" name="Oval 354"/>
            <p:cNvSpPr>
              <a:spLocks noChangeArrowheads="1"/>
            </p:cNvSpPr>
            <p:nvPr userDrawn="1"/>
          </p:nvSpPr>
          <p:spPr bwMode="auto">
            <a:xfrm flipH="1" flipV="1">
              <a:off x="11572806" y="1274896"/>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3" name="Oval 359"/>
            <p:cNvSpPr>
              <a:spLocks noChangeArrowheads="1"/>
            </p:cNvSpPr>
            <p:nvPr userDrawn="1"/>
          </p:nvSpPr>
          <p:spPr bwMode="auto">
            <a:xfrm flipH="1" flipV="1">
              <a:off x="11512474" y="849402"/>
              <a:ext cx="28578"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4" name="Oval 360"/>
            <p:cNvSpPr>
              <a:spLocks noChangeArrowheads="1"/>
            </p:cNvSpPr>
            <p:nvPr userDrawn="1"/>
          </p:nvSpPr>
          <p:spPr bwMode="auto">
            <a:xfrm flipH="1" flipV="1">
              <a:off x="11623612" y="1486056"/>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7" name="Oval 363"/>
            <p:cNvSpPr>
              <a:spLocks noChangeArrowheads="1"/>
            </p:cNvSpPr>
            <p:nvPr userDrawn="1"/>
          </p:nvSpPr>
          <p:spPr bwMode="auto">
            <a:xfrm flipH="1" flipV="1">
              <a:off x="11525175" y="1730556"/>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9" name="Oval 365"/>
            <p:cNvSpPr>
              <a:spLocks noChangeArrowheads="1"/>
            </p:cNvSpPr>
            <p:nvPr userDrawn="1"/>
          </p:nvSpPr>
          <p:spPr bwMode="auto">
            <a:xfrm flipH="1" flipV="1">
              <a:off x="11539464" y="1171698"/>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02" name="Oval 368"/>
            <p:cNvSpPr>
              <a:spLocks noChangeArrowheads="1"/>
            </p:cNvSpPr>
            <p:nvPr userDrawn="1"/>
          </p:nvSpPr>
          <p:spPr bwMode="auto">
            <a:xfrm flipH="1" flipV="1">
              <a:off x="11690294" y="1246319"/>
              <a:ext cx="23815"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05" name="Oval 371"/>
            <p:cNvSpPr>
              <a:spLocks noChangeArrowheads="1"/>
            </p:cNvSpPr>
            <p:nvPr userDrawn="1"/>
          </p:nvSpPr>
          <p:spPr bwMode="auto">
            <a:xfrm flipH="1" flipV="1">
              <a:off x="11717285" y="1351105"/>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07" name="Oval 373"/>
            <p:cNvSpPr>
              <a:spLocks noChangeArrowheads="1"/>
            </p:cNvSpPr>
            <p:nvPr userDrawn="1"/>
          </p:nvSpPr>
          <p:spPr bwMode="auto">
            <a:xfrm flipH="1" flipV="1">
              <a:off x="11739512" y="1457478"/>
              <a:ext cx="19052"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10" name="Oval 376"/>
            <p:cNvSpPr>
              <a:spLocks noChangeArrowheads="1"/>
            </p:cNvSpPr>
            <p:nvPr userDrawn="1"/>
          </p:nvSpPr>
          <p:spPr bwMode="auto">
            <a:xfrm flipH="1" flipV="1">
              <a:off x="11655365" y="1143120"/>
              <a:ext cx="23815"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12" name="Oval 378"/>
            <p:cNvSpPr>
              <a:spLocks noChangeArrowheads="1"/>
            </p:cNvSpPr>
            <p:nvPr userDrawn="1"/>
          </p:nvSpPr>
          <p:spPr bwMode="auto">
            <a:xfrm flipH="1" flipV="1">
              <a:off x="11644251" y="1701979"/>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682" name="Freeform 433"/>
            <p:cNvSpPr/>
            <p:nvPr userDrawn="1"/>
          </p:nvSpPr>
          <p:spPr bwMode="auto">
            <a:xfrm flipH="1" flipV="1">
              <a:off x="12179299" y="1239968"/>
              <a:ext cx="12701" cy="30166"/>
            </a:xfrm>
            <a:custGeom>
              <a:avLst/>
              <a:gdLst>
                <a:gd name="T0" fmla="*/ 7 w 7"/>
                <a:gd name="T1" fmla="*/ 9 h 18"/>
                <a:gd name="T2" fmla="*/ 0 w 7"/>
                <a:gd name="T3" fmla="*/ 0 h 18"/>
                <a:gd name="T4" fmla="*/ 0 w 7"/>
                <a:gd name="T5" fmla="*/ 18 h 18"/>
                <a:gd name="T6" fmla="*/ 7 w 7"/>
                <a:gd name="T7" fmla="*/ 9 h 18"/>
              </a:gdLst>
              <a:ahLst/>
              <a:cxnLst>
                <a:cxn ang="0">
                  <a:pos x="T0" y="T1"/>
                </a:cxn>
                <a:cxn ang="0">
                  <a:pos x="T2" y="T3"/>
                </a:cxn>
                <a:cxn ang="0">
                  <a:pos x="T4" y="T5"/>
                </a:cxn>
                <a:cxn ang="0">
                  <a:pos x="T6" y="T7"/>
                </a:cxn>
              </a:cxnLst>
              <a:rect l="0" t="0" r="r" b="b"/>
              <a:pathLst>
                <a:path w="7" h="18">
                  <a:moveTo>
                    <a:pt x="7" y="9"/>
                  </a:moveTo>
                  <a:cubicBezTo>
                    <a:pt x="7" y="5"/>
                    <a:pt x="4" y="1"/>
                    <a:pt x="0" y="0"/>
                  </a:cubicBezTo>
                  <a:cubicBezTo>
                    <a:pt x="0" y="18"/>
                    <a:pt x="0" y="18"/>
                    <a:pt x="0" y="18"/>
                  </a:cubicBezTo>
                  <a:cubicBezTo>
                    <a:pt x="4" y="17"/>
                    <a:pt x="7" y="13"/>
                    <a:pt x="7" y="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685" name="Oval 436"/>
            <p:cNvSpPr>
              <a:spLocks noChangeArrowheads="1"/>
            </p:cNvSpPr>
            <p:nvPr userDrawn="1"/>
          </p:nvSpPr>
          <p:spPr bwMode="auto">
            <a:xfrm flipH="1" flipV="1">
              <a:off x="12036408" y="1160585"/>
              <a:ext cx="34929"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688" name="Oval 439"/>
            <p:cNvSpPr>
              <a:spLocks noChangeArrowheads="1"/>
            </p:cNvSpPr>
            <p:nvPr userDrawn="1"/>
          </p:nvSpPr>
          <p:spPr bwMode="auto">
            <a:xfrm flipH="1" flipV="1">
              <a:off x="12063398" y="1265371"/>
              <a:ext cx="33341"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0" name="Freeform 451"/>
            <p:cNvSpPr/>
            <p:nvPr userDrawn="1"/>
          </p:nvSpPr>
          <p:spPr bwMode="auto">
            <a:xfrm flipH="1" flipV="1">
              <a:off x="12187237" y="157179"/>
              <a:ext cx="4763" cy="33341"/>
            </a:xfrm>
            <a:custGeom>
              <a:avLst/>
              <a:gdLst>
                <a:gd name="T0" fmla="*/ 0 w 3"/>
                <a:gd name="T1" fmla="*/ 0 h 20"/>
                <a:gd name="T2" fmla="*/ 0 w 3"/>
                <a:gd name="T3" fmla="*/ 20 h 20"/>
                <a:gd name="T4" fmla="*/ 3 w 3"/>
                <a:gd name="T5" fmla="*/ 10 h 20"/>
                <a:gd name="T6" fmla="*/ 0 w 3"/>
                <a:gd name="T7" fmla="*/ 0 h 20"/>
              </a:gdLst>
              <a:ahLst/>
              <a:cxnLst>
                <a:cxn ang="0">
                  <a:pos x="T0" y="T1"/>
                </a:cxn>
                <a:cxn ang="0">
                  <a:pos x="T2" y="T3"/>
                </a:cxn>
                <a:cxn ang="0">
                  <a:pos x="T4" y="T5"/>
                </a:cxn>
                <a:cxn ang="0">
                  <a:pos x="T6" y="T7"/>
                </a:cxn>
              </a:cxnLst>
              <a:rect l="0" t="0" r="r" b="b"/>
              <a:pathLst>
                <a:path w="3" h="20">
                  <a:moveTo>
                    <a:pt x="0" y="0"/>
                  </a:moveTo>
                  <a:cubicBezTo>
                    <a:pt x="0" y="20"/>
                    <a:pt x="0" y="20"/>
                    <a:pt x="0" y="20"/>
                  </a:cubicBezTo>
                  <a:cubicBezTo>
                    <a:pt x="2" y="17"/>
                    <a:pt x="3" y="14"/>
                    <a:pt x="3" y="10"/>
                  </a:cubicBezTo>
                  <a:cubicBezTo>
                    <a:pt x="3" y="7"/>
                    <a:pt x="2" y="3"/>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2" name="Freeform 453"/>
            <p:cNvSpPr/>
            <p:nvPr userDrawn="1"/>
          </p:nvSpPr>
          <p:spPr bwMode="auto">
            <a:xfrm flipH="1" flipV="1">
              <a:off x="12177711" y="574736"/>
              <a:ext cx="14289" cy="46042"/>
            </a:xfrm>
            <a:custGeom>
              <a:avLst/>
              <a:gdLst>
                <a:gd name="T0" fmla="*/ 8 w 8"/>
                <a:gd name="T1" fmla="*/ 13 h 27"/>
                <a:gd name="T2" fmla="*/ 0 w 8"/>
                <a:gd name="T3" fmla="*/ 0 h 27"/>
                <a:gd name="T4" fmla="*/ 0 w 8"/>
                <a:gd name="T5" fmla="*/ 27 h 27"/>
                <a:gd name="T6" fmla="*/ 8 w 8"/>
                <a:gd name="T7" fmla="*/ 13 h 27"/>
              </a:gdLst>
              <a:ahLst/>
              <a:cxnLst>
                <a:cxn ang="0">
                  <a:pos x="T0" y="T1"/>
                </a:cxn>
                <a:cxn ang="0">
                  <a:pos x="T2" y="T3"/>
                </a:cxn>
                <a:cxn ang="0">
                  <a:pos x="T4" y="T5"/>
                </a:cxn>
                <a:cxn ang="0">
                  <a:pos x="T6" y="T7"/>
                </a:cxn>
              </a:cxnLst>
              <a:rect l="0" t="0" r="r" b="b"/>
              <a:pathLst>
                <a:path w="8" h="27">
                  <a:moveTo>
                    <a:pt x="8" y="13"/>
                  </a:moveTo>
                  <a:cubicBezTo>
                    <a:pt x="8" y="8"/>
                    <a:pt x="5" y="3"/>
                    <a:pt x="0" y="0"/>
                  </a:cubicBezTo>
                  <a:cubicBezTo>
                    <a:pt x="0" y="27"/>
                    <a:pt x="0" y="27"/>
                    <a:pt x="0" y="27"/>
                  </a:cubicBezTo>
                  <a:cubicBezTo>
                    <a:pt x="5" y="24"/>
                    <a:pt x="8" y="19"/>
                    <a:pt x="8" y="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4" name="Freeform 455"/>
            <p:cNvSpPr/>
            <p:nvPr userDrawn="1"/>
          </p:nvSpPr>
          <p:spPr bwMode="auto">
            <a:xfrm flipH="1" flipV="1">
              <a:off x="12187237" y="368339"/>
              <a:ext cx="4763" cy="28578"/>
            </a:xfrm>
            <a:custGeom>
              <a:avLst/>
              <a:gdLst>
                <a:gd name="T0" fmla="*/ 0 w 3"/>
                <a:gd name="T1" fmla="*/ 0 h 17"/>
                <a:gd name="T2" fmla="*/ 0 w 3"/>
                <a:gd name="T3" fmla="*/ 17 h 17"/>
                <a:gd name="T4" fmla="*/ 3 w 3"/>
                <a:gd name="T5" fmla="*/ 9 h 17"/>
                <a:gd name="T6" fmla="*/ 0 w 3"/>
                <a:gd name="T7" fmla="*/ 0 h 17"/>
              </a:gdLst>
              <a:ahLst/>
              <a:cxnLst>
                <a:cxn ang="0">
                  <a:pos x="T0" y="T1"/>
                </a:cxn>
                <a:cxn ang="0">
                  <a:pos x="T2" y="T3"/>
                </a:cxn>
                <a:cxn ang="0">
                  <a:pos x="T4" y="T5"/>
                </a:cxn>
                <a:cxn ang="0">
                  <a:pos x="T6" y="T7"/>
                </a:cxn>
              </a:cxnLst>
              <a:rect l="0" t="0" r="r" b="b"/>
              <a:pathLst>
                <a:path w="3" h="17">
                  <a:moveTo>
                    <a:pt x="0" y="0"/>
                  </a:moveTo>
                  <a:cubicBezTo>
                    <a:pt x="0" y="17"/>
                    <a:pt x="0" y="17"/>
                    <a:pt x="0" y="17"/>
                  </a:cubicBezTo>
                  <a:cubicBezTo>
                    <a:pt x="2" y="15"/>
                    <a:pt x="3" y="12"/>
                    <a:pt x="3" y="9"/>
                  </a:cubicBezTo>
                  <a:cubicBezTo>
                    <a:pt x="3" y="6"/>
                    <a:pt x="2" y="3"/>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5" name="Freeform 456"/>
            <p:cNvSpPr/>
            <p:nvPr userDrawn="1"/>
          </p:nvSpPr>
          <p:spPr bwMode="auto">
            <a:xfrm flipH="1" flipV="1">
              <a:off x="12155483" y="795421"/>
              <a:ext cx="36517" cy="47630"/>
            </a:xfrm>
            <a:custGeom>
              <a:avLst/>
              <a:gdLst>
                <a:gd name="T0" fmla="*/ 21 w 21"/>
                <a:gd name="T1" fmla="*/ 14 h 27"/>
                <a:gd name="T2" fmla="*/ 7 w 21"/>
                <a:gd name="T3" fmla="*/ 0 h 27"/>
                <a:gd name="T4" fmla="*/ 0 w 21"/>
                <a:gd name="T5" fmla="*/ 2 h 27"/>
                <a:gd name="T6" fmla="*/ 0 w 21"/>
                <a:gd name="T7" fmla="*/ 25 h 27"/>
                <a:gd name="T8" fmla="*/ 7 w 21"/>
                <a:gd name="T9" fmla="*/ 27 h 27"/>
                <a:gd name="T10" fmla="*/ 21 w 21"/>
                <a:gd name="T11" fmla="*/ 14 h 27"/>
              </a:gdLst>
              <a:ahLst/>
              <a:cxnLst>
                <a:cxn ang="0">
                  <a:pos x="T0" y="T1"/>
                </a:cxn>
                <a:cxn ang="0">
                  <a:pos x="T2" y="T3"/>
                </a:cxn>
                <a:cxn ang="0">
                  <a:pos x="T4" y="T5"/>
                </a:cxn>
                <a:cxn ang="0">
                  <a:pos x="T6" y="T7"/>
                </a:cxn>
                <a:cxn ang="0">
                  <a:pos x="T8" y="T9"/>
                </a:cxn>
                <a:cxn ang="0">
                  <a:pos x="T10" y="T11"/>
                </a:cxn>
              </a:cxnLst>
              <a:rect l="0" t="0" r="r" b="b"/>
              <a:pathLst>
                <a:path w="21" h="27">
                  <a:moveTo>
                    <a:pt x="21" y="14"/>
                  </a:moveTo>
                  <a:cubicBezTo>
                    <a:pt x="21" y="6"/>
                    <a:pt x="15" y="0"/>
                    <a:pt x="7" y="0"/>
                  </a:cubicBezTo>
                  <a:cubicBezTo>
                    <a:pt x="5" y="0"/>
                    <a:pt x="2" y="1"/>
                    <a:pt x="0" y="2"/>
                  </a:cubicBezTo>
                  <a:cubicBezTo>
                    <a:pt x="0" y="25"/>
                    <a:pt x="0" y="25"/>
                    <a:pt x="0" y="25"/>
                  </a:cubicBezTo>
                  <a:cubicBezTo>
                    <a:pt x="2" y="26"/>
                    <a:pt x="5" y="27"/>
                    <a:pt x="7" y="27"/>
                  </a:cubicBezTo>
                  <a:cubicBezTo>
                    <a:pt x="15" y="27"/>
                    <a:pt x="21" y="21"/>
                    <a:pt x="21"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0" name="Oval 461"/>
            <p:cNvSpPr>
              <a:spLocks noChangeArrowheads="1"/>
            </p:cNvSpPr>
            <p:nvPr userDrawn="1"/>
          </p:nvSpPr>
          <p:spPr bwMode="auto">
            <a:xfrm flipH="1" flipV="1">
              <a:off x="10959963" y="1098666"/>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1" name="Oval 462"/>
            <p:cNvSpPr>
              <a:spLocks noChangeArrowheads="1"/>
            </p:cNvSpPr>
            <p:nvPr userDrawn="1"/>
          </p:nvSpPr>
          <p:spPr bwMode="auto">
            <a:xfrm flipH="1" flipV="1">
              <a:off x="10977427" y="598550"/>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2" name="Oval 463"/>
            <p:cNvSpPr>
              <a:spLocks noChangeArrowheads="1"/>
            </p:cNvSpPr>
            <p:nvPr userDrawn="1"/>
          </p:nvSpPr>
          <p:spPr bwMode="auto">
            <a:xfrm flipH="1" flipV="1">
              <a:off x="10948849" y="1314588"/>
              <a:ext cx="11114"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3" name="Oval 464"/>
            <p:cNvSpPr>
              <a:spLocks noChangeArrowheads="1"/>
            </p:cNvSpPr>
            <p:nvPr userDrawn="1"/>
          </p:nvSpPr>
          <p:spPr bwMode="auto">
            <a:xfrm flipH="1" flipV="1">
              <a:off x="11002830" y="782720"/>
              <a:ext cx="20640"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2" name="Oval 473"/>
            <p:cNvSpPr>
              <a:spLocks noChangeArrowheads="1"/>
            </p:cNvSpPr>
            <p:nvPr userDrawn="1"/>
          </p:nvSpPr>
          <p:spPr bwMode="auto">
            <a:xfrm flipH="1" flipV="1">
              <a:off x="10948849" y="898619"/>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3" name="Oval 474"/>
            <p:cNvSpPr>
              <a:spLocks noChangeArrowheads="1"/>
            </p:cNvSpPr>
            <p:nvPr userDrawn="1"/>
          </p:nvSpPr>
          <p:spPr bwMode="auto">
            <a:xfrm flipH="1" flipV="1">
              <a:off x="10901218" y="257203"/>
              <a:ext cx="26991"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4" name="Oval 475"/>
            <p:cNvSpPr>
              <a:spLocks noChangeArrowheads="1"/>
            </p:cNvSpPr>
            <p:nvPr userDrawn="1"/>
          </p:nvSpPr>
          <p:spPr bwMode="auto">
            <a:xfrm flipH="1" flipV="1">
              <a:off x="10940911" y="423907"/>
              <a:ext cx="25403"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5" name="Oval 476"/>
            <p:cNvSpPr>
              <a:spLocks noChangeArrowheads="1"/>
            </p:cNvSpPr>
            <p:nvPr userDrawn="1"/>
          </p:nvSpPr>
          <p:spPr bwMode="auto">
            <a:xfrm flipH="1" flipV="1">
              <a:off x="10923447" y="711275"/>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7" name="Oval 478"/>
            <p:cNvSpPr>
              <a:spLocks noChangeArrowheads="1"/>
            </p:cNvSpPr>
            <p:nvPr userDrawn="1"/>
          </p:nvSpPr>
          <p:spPr bwMode="auto">
            <a:xfrm flipH="1" flipV="1">
              <a:off x="11085390" y="1066912"/>
              <a:ext cx="12701"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8" name="Oval 479"/>
            <p:cNvSpPr>
              <a:spLocks noChangeArrowheads="1"/>
            </p:cNvSpPr>
            <p:nvPr userDrawn="1"/>
          </p:nvSpPr>
          <p:spPr bwMode="auto">
            <a:xfrm flipH="1" flipV="1">
              <a:off x="11077451" y="862103"/>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2" name="Oval 483"/>
            <p:cNvSpPr>
              <a:spLocks noChangeArrowheads="1"/>
            </p:cNvSpPr>
            <p:nvPr userDrawn="1"/>
          </p:nvSpPr>
          <p:spPr bwMode="auto">
            <a:xfrm flipH="1" flipV="1">
              <a:off x="11109205" y="1387621"/>
              <a:ext cx="9526"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4" name="Oval 485"/>
            <p:cNvSpPr>
              <a:spLocks noChangeArrowheads="1"/>
            </p:cNvSpPr>
            <p:nvPr userDrawn="1"/>
          </p:nvSpPr>
          <p:spPr bwMode="auto">
            <a:xfrm flipH="1" flipV="1">
              <a:off x="11058399" y="668408"/>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5" name="Oval 486"/>
            <p:cNvSpPr>
              <a:spLocks noChangeArrowheads="1"/>
            </p:cNvSpPr>
            <p:nvPr userDrawn="1"/>
          </p:nvSpPr>
          <p:spPr bwMode="auto">
            <a:xfrm flipH="1" flipV="1">
              <a:off x="11079039" y="373102"/>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7" name="Oval 488"/>
            <p:cNvSpPr>
              <a:spLocks noChangeArrowheads="1"/>
            </p:cNvSpPr>
            <p:nvPr userDrawn="1"/>
          </p:nvSpPr>
          <p:spPr bwMode="auto">
            <a:xfrm flipH="1" flipV="1">
              <a:off x="11020294" y="979590"/>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0" name="Oval 491"/>
            <p:cNvSpPr>
              <a:spLocks noChangeArrowheads="1"/>
            </p:cNvSpPr>
            <p:nvPr userDrawn="1"/>
          </p:nvSpPr>
          <p:spPr bwMode="auto">
            <a:xfrm flipH="1" flipV="1">
              <a:off x="11018707" y="1189163"/>
              <a:ext cx="12701"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2" name="Oval 493"/>
            <p:cNvSpPr>
              <a:spLocks noChangeArrowheads="1"/>
            </p:cNvSpPr>
            <p:nvPr userDrawn="1"/>
          </p:nvSpPr>
          <p:spPr bwMode="auto">
            <a:xfrm flipH="1" flipV="1">
              <a:off x="11029821" y="485826"/>
              <a:ext cx="23815"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5" name="Oval 496"/>
            <p:cNvSpPr>
              <a:spLocks noChangeArrowheads="1"/>
            </p:cNvSpPr>
            <p:nvPr userDrawn="1"/>
          </p:nvSpPr>
          <p:spPr bwMode="auto">
            <a:xfrm flipH="1" flipV="1">
              <a:off x="11069512" y="1286010"/>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6" name="Oval 497"/>
            <p:cNvSpPr>
              <a:spLocks noChangeArrowheads="1"/>
            </p:cNvSpPr>
            <p:nvPr userDrawn="1"/>
          </p:nvSpPr>
          <p:spPr bwMode="auto">
            <a:xfrm flipH="1" flipV="1">
              <a:off x="10755153" y="317534"/>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7" name="Oval 498"/>
            <p:cNvSpPr>
              <a:spLocks noChangeArrowheads="1"/>
            </p:cNvSpPr>
            <p:nvPr userDrawn="1"/>
          </p:nvSpPr>
          <p:spPr bwMode="auto">
            <a:xfrm flipH="1" flipV="1">
              <a:off x="10786906" y="755729"/>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0" name="Oval 501"/>
            <p:cNvSpPr>
              <a:spLocks noChangeArrowheads="1"/>
            </p:cNvSpPr>
            <p:nvPr userDrawn="1"/>
          </p:nvSpPr>
          <p:spPr bwMode="auto">
            <a:xfrm flipH="1" flipV="1">
              <a:off x="10774205" y="1251082"/>
              <a:ext cx="9526"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2" name="Oval 503"/>
            <p:cNvSpPr>
              <a:spLocks noChangeArrowheads="1"/>
            </p:cNvSpPr>
            <p:nvPr userDrawn="1"/>
          </p:nvSpPr>
          <p:spPr bwMode="auto">
            <a:xfrm flipH="1" flipV="1">
              <a:off x="10756740" y="53981"/>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4" name="Oval 505"/>
            <p:cNvSpPr>
              <a:spLocks noChangeArrowheads="1"/>
            </p:cNvSpPr>
            <p:nvPr userDrawn="1"/>
          </p:nvSpPr>
          <p:spPr bwMode="auto">
            <a:xfrm flipH="1" flipV="1">
              <a:off x="10761504" y="1051035"/>
              <a:ext cx="12701"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5" name="Oval 506"/>
            <p:cNvSpPr>
              <a:spLocks noChangeArrowheads="1"/>
            </p:cNvSpPr>
            <p:nvPr userDrawn="1"/>
          </p:nvSpPr>
          <p:spPr bwMode="auto">
            <a:xfrm flipH="1" flipV="1">
              <a:off x="10710698" y="1373331"/>
              <a:ext cx="4763" cy="635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6" name="Oval 507"/>
            <p:cNvSpPr>
              <a:spLocks noChangeArrowheads="1"/>
            </p:cNvSpPr>
            <p:nvPr userDrawn="1"/>
          </p:nvSpPr>
          <p:spPr bwMode="auto">
            <a:xfrm flipH="1" flipV="1">
              <a:off x="10748802" y="587437"/>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7" name="Oval 508"/>
            <p:cNvSpPr>
              <a:spLocks noChangeArrowheads="1"/>
            </p:cNvSpPr>
            <p:nvPr userDrawn="1"/>
          </p:nvSpPr>
          <p:spPr bwMode="auto">
            <a:xfrm flipH="1" flipV="1">
              <a:off x="10707523" y="1166936"/>
              <a:ext cx="7938" cy="79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8" name="Oval 509"/>
            <p:cNvSpPr>
              <a:spLocks noChangeArrowheads="1"/>
            </p:cNvSpPr>
            <p:nvPr userDrawn="1"/>
          </p:nvSpPr>
          <p:spPr bwMode="auto">
            <a:xfrm flipH="1" flipV="1">
              <a:off x="10702759" y="427082"/>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0" name="Oval 511"/>
            <p:cNvSpPr>
              <a:spLocks noChangeArrowheads="1"/>
            </p:cNvSpPr>
            <p:nvPr userDrawn="1"/>
          </p:nvSpPr>
          <p:spPr bwMode="auto">
            <a:xfrm flipH="1" flipV="1">
              <a:off x="10734513" y="866866"/>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1" name="Oval 512"/>
            <p:cNvSpPr>
              <a:spLocks noChangeArrowheads="1"/>
            </p:cNvSpPr>
            <p:nvPr userDrawn="1"/>
          </p:nvSpPr>
          <p:spPr bwMode="auto">
            <a:xfrm flipH="1" flipV="1">
              <a:off x="10707522" y="165118"/>
              <a:ext cx="25403"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3" name="Oval 514"/>
            <p:cNvSpPr>
              <a:spLocks noChangeArrowheads="1"/>
            </p:cNvSpPr>
            <p:nvPr userDrawn="1"/>
          </p:nvSpPr>
          <p:spPr bwMode="auto">
            <a:xfrm flipH="1" flipV="1">
              <a:off x="10839300" y="644593"/>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4" name="Oval 515"/>
            <p:cNvSpPr>
              <a:spLocks noChangeArrowheads="1"/>
            </p:cNvSpPr>
            <p:nvPr userDrawn="1"/>
          </p:nvSpPr>
          <p:spPr bwMode="auto">
            <a:xfrm flipH="1" flipV="1">
              <a:off x="10890105" y="535044"/>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8" name="Oval 519"/>
            <p:cNvSpPr>
              <a:spLocks noChangeArrowheads="1"/>
            </p:cNvSpPr>
            <p:nvPr userDrawn="1"/>
          </p:nvSpPr>
          <p:spPr bwMode="auto">
            <a:xfrm flipH="1" flipV="1">
              <a:off x="10871053" y="823999"/>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9" name="Oval 520"/>
            <p:cNvSpPr>
              <a:spLocks noChangeArrowheads="1"/>
            </p:cNvSpPr>
            <p:nvPr userDrawn="1"/>
          </p:nvSpPr>
          <p:spPr bwMode="auto">
            <a:xfrm flipH="1" flipV="1">
              <a:off x="10898044" y="1220916"/>
              <a:ext cx="9526" cy="79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0" name="Oval 521"/>
            <p:cNvSpPr>
              <a:spLocks noChangeArrowheads="1"/>
            </p:cNvSpPr>
            <p:nvPr userDrawn="1"/>
          </p:nvSpPr>
          <p:spPr bwMode="auto">
            <a:xfrm flipH="1" flipV="1">
              <a:off x="10891693" y="1014519"/>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2" name="Oval 523"/>
            <p:cNvSpPr>
              <a:spLocks noChangeArrowheads="1"/>
            </p:cNvSpPr>
            <p:nvPr userDrawn="1"/>
          </p:nvSpPr>
          <p:spPr bwMode="auto">
            <a:xfrm flipH="1" flipV="1">
              <a:off x="10817072" y="936724"/>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4" name="Oval 525"/>
            <p:cNvSpPr>
              <a:spLocks noChangeArrowheads="1"/>
            </p:cNvSpPr>
            <p:nvPr userDrawn="1"/>
          </p:nvSpPr>
          <p:spPr bwMode="auto">
            <a:xfrm flipH="1" flipV="1">
              <a:off x="10798020" y="476301"/>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8" name="Oval 529"/>
            <p:cNvSpPr>
              <a:spLocks noChangeArrowheads="1"/>
            </p:cNvSpPr>
            <p:nvPr userDrawn="1"/>
          </p:nvSpPr>
          <p:spPr bwMode="auto">
            <a:xfrm flipH="1" flipV="1">
              <a:off x="10834536" y="1132006"/>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9" name="Oval 530"/>
            <p:cNvSpPr>
              <a:spLocks noChangeArrowheads="1"/>
            </p:cNvSpPr>
            <p:nvPr userDrawn="1"/>
          </p:nvSpPr>
          <p:spPr bwMode="auto">
            <a:xfrm flipH="1" flipV="1">
              <a:off x="10829774" y="1343166"/>
              <a:ext cx="9526"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86" name="Oval 537"/>
            <p:cNvSpPr>
              <a:spLocks noChangeArrowheads="1"/>
            </p:cNvSpPr>
            <p:nvPr userDrawn="1"/>
          </p:nvSpPr>
          <p:spPr bwMode="auto">
            <a:xfrm flipH="1" flipV="1">
              <a:off x="11391811" y="881155"/>
              <a:ext cx="23815"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87" name="Oval 538"/>
            <p:cNvSpPr>
              <a:spLocks noChangeArrowheads="1"/>
            </p:cNvSpPr>
            <p:nvPr userDrawn="1"/>
          </p:nvSpPr>
          <p:spPr bwMode="auto">
            <a:xfrm flipH="1" flipV="1">
              <a:off x="10696408" y="696986"/>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95" name="Oval 546"/>
            <p:cNvSpPr>
              <a:spLocks noChangeArrowheads="1"/>
            </p:cNvSpPr>
            <p:nvPr userDrawn="1"/>
          </p:nvSpPr>
          <p:spPr bwMode="auto">
            <a:xfrm flipH="1" flipV="1">
              <a:off x="11326716" y="1004994"/>
              <a:ext cx="20640"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97" name="Oval 548"/>
            <p:cNvSpPr>
              <a:spLocks noChangeArrowheads="1"/>
            </p:cNvSpPr>
            <p:nvPr userDrawn="1"/>
          </p:nvSpPr>
          <p:spPr bwMode="auto">
            <a:xfrm flipH="1" flipV="1">
              <a:off x="11341005" y="1332053"/>
              <a:ext cx="15877"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98" name="Oval 549"/>
            <p:cNvSpPr>
              <a:spLocks noChangeArrowheads="1"/>
            </p:cNvSpPr>
            <p:nvPr userDrawn="1"/>
          </p:nvSpPr>
          <p:spPr bwMode="auto">
            <a:xfrm flipH="1" flipV="1">
              <a:off x="11352119" y="282605"/>
              <a:ext cx="36517"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5" name="Oval 556"/>
            <p:cNvSpPr>
              <a:spLocks noChangeArrowheads="1"/>
            </p:cNvSpPr>
            <p:nvPr userDrawn="1"/>
          </p:nvSpPr>
          <p:spPr bwMode="auto">
            <a:xfrm flipH="1" flipV="1">
              <a:off x="11453730" y="758905"/>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6" name="Oval 557"/>
            <p:cNvSpPr>
              <a:spLocks noChangeArrowheads="1"/>
            </p:cNvSpPr>
            <p:nvPr userDrawn="1"/>
          </p:nvSpPr>
          <p:spPr bwMode="auto">
            <a:xfrm flipH="1" flipV="1">
              <a:off x="11520413" y="1622596"/>
              <a:ext cx="12701"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7" name="Oval 558"/>
            <p:cNvSpPr>
              <a:spLocks noChangeArrowheads="1"/>
            </p:cNvSpPr>
            <p:nvPr userDrawn="1"/>
          </p:nvSpPr>
          <p:spPr bwMode="auto">
            <a:xfrm flipH="1" flipV="1">
              <a:off x="11507712" y="1513046"/>
              <a:ext cx="14289"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8" name="Oval 559"/>
            <p:cNvSpPr>
              <a:spLocks noChangeArrowheads="1"/>
            </p:cNvSpPr>
            <p:nvPr userDrawn="1"/>
          </p:nvSpPr>
          <p:spPr bwMode="auto">
            <a:xfrm flipH="1" flipV="1">
              <a:off x="11331479" y="792246"/>
              <a:ext cx="23815"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9" name="Oval 560"/>
            <p:cNvSpPr>
              <a:spLocks noChangeArrowheads="1"/>
            </p:cNvSpPr>
            <p:nvPr userDrawn="1"/>
          </p:nvSpPr>
          <p:spPr bwMode="auto">
            <a:xfrm flipH="1" flipV="1">
              <a:off x="11447379" y="555684"/>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1" name="Oval 562"/>
            <p:cNvSpPr>
              <a:spLocks noChangeArrowheads="1"/>
            </p:cNvSpPr>
            <p:nvPr userDrawn="1"/>
          </p:nvSpPr>
          <p:spPr bwMode="auto">
            <a:xfrm flipH="1" flipV="1">
              <a:off x="11420389" y="1200276"/>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3" name="Oval 564"/>
            <p:cNvSpPr>
              <a:spLocks noChangeArrowheads="1"/>
            </p:cNvSpPr>
            <p:nvPr userDrawn="1"/>
          </p:nvSpPr>
          <p:spPr bwMode="auto">
            <a:xfrm flipH="1" flipV="1">
              <a:off x="11456906" y="1301887"/>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7" name="Oval 568"/>
            <p:cNvSpPr>
              <a:spLocks noChangeArrowheads="1"/>
            </p:cNvSpPr>
            <p:nvPr userDrawn="1"/>
          </p:nvSpPr>
          <p:spPr bwMode="auto">
            <a:xfrm flipH="1" flipV="1">
              <a:off x="11447380" y="974828"/>
              <a:ext cx="23815"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8" name="Oval 569"/>
            <p:cNvSpPr>
              <a:spLocks noChangeArrowheads="1"/>
            </p:cNvSpPr>
            <p:nvPr userDrawn="1"/>
          </p:nvSpPr>
          <p:spPr bwMode="auto">
            <a:xfrm flipH="1" flipV="1">
              <a:off x="11390224" y="673171"/>
              <a:ext cx="28578"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1" name="Oval 572"/>
            <p:cNvSpPr>
              <a:spLocks noChangeArrowheads="1"/>
            </p:cNvSpPr>
            <p:nvPr userDrawn="1"/>
          </p:nvSpPr>
          <p:spPr bwMode="auto">
            <a:xfrm flipH="1" flipV="1">
              <a:off x="11164773" y="441372"/>
              <a:ext cx="28578"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2" name="Oval 573"/>
            <p:cNvSpPr>
              <a:spLocks noChangeArrowheads="1"/>
            </p:cNvSpPr>
            <p:nvPr userDrawn="1"/>
          </p:nvSpPr>
          <p:spPr bwMode="auto">
            <a:xfrm flipH="1" flipV="1">
              <a:off x="11187001" y="1257433"/>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5" name="Oval 576"/>
            <p:cNvSpPr>
              <a:spLocks noChangeArrowheads="1"/>
            </p:cNvSpPr>
            <p:nvPr userDrawn="1"/>
          </p:nvSpPr>
          <p:spPr bwMode="auto">
            <a:xfrm flipH="1" flipV="1">
              <a:off x="11190176" y="627129"/>
              <a:ext cx="25403"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6" name="Oval 577"/>
            <p:cNvSpPr>
              <a:spLocks noChangeArrowheads="1"/>
            </p:cNvSpPr>
            <p:nvPr userDrawn="1"/>
          </p:nvSpPr>
          <p:spPr bwMode="auto">
            <a:xfrm flipH="1" flipV="1">
              <a:off x="11204466" y="827174"/>
              <a:ext cx="22227"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9" name="Oval 580"/>
            <p:cNvSpPr>
              <a:spLocks noChangeArrowheads="1"/>
            </p:cNvSpPr>
            <p:nvPr userDrawn="1"/>
          </p:nvSpPr>
          <p:spPr bwMode="auto">
            <a:xfrm flipH="1" flipV="1">
              <a:off x="11134608" y="744616"/>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32" name="Oval 583"/>
            <p:cNvSpPr>
              <a:spLocks noChangeArrowheads="1"/>
            </p:cNvSpPr>
            <p:nvPr userDrawn="1"/>
          </p:nvSpPr>
          <p:spPr bwMode="auto">
            <a:xfrm flipH="1" flipV="1">
              <a:off x="11110792" y="554096"/>
              <a:ext cx="25403"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35" name="Oval 586"/>
            <p:cNvSpPr>
              <a:spLocks noChangeArrowheads="1"/>
            </p:cNvSpPr>
            <p:nvPr userDrawn="1"/>
          </p:nvSpPr>
          <p:spPr bwMode="auto">
            <a:xfrm flipH="1" flipV="1">
              <a:off x="11206053" y="1035159"/>
              <a:ext cx="17464"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1" name="Oval 592"/>
            <p:cNvSpPr>
              <a:spLocks noChangeArrowheads="1"/>
            </p:cNvSpPr>
            <p:nvPr userDrawn="1"/>
          </p:nvSpPr>
          <p:spPr bwMode="auto">
            <a:xfrm flipH="1" flipV="1">
              <a:off x="11304489" y="1228854"/>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3" name="Oval 594"/>
            <p:cNvSpPr>
              <a:spLocks noChangeArrowheads="1"/>
            </p:cNvSpPr>
            <p:nvPr userDrawn="1"/>
          </p:nvSpPr>
          <p:spPr bwMode="auto">
            <a:xfrm flipH="1" flipV="1">
              <a:off x="11298138" y="396917"/>
              <a:ext cx="33341"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4" name="Oval 595"/>
            <p:cNvSpPr>
              <a:spLocks noChangeArrowheads="1"/>
            </p:cNvSpPr>
            <p:nvPr userDrawn="1"/>
          </p:nvSpPr>
          <p:spPr bwMode="auto">
            <a:xfrm flipH="1" flipV="1">
              <a:off x="11318777" y="589025"/>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7" name="Oval 598"/>
            <p:cNvSpPr>
              <a:spLocks noChangeArrowheads="1"/>
            </p:cNvSpPr>
            <p:nvPr userDrawn="1"/>
          </p:nvSpPr>
          <p:spPr bwMode="auto">
            <a:xfrm flipH="1" flipV="1">
              <a:off x="11244157" y="512816"/>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9" name="Oval 600"/>
            <p:cNvSpPr>
              <a:spLocks noChangeArrowheads="1"/>
            </p:cNvSpPr>
            <p:nvPr userDrawn="1"/>
          </p:nvSpPr>
          <p:spPr bwMode="auto">
            <a:xfrm flipH="1" flipV="1">
              <a:off x="11225105" y="1359043"/>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0" name="Oval 601"/>
            <p:cNvSpPr>
              <a:spLocks noChangeArrowheads="1"/>
            </p:cNvSpPr>
            <p:nvPr userDrawn="1"/>
          </p:nvSpPr>
          <p:spPr bwMode="auto">
            <a:xfrm flipH="1" flipV="1">
              <a:off x="11260034" y="1130419"/>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grpSp>
      <p:grpSp>
        <p:nvGrpSpPr>
          <p:cNvPr id="19" name="Group 18"/>
          <p:cNvGrpSpPr/>
          <p:nvPr userDrawn="1"/>
        </p:nvGrpSpPr>
        <p:grpSpPr>
          <a:xfrm>
            <a:off x="10859877" y="261113"/>
            <a:ext cx="1037914" cy="280187"/>
            <a:chOff x="4971814" y="299551"/>
            <a:chExt cx="2248375" cy="600940"/>
          </a:xfrm>
          <a:solidFill>
            <a:schemeClr val="bg1"/>
          </a:solidFill>
        </p:grpSpPr>
        <p:sp>
          <p:nvSpPr>
            <p:cNvPr id="20" name="Freeform 19"/>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1" name="Freeform 20"/>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2" name="Freeform 28"/>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3" name="Freeform 29"/>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7" name="Freeform 30"/>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8" name="Freeform 31"/>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5"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6"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pic>
        <p:nvPicPr>
          <p:cNvPr id="26" name="Picture 25"/>
          <p:cNvPicPr>
            <a:picLocks noChangeAspect="1"/>
          </p:cNvPicPr>
          <p:nvPr userDrawn="1"/>
        </p:nvPicPr>
        <p:blipFill rotWithShape="1">
          <a:blip r:embed="rId2" cstate="email"/>
          <a:srcRect/>
          <a:stretch>
            <a:fillRect/>
          </a:stretch>
        </p:blipFill>
        <p:spPr>
          <a:xfrm>
            <a:off x="0" y="-6928"/>
            <a:ext cx="7743463" cy="6858000"/>
          </a:xfrm>
          <a:prstGeom prst="rect">
            <a:avLst/>
          </a:prstGeom>
        </p:spPr>
      </p:pic>
      <p:sp>
        <p:nvSpPr>
          <p:cNvPr id="24" name="Rectangle 23"/>
          <p:cNvSpPr/>
          <p:nvPr userDrawn="1"/>
        </p:nvSpPr>
        <p:spPr>
          <a:xfrm>
            <a:off x="9348" y="0"/>
            <a:ext cx="6959600" cy="6858000"/>
          </a:xfrm>
          <a:prstGeom prst="rect">
            <a:avLst/>
          </a:prstGeom>
          <a:solidFill>
            <a:schemeClr val="tx2">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i-IN"/>
          </a:p>
        </p:txBody>
      </p:sp>
      <p:sp>
        <p:nvSpPr>
          <p:cNvPr id="6" name="Freeform: Shape 5"/>
          <p:cNvSpPr/>
          <p:nvPr userDrawn="1"/>
        </p:nvSpPr>
        <p:spPr>
          <a:xfrm>
            <a:off x="3486915" y="-6928"/>
            <a:ext cx="7567547" cy="6865003"/>
          </a:xfrm>
          <a:custGeom>
            <a:avLst/>
            <a:gdLst>
              <a:gd name="connsiteX0" fmla="*/ 7567548 w 7567547"/>
              <a:gd name="connsiteY0" fmla="*/ 0 h 6850388"/>
              <a:gd name="connsiteX1" fmla="*/ 4399776 w 7567547"/>
              <a:gd name="connsiteY1" fmla="*/ 6850389 h 6850388"/>
              <a:gd name="connsiteX2" fmla="*/ 0 w 7567547"/>
              <a:gd name="connsiteY2" fmla="*/ 6850389 h 6850388"/>
              <a:gd name="connsiteX3" fmla="*/ 3141436 w 7567547"/>
              <a:gd name="connsiteY3" fmla="*/ 0 h 6850388"/>
            </a:gdLst>
            <a:ahLst/>
            <a:cxnLst>
              <a:cxn ang="0">
                <a:pos x="connsiteX0" y="connsiteY0"/>
              </a:cxn>
              <a:cxn ang="0">
                <a:pos x="connsiteX1" y="connsiteY1"/>
              </a:cxn>
              <a:cxn ang="0">
                <a:pos x="connsiteX2" y="connsiteY2"/>
              </a:cxn>
              <a:cxn ang="0">
                <a:pos x="connsiteX3" y="connsiteY3"/>
              </a:cxn>
            </a:cxnLst>
            <a:rect l="l" t="t" r="r" b="b"/>
            <a:pathLst>
              <a:path w="7567547" h="6850388">
                <a:moveTo>
                  <a:pt x="7567548" y="0"/>
                </a:moveTo>
                <a:lnTo>
                  <a:pt x="4399776" y="6850389"/>
                </a:lnTo>
                <a:lnTo>
                  <a:pt x="0" y="6850389"/>
                </a:lnTo>
                <a:lnTo>
                  <a:pt x="3141436" y="0"/>
                </a:lnTo>
                <a:close/>
              </a:path>
            </a:pathLst>
          </a:custGeom>
          <a:solidFill>
            <a:srgbClr val="185091"/>
          </a:solidFill>
          <a:ln w="7608" cap="flat">
            <a:noFill/>
            <a:prstDash val="solid"/>
            <a:miter/>
          </a:ln>
        </p:spPr>
        <p:txBody>
          <a:bodyPr rtlCol="0" anchor="ctr"/>
          <a:lstStyle/>
          <a:p>
            <a:endParaRPr lang="hi-IN"/>
          </a:p>
        </p:txBody>
      </p:sp>
      <p:sp>
        <p:nvSpPr>
          <p:cNvPr id="7" name="Freeform: Shape 6"/>
          <p:cNvSpPr/>
          <p:nvPr userDrawn="1"/>
        </p:nvSpPr>
        <p:spPr>
          <a:xfrm>
            <a:off x="5337250" y="6928"/>
            <a:ext cx="6854750" cy="6805284"/>
          </a:xfrm>
          <a:custGeom>
            <a:avLst/>
            <a:gdLst>
              <a:gd name="connsiteX0" fmla="*/ 2362623 w 6423456"/>
              <a:gd name="connsiteY0" fmla="*/ 4336144 h 6377102"/>
              <a:gd name="connsiteX1" fmla="*/ 2362090 w 6423456"/>
              <a:gd name="connsiteY1" fmla="*/ 4336677 h 6377102"/>
              <a:gd name="connsiteX2" fmla="*/ 2361557 w 6423456"/>
              <a:gd name="connsiteY2" fmla="*/ 4336144 h 6377102"/>
              <a:gd name="connsiteX3" fmla="*/ 2362090 w 6423456"/>
              <a:gd name="connsiteY3" fmla="*/ 4335611 h 6377102"/>
              <a:gd name="connsiteX4" fmla="*/ 2362623 w 6423456"/>
              <a:gd name="connsiteY4" fmla="*/ 4336144 h 6377102"/>
              <a:gd name="connsiteX5" fmla="*/ 2399235 w 6423456"/>
              <a:gd name="connsiteY5" fmla="*/ 4175921 h 6377102"/>
              <a:gd name="connsiteX6" fmla="*/ 2398701 w 6423456"/>
              <a:gd name="connsiteY6" fmla="*/ 4175388 h 6377102"/>
              <a:gd name="connsiteX7" fmla="*/ 2398169 w 6423456"/>
              <a:gd name="connsiteY7" fmla="*/ 4175921 h 6377102"/>
              <a:gd name="connsiteX8" fmla="*/ 2398701 w 6423456"/>
              <a:gd name="connsiteY8" fmla="*/ 4176454 h 6377102"/>
              <a:gd name="connsiteX9" fmla="*/ 2399235 w 6423456"/>
              <a:gd name="connsiteY9" fmla="*/ 4175921 h 6377102"/>
              <a:gd name="connsiteX10" fmla="*/ 2296706 w 6423456"/>
              <a:gd name="connsiteY10" fmla="*/ 4047362 h 6377102"/>
              <a:gd name="connsiteX11" fmla="*/ 2296174 w 6423456"/>
              <a:gd name="connsiteY11" fmla="*/ 4046829 h 6377102"/>
              <a:gd name="connsiteX12" fmla="*/ 2295641 w 6423456"/>
              <a:gd name="connsiteY12" fmla="*/ 4047362 h 6377102"/>
              <a:gd name="connsiteX13" fmla="*/ 2296174 w 6423456"/>
              <a:gd name="connsiteY13" fmla="*/ 4047895 h 6377102"/>
              <a:gd name="connsiteX14" fmla="*/ 2296706 w 6423456"/>
              <a:gd name="connsiteY14" fmla="*/ 4047362 h 6377102"/>
              <a:gd name="connsiteX15" fmla="*/ 2132373 w 6423456"/>
              <a:gd name="connsiteY15" fmla="*/ 4047362 h 6377102"/>
              <a:gd name="connsiteX16" fmla="*/ 2131841 w 6423456"/>
              <a:gd name="connsiteY16" fmla="*/ 4046829 h 6377102"/>
              <a:gd name="connsiteX17" fmla="*/ 2131308 w 6423456"/>
              <a:gd name="connsiteY17" fmla="*/ 4047362 h 6377102"/>
              <a:gd name="connsiteX18" fmla="*/ 2131841 w 6423456"/>
              <a:gd name="connsiteY18" fmla="*/ 4047895 h 6377102"/>
              <a:gd name="connsiteX19" fmla="*/ 2132373 w 6423456"/>
              <a:gd name="connsiteY19" fmla="*/ 4047362 h 6377102"/>
              <a:gd name="connsiteX20" fmla="*/ 2510743 w 6423456"/>
              <a:gd name="connsiteY20" fmla="*/ 4454275 h 6377102"/>
              <a:gd name="connsiteX21" fmla="*/ 2510211 w 6423456"/>
              <a:gd name="connsiteY21" fmla="*/ 4453742 h 6377102"/>
              <a:gd name="connsiteX22" fmla="*/ 2509678 w 6423456"/>
              <a:gd name="connsiteY22" fmla="*/ 4454275 h 6377102"/>
              <a:gd name="connsiteX23" fmla="*/ 2510211 w 6423456"/>
              <a:gd name="connsiteY23" fmla="*/ 4454808 h 6377102"/>
              <a:gd name="connsiteX24" fmla="*/ 2510743 w 6423456"/>
              <a:gd name="connsiteY24" fmla="*/ 4454275 h 6377102"/>
              <a:gd name="connsiteX25" fmla="*/ 2583891 w 6423456"/>
              <a:gd name="connsiteY25" fmla="*/ 4302349 h 6377102"/>
              <a:gd name="connsiteX26" fmla="*/ 2583357 w 6423456"/>
              <a:gd name="connsiteY26" fmla="*/ 4301816 h 6377102"/>
              <a:gd name="connsiteX27" fmla="*/ 2582825 w 6423456"/>
              <a:gd name="connsiteY27" fmla="*/ 4302349 h 6377102"/>
              <a:gd name="connsiteX28" fmla="*/ 2583357 w 6423456"/>
              <a:gd name="connsiteY28" fmla="*/ 4302882 h 6377102"/>
              <a:gd name="connsiteX29" fmla="*/ 2583891 w 6423456"/>
              <a:gd name="connsiteY29" fmla="*/ 4302349 h 6377102"/>
              <a:gd name="connsiteX30" fmla="*/ 2584423 w 6423456"/>
              <a:gd name="connsiteY30" fmla="*/ 4133753 h 6377102"/>
              <a:gd name="connsiteX31" fmla="*/ 2583357 w 6423456"/>
              <a:gd name="connsiteY31" fmla="*/ 4132687 h 6377102"/>
              <a:gd name="connsiteX32" fmla="*/ 2582292 w 6423456"/>
              <a:gd name="connsiteY32" fmla="*/ 4133753 h 6377102"/>
              <a:gd name="connsiteX33" fmla="*/ 2583357 w 6423456"/>
              <a:gd name="connsiteY33" fmla="*/ 4134818 h 6377102"/>
              <a:gd name="connsiteX34" fmla="*/ 2584423 w 6423456"/>
              <a:gd name="connsiteY34" fmla="*/ 4133753 h 6377102"/>
              <a:gd name="connsiteX35" fmla="*/ 2511276 w 6423456"/>
              <a:gd name="connsiteY35" fmla="*/ 3981827 h 6377102"/>
              <a:gd name="connsiteX36" fmla="*/ 2510211 w 6423456"/>
              <a:gd name="connsiteY36" fmla="*/ 3980761 h 6377102"/>
              <a:gd name="connsiteX37" fmla="*/ 2509145 w 6423456"/>
              <a:gd name="connsiteY37" fmla="*/ 3981827 h 6377102"/>
              <a:gd name="connsiteX38" fmla="*/ 2510211 w 6423456"/>
              <a:gd name="connsiteY38" fmla="*/ 3982892 h 6377102"/>
              <a:gd name="connsiteX39" fmla="*/ 2511276 w 6423456"/>
              <a:gd name="connsiteY39" fmla="*/ 3981827 h 6377102"/>
              <a:gd name="connsiteX40" fmla="*/ 2379444 w 6423456"/>
              <a:gd name="connsiteY40" fmla="*/ 3876711 h 6377102"/>
              <a:gd name="connsiteX41" fmla="*/ 2378379 w 6423456"/>
              <a:gd name="connsiteY41" fmla="*/ 3875645 h 6377102"/>
              <a:gd name="connsiteX42" fmla="*/ 2377313 w 6423456"/>
              <a:gd name="connsiteY42" fmla="*/ 3876711 h 6377102"/>
              <a:gd name="connsiteX43" fmla="*/ 2378379 w 6423456"/>
              <a:gd name="connsiteY43" fmla="*/ 3877777 h 6377102"/>
              <a:gd name="connsiteX44" fmla="*/ 2379444 w 6423456"/>
              <a:gd name="connsiteY44" fmla="*/ 3876711 h 6377102"/>
              <a:gd name="connsiteX45" fmla="*/ 2215035 w 6423456"/>
              <a:gd name="connsiteY45" fmla="*/ 3839186 h 6377102"/>
              <a:gd name="connsiteX46" fmla="*/ 2213969 w 6423456"/>
              <a:gd name="connsiteY46" fmla="*/ 3838121 h 6377102"/>
              <a:gd name="connsiteX47" fmla="*/ 2212903 w 6423456"/>
              <a:gd name="connsiteY47" fmla="*/ 3839186 h 6377102"/>
              <a:gd name="connsiteX48" fmla="*/ 2213969 w 6423456"/>
              <a:gd name="connsiteY48" fmla="*/ 3840252 h 6377102"/>
              <a:gd name="connsiteX49" fmla="*/ 2215035 w 6423456"/>
              <a:gd name="connsiteY49" fmla="*/ 3839186 h 6377102"/>
              <a:gd name="connsiteX50" fmla="*/ 2050168 w 6423456"/>
              <a:gd name="connsiteY50" fmla="*/ 3876711 h 6377102"/>
              <a:gd name="connsiteX51" fmla="*/ 2049636 w 6423456"/>
              <a:gd name="connsiteY51" fmla="*/ 3876178 h 6377102"/>
              <a:gd name="connsiteX52" fmla="*/ 2049104 w 6423456"/>
              <a:gd name="connsiteY52" fmla="*/ 3876711 h 6377102"/>
              <a:gd name="connsiteX53" fmla="*/ 2049636 w 6423456"/>
              <a:gd name="connsiteY53" fmla="*/ 3877244 h 6377102"/>
              <a:gd name="connsiteX54" fmla="*/ 2050168 w 6423456"/>
              <a:gd name="connsiteY54" fmla="*/ 3876711 h 6377102"/>
              <a:gd name="connsiteX55" fmla="*/ 2658864 w 6423456"/>
              <a:gd name="connsiteY55" fmla="*/ 4572330 h 6377102"/>
              <a:gd name="connsiteX56" fmla="*/ 2658331 w 6423456"/>
              <a:gd name="connsiteY56" fmla="*/ 4571797 h 6377102"/>
              <a:gd name="connsiteX57" fmla="*/ 2657798 w 6423456"/>
              <a:gd name="connsiteY57" fmla="*/ 4572330 h 6377102"/>
              <a:gd name="connsiteX58" fmla="*/ 2658331 w 6423456"/>
              <a:gd name="connsiteY58" fmla="*/ 4572863 h 6377102"/>
              <a:gd name="connsiteX59" fmla="*/ 2658864 w 6423456"/>
              <a:gd name="connsiteY59" fmla="*/ 4572330 h 6377102"/>
              <a:gd name="connsiteX60" fmla="*/ 2743505 w 6423456"/>
              <a:gd name="connsiteY60" fmla="*/ 4425656 h 6377102"/>
              <a:gd name="connsiteX61" fmla="*/ 2742971 w 6423456"/>
              <a:gd name="connsiteY61" fmla="*/ 4425123 h 6377102"/>
              <a:gd name="connsiteX62" fmla="*/ 2742439 w 6423456"/>
              <a:gd name="connsiteY62" fmla="*/ 4425656 h 6377102"/>
              <a:gd name="connsiteX63" fmla="*/ 2742971 w 6423456"/>
              <a:gd name="connsiteY63" fmla="*/ 4426189 h 6377102"/>
              <a:gd name="connsiteX64" fmla="*/ 2743505 w 6423456"/>
              <a:gd name="connsiteY64" fmla="*/ 4425656 h 6377102"/>
              <a:gd name="connsiteX65" fmla="*/ 2781791 w 6423456"/>
              <a:gd name="connsiteY65" fmla="*/ 4260485 h 6377102"/>
              <a:gd name="connsiteX66" fmla="*/ 2780725 w 6423456"/>
              <a:gd name="connsiteY66" fmla="*/ 4259419 h 6377102"/>
              <a:gd name="connsiteX67" fmla="*/ 2779659 w 6423456"/>
              <a:gd name="connsiteY67" fmla="*/ 4260485 h 6377102"/>
              <a:gd name="connsiteX68" fmla="*/ 2780725 w 6423456"/>
              <a:gd name="connsiteY68" fmla="*/ 4261551 h 6377102"/>
              <a:gd name="connsiteX69" fmla="*/ 2781791 w 6423456"/>
              <a:gd name="connsiteY69" fmla="*/ 4260485 h 6377102"/>
              <a:gd name="connsiteX70" fmla="*/ 2769612 w 6423456"/>
              <a:gd name="connsiteY70" fmla="*/ 4091585 h 6377102"/>
              <a:gd name="connsiteX71" fmla="*/ 2768013 w 6423456"/>
              <a:gd name="connsiteY71" fmla="*/ 4089986 h 6377102"/>
              <a:gd name="connsiteX72" fmla="*/ 2766415 w 6423456"/>
              <a:gd name="connsiteY72" fmla="*/ 4091585 h 6377102"/>
              <a:gd name="connsiteX73" fmla="*/ 2768013 w 6423456"/>
              <a:gd name="connsiteY73" fmla="*/ 4093183 h 6377102"/>
              <a:gd name="connsiteX74" fmla="*/ 2769612 w 6423456"/>
              <a:gd name="connsiteY74" fmla="*/ 4091585 h 6377102"/>
              <a:gd name="connsiteX75" fmla="*/ 2707730 w 6423456"/>
              <a:gd name="connsiteY75" fmla="*/ 3933874 h 6377102"/>
              <a:gd name="connsiteX76" fmla="*/ 2706132 w 6423456"/>
              <a:gd name="connsiteY76" fmla="*/ 3932275 h 6377102"/>
              <a:gd name="connsiteX77" fmla="*/ 2704533 w 6423456"/>
              <a:gd name="connsiteY77" fmla="*/ 3933874 h 6377102"/>
              <a:gd name="connsiteX78" fmla="*/ 2706132 w 6423456"/>
              <a:gd name="connsiteY78" fmla="*/ 3935472 h 6377102"/>
              <a:gd name="connsiteX79" fmla="*/ 2707730 w 6423456"/>
              <a:gd name="connsiteY79" fmla="*/ 3933874 h 6377102"/>
              <a:gd name="connsiteX80" fmla="*/ 2602615 w 6423456"/>
              <a:gd name="connsiteY80" fmla="*/ 3801433 h 6377102"/>
              <a:gd name="connsiteX81" fmla="*/ 2600483 w 6423456"/>
              <a:gd name="connsiteY81" fmla="*/ 3799302 h 6377102"/>
              <a:gd name="connsiteX82" fmla="*/ 2598352 w 6423456"/>
              <a:gd name="connsiteY82" fmla="*/ 3801433 h 6377102"/>
              <a:gd name="connsiteX83" fmla="*/ 2600483 w 6423456"/>
              <a:gd name="connsiteY83" fmla="*/ 3803564 h 6377102"/>
              <a:gd name="connsiteX84" fmla="*/ 2602615 w 6423456"/>
              <a:gd name="connsiteY84" fmla="*/ 3801433 h 6377102"/>
              <a:gd name="connsiteX85" fmla="*/ 2462181 w 6423456"/>
              <a:gd name="connsiteY85" fmla="*/ 3706060 h 6377102"/>
              <a:gd name="connsiteX86" fmla="*/ 2460583 w 6423456"/>
              <a:gd name="connsiteY86" fmla="*/ 3704462 h 6377102"/>
              <a:gd name="connsiteX87" fmla="*/ 2458985 w 6423456"/>
              <a:gd name="connsiteY87" fmla="*/ 3706060 h 6377102"/>
              <a:gd name="connsiteX88" fmla="*/ 2460583 w 6423456"/>
              <a:gd name="connsiteY88" fmla="*/ 3707659 h 6377102"/>
              <a:gd name="connsiteX89" fmla="*/ 2462181 w 6423456"/>
              <a:gd name="connsiteY89" fmla="*/ 3706060 h 6377102"/>
              <a:gd name="connsiteX90" fmla="*/ 2300285 w 6423456"/>
              <a:gd name="connsiteY90" fmla="*/ 3656129 h 6377102"/>
              <a:gd name="connsiteX91" fmla="*/ 2298685 w 6423456"/>
              <a:gd name="connsiteY91" fmla="*/ 3654530 h 6377102"/>
              <a:gd name="connsiteX92" fmla="*/ 2297087 w 6423456"/>
              <a:gd name="connsiteY92" fmla="*/ 3656129 h 6377102"/>
              <a:gd name="connsiteX93" fmla="*/ 2298685 w 6423456"/>
              <a:gd name="connsiteY93" fmla="*/ 3657727 h 6377102"/>
              <a:gd name="connsiteX94" fmla="*/ 2300285 w 6423456"/>
              <a:gd name="connsiteY94" fmla="*/ 3656129 h 6377102"/>
              <a:gd name="connsiteX95" fmla="*/ 2130394 w 6423456"/>
              <a:gd name="connsiteY95" fmla="*/ 3656129 h 6377102"/>
              <a:gd name="connsiteX96" fmla="*/ 2129329 w 6423456"/>
              <a:gd name="connsiteY96" fmla="*/ 3655063 h 6377102"/>
              <a:gd name="connsiteX97" fmla="*/ 2128263 w 6423456"/>
              <a:gd name="connsiteY97" fmla="*/ 3656129 h 6377102"/>
              <a:gd name="connsiteX98" fmla="*/ 2129329 w 6423456"/>
              <a:gd name="connsiteY98" fmla="*/ 3657194 h 6377102"/>
              <a:gd name="connsiteX99" fmla="*/ 2130394 w 6423456"/>
              <a:gd name="connsiteY99" fmla="*/ 3656129 h 6377102"/>
              <a:gd name="connsiteX100" fmla="*/ 1967964 w 6423456"/>
              <a:gd name="connsiteY100" fmla="*/ 3706060 h 6377102"/>
              <a:gd name="connsiteX101" fmla="*/ 1967431 w 6423456"/>
              <a:gd name="connsiteY101" fmla="*/ 3705527 h 6377102"/>
              <a:gd name="connsiteX102" fmla="*/ 1966899 w 6423456"/>
              <a:gd name="connsiteY102" fmla="*/ 3706060 h 6377102"/>
              <a:gd name="connsiteX103" fmla="*/ 1967431 w 6423456"/>
              <a:gd name="connsiteY103" fmla="*/ 3706593 h 6377102"/>
              <a:gd name="connsiteX104" fmla="*/ 1967964 w 6423456"/>
              <a:gd name="connsiteY104" fmla="*/ 3706060 h 6377102"/>
              <a:gd name="connsiteX105" fmla="*/ 1827988 w 6423456"/>
              <a:gd name="connsiteY105" fmla="*/ 3801433 h 6377102"/>
              <a:gd name="connsiteX106" fmla="*/ 1827455 w 6423456"/>
              <a:gd name="connsiteY106" fmla="*/ 3800900 h 6377102"/>
              <a:gd name="connsiteX107" fmla="*/ 1826922 w 6423456"/>
              <a:gd name="connsiteY107" fmla="*/ 3801433 h 6377102"/>
              <a:gd name="connsiteX108" fmla="*/ 1827455 w 6423456"/>
              <a:gd name="connsiteY108" fmla="*/ 3801966 h 6377102"/>
              <a:gd name="connsiteX109" fmla="*/ 1827988 w 6423456"/>
              <a:gd name="connsiteY109" fmla="*/ 3801433 h 6377102"/>
              <a:gd name="connsiteX110" fmla="*/ 2806908 w 6423456"/>
              <a:gd name="connsiteY110" fmla="*/ 4690461 h 6377102"/>
              <a:gd name="connsiteX111" fmla="*/ 2806376 w 6423456"/>
              <a:gd name="connsiteY111" fmla="*/ 4689928 h 6377102"/>
              <a:gd name="connsiteX112" fmla="*/ 2805843 w 6423456"/>
              <a:gd name="connsiteY112" fmla="*/ 4690461 h 6377102"/>
              <a:gd name="connsiteX113" fmla="*/ 2806376 w 6423456"/>
              <a:gd name="connsiteY113" fmla="*/ 4690994 h 6377102"/>
              <a:gd name="connsiteX114" fmla="*/ 2806908 w 6423456"/>
              <a:gd name="connsiteY114" fmla="*/ 4690461 h 6377102"/>
              <a:gd name="connsiteX115" fmla="*/ 2897181 w 6423456"/>
              <a:gd name="connsiteY115" fmla="*/ 4546831 h 6377102"/>
              <a:gd name="connsiteX116" fmla="*/ 2896649 w 6423456"/>
              <a:gd name="connsiteY116" fmla="*/ 4546299 h 6377102"/>
              <a:gd name="connsiteX117" fmla="*/ 2896115 w 6423456"/>
              <a:gd name="connsiteY117" fmla="*/ 4546831 h 6377102"/>
              <a:gd name="connsiteX118" fmla="*/ 2896649 w 6423456"/>
              <a:gd name="connsiteY118" fmla="*/ 4547364 h 6377102"/>
              <a:gd name="connsiteX119" fmla="*/ 2897181 w 6423456"/>
              <a:gd name="connsiteY119" fmla="*/ 4546831 h 6377102"/>
              <a:gd name="connsiteX120" fmla="*/ 2953811 w 6423456"/>
              <a:gd name="connsiteY120" fmla="*/ 4386685 h 6377102"/>
              <a:gd name="connsiteX121" fmla="*/ 2952746 w 6423456"/>
              <a:gd name="connsiteY121" fmla="*/ 4385619 h 6377102"/>
              <a:gd name="connsiteX122" fmla="*/ 2951680 w 6423456"/>
              <a:gd name="connsiteY122" fmla="*/ 4386685 h 6377102"/>
              <a:gd name="connsiteX123" fmla="*/ 2952746 w 6423456"/>
              <a:gd name="connsiteY123" fmla="*/ 4387750 h 6377102"/>
              <a:gd name="connsiteX124" fmla="*/ 2953811 w 6423456"/>
              <a:gd name="connsiteY124" fmla="*/ 4386685 h 6377102"/>
              <a:gd name="connsiteX125" fmla="*/ 2973297 w 6423456"/>
              <a:gd name="connsiteY125" fmla="*/ 4218013 h 6377102"/>
              <a:gd name="connsiteX126" fmla="*/ 2971698 w 6423456"/>
              <a:gd name="connsiteY126" fmla="*/ 4216415 h 6377102"/>
              <a:gd name="connsiteX127" fmla="*/ 2970100 w 6423456"/>
              <a:gd name="connsiteY127" fmla="*/ 4218013 h 6377102"/>
              <a:gd name="connsiteX128" fmla="*/ 2971698 w 6423456"/>
              <a:gd name="connsiteY128" fmla="*/ 4219611 h 6377102"/>
              <a:gd name="connsiteX129" fmla="*/ 2973297 w 6423456"/>
              <a:gd name="connsiteY129" fmla="*/ 4218013 h 6377102"/>
              <a:gd name="connsiteX130" fmla="*/ 2954801 w 6423456"/>
              <a:gd name="connsiteY130" fmla="*/ 4049417 h 6377102"/>
              <a:gd name="connsiteX131" fmla="*/ 2952670 w 6423456"/>
              <a:gd name="connsiteY131" fmla="*/ 4047286 h 6377102"/>
              <a:gd name="connsiteX132" fmla="*/ 2950538 w 6423456"/>
              <a:gd name="connsiteY132" fmla="*/ 4049417 h 6377102"/>
              <a:gd name="connsiteX133" fmla="*/ 2952670 w 6423456"/>
              <a:gd name="connsiteY133" fmla="*/ 4051548 h 6377102"/>
              <a:gd name="connsiteX134" fmla="*/ 2954801 w 6423456"/>
              <a:gd name="connsiteY134" fmla="*/ 4049417 h 6377102"/>
              <a:gd name="connsiteX135" fmla="*/ 2899313 w 6423456"/>
              <a:gd name="connsiteY135" fmla="*/ 3889270 h 6377102"/>
              <a:gd name="connsiteX136" fmla="*/ 2896725 w 6423456"/>
              <a:gd name="connsiteY136" fmla="*/ 3886682 h 6377102"/>
              <a:gd name="connsiteX137" fmla="*/ 2894061 w 6423456"/>
              <a:gd name="connsiteY137" fmla="*/ 3889270 h 6377102"/>
              <a:gd name="connsiteX138" fmla="*/ 2896725 w 6423456"/>
              <a:gd name="connsiteY138" fmla="*/ 3891858 h 6377102"/>
              <a:gd name="connsiteX139" fmla="*/ 2899313 w 6423456"/>
              <a:gd name="connsiteY139" fmla="*/ 3889270 h 6377102"/>
              <a:gd name="connsiteX140" fmla="*/ 2809040 w 6423456"/>
              <a:gd name="connsiteY140" fmla="*/ 3745640 h 6377102"/>
              <a:gd name="connsiteX141" fmla="*/ 2806452 w 6423456"/>
              <a:gd name="connsiteY141" fmla="*/ 3743052 h 6377102"/>
              <a:gd name="connsiteX142" fmla="*/ 2803787 w 6423456"/>
              <a:gd name="connsiteY142" fmla="*/ 3745640 h 6377102"/>
              <a:gd name="connsiteX143" fmla="*/ 2806452 w 6423456"/>
              <a:gd name="connsiteY143" fmla="*/ 3748228 h 6377102"/>
              <a:gd name="connsiteX144" fmla="*/ 2809040 w 6423456"/>
              <a:gd name="connsiteY144" fmla="*/ 3745640 h 6377102"/>
              <a:gd name="connsiteX145" fmla="*/ 2689082 w 6423456"/>
              <a:gd name="connsiteY145" fmla="*/ 3625682 h 6377102"/>
              <a:gd name="connsiteX146" fmla="*/ 2686494 w 6423456"/>
              <a:gd name="connsiteY146" fmla="*/ 3623095 h 6377102"/>
              <a:gd name="connsiteX147" fmla="*/ 2683829 w 6423456"/>
              <a:gd name="connsiteY147" fmla="*/ 3625682 h 6377102"/>
              <a:gd name="connsiteX148" fmla="*/ 2686494 w 6423456"/>
              <a:gd name="connsiteY148" fmla="*/ 3628347 h 6377102"/>
              <a:gd name="connsiteX149" fmla="*/ 2689082 w 6423456"/>
              <a:gd name="connsiteY149" fmla="*/ 3625682 h 6377102"/>
              <a:gd name="connsiteX150" fmla="*/ 2545376 w 6423456"/>
              <a:gd name="connsiteY150" fmla="*/ 3535409 h 6377102"/>
              <a:gd name="connsiteX151" fmla="*/ 2542788 w 6423456"/>
              <a:gd name="connsiteY151" fmla="*/ 3532822 h 6377102"/>
              <a:gd name="connsiteX152" fmla="*/ 2540124 w 6423456"/>
              <a:gd name="connsiteY152" fmla="*/ 3535409 h 6377102"/>
              <a:gd name="connsiteX153" fmla="*/ 2542788 w 6423456"/>
              <a:gd name="connsiteY153" fmla="*/ 3538074 h 6377102"/>
              <a:gd name="connsiteX154" fmla="*/ 2545376 w 6423456"/>
              <a:gd name="connsiteY154" fmla="*/ 3535409 h 6377102"/>
              <a:gd name="connsiteX155" fmla="*/ 2384696 w 6423456"/>
              <a:gd name="connsiteY155" fmla="*/ 3479312 h 6377102"/>
              <a:gd name="connsiteX156" fmla="*/ 2382565 w 6423456"/>
              <a:gd name="connsiteY156" fmla="*/ 3477181 h 6377102"/>
              <a:gd name="connsiteX157" fmla="*/ 2380433 w 6423456"/>
              <a:gd name="connsiteY157" fmla="*/ 3479312 h 6377102"/>
              <a:gd name="connsiteX158" fmla="*/ 2382565 w 6423456"/>
              <a:gd name="connsiteY158" fmla="*/ 3481444 h 6377102"/>
              <a:gd name="connsiteX159" fmla="*/ 2384696 w 6423456"/>
              <a:gd name="connsiteY159" fmla="*/ 3479312 h 6377102"/>
              <a:gd name="connsiteX160" fmla="*/ 2215568 w 6423456"/>
              <a:gd name="connsiteY160" fmla="*/ 3460360 h 6377102"/>
              <a:gd name="connsiteX161" fmla="*/ 2213969 w 6423456"/>
              <a:gd name="connsiteY161" fmla="*/ 3458761 h 6377102"/>
              <a:gd name="connsiteX162" fmla="*/ 2212371 w 6423456"/>
              <a:gd name="connsiteY162" fmla="*/ 3460360 h 6377102"/>
              <a:gd name="connsiteX163" fmla="*/ 2213969 w 6423456"/>
              <a:gd name="connsiteY163" fmla="*/ 3461958 h 6377102"/>
              <a:gd name="connsiteX164" fmla="*/ 2215568 w 6423456"/>
              <a:gd name="connsiteY164" fmla="*/ 3460360 h 6377102"/>
              <a:gd name="connsiteX165" fmla="*/ 2046439 w 6423456"/>
              <a:gd name="connsiteY165" fmla="*/ 3479312 h 6377102"/>
              <a:gd name="connsiteX166" fmla="*/ 2045374 w 6423456"/>
              <a:gd name="connsiteY166" fmla="*/ 3478247 h 6377102"/>
              <a:gd name="connsiteX167" fmla="*/ 2044308 w 6423456"/>
              <a:gd name="connsiteY167" fmla="*/ 3479312 h 6377102"/>
              <a:gd name="connsiteX168" fmla="*/ 2045374 w 6423456"/>
              <a:gd name="connsiteY168" fmla="*/ 3480378 h 6377102"/>
              <a:gd name="connsiteX169" fmla="*/ 2046439 w 6423456"/>
              <a:gd name="connsiteY169" fmla="*/ 3479312 h 6377102"/>
              <a:gd name="connsiteX170" fmla="*/ 1885760 w 6423456"/>
              <a:gd name="connsiteY170" fmla="*/ 3535409 h 6377102"/>
              <a:gd name="connsiteX171" fmla="*/ 1885227 w 6423456"/>
              <a:gd name="connsiteY171" fmla="*/ 3534877 h 6377102"/>
              <a:gd name="connsiteX172" fmla="*/ 1884694 w 6423456"/>
              <a:gd name="connsiteY172" fmla="*/ 3535409 h 6377102"/>
              <a:gd name="connsiteX173" fmla="*/ 1885227 w 6423456"/>
              <a:gd name="connsiteY173" fmla="*/ 3535942 h 6377102"/>
              <a:gd name="connsiteX174" fmla="*/ 1885760 w 6423456"/>
              <a:gd name="connsiteY174" fmla="*/ 3535409 h 6377102"/>
              <a:gd name="connsiteX175" fmla="*/ 1742129 w 6423456"/>
              <a:gd name="connsiteY175" fmla="*/ 3625682 h 6377102"/>
              <a:gd name="connsiteX176" fmla="*/ 1741597 w 6423456"/>
              <a:gd name="connsiteY176" fmla="*/ 3625150 h 6377102"/>
              <a:gd name="connsiteX177" fmla="*/ 1741064 w 6423456"/>
              <a:gd name="connsiteY177" fmla="*/ 3625682 h 6377102"/>
              <a:gd name="connsiteX178" fmla="*/ 1741597 w 6423456"/>
              <a:gd name="connsiteY178" fmla="*/ 3626215 h 6377102"/>
              <a:gd name="connsiteX179" fmla="*/ 1742129 w 6423456"/>
              <a:gd name="connsiteY179" fmla="*/ 3625682 h 6377102"/>
              <a:gd name="connsiteX180" fmla="*/ 2955029 w 6423456"/>
              <a:gd name="connsiteY180" fmla="*/ 4808592 h 6377102"/>
              <a:gd name="connsiteX181" fmla="*/ 2954496 w 6423456"/>
              <a:gd name="connsiteY181" fmla="*/ 4808060 h 6377102"/>
              <a:gd name="connsiteX182" fmla="*/ 2953964 w 6423456"/>
              <a:gd name="connsiteY182" fmla="*/ 4808592 h 6377102"/>
              <a:gd name="connsiteX183" fmla="*/ 2954496 w 6423456"/>
              <a:gd name="connsiteY183" fmla="*/ 4809125 h 6377102"/>
              <a:gd name="connsiteX184" fmla="*/ 2955029 w 6423456"/>
              <a:gd name="connsiteY184" fmla="*/ 4808592 h 6377102"/>
              <a:gd name="connsiteX185" fmla="*/ 3049108 w 6423456"/>
              <a:gd name="connsiteY185" fmla="*/ 4666866 h 6377102"/>
              <a:gd name="connsiteX186" fmla="*/ 3048042 w 6423456"/>
              <a:gd name="connsiteY186" fmla="*/ 4665800 h 6377102"/>
              <a:gd name="connsiteX187" fmla="*/ 3046977 w 6423456"/>
              <a:gd name="connsiteY187" fmla="*/ 4666866 h 6377102"/>
              <a:gd name="connsiteX188" fmla="*/ 3048042 w 6423456"/>
              <a:gd name="connsiteY188" fmla="*/ 4667931 h 6377102"/>
              <a:gd name="connsiteX189" fmla="*/ 3049108 w 6423456"/>
              <a:gd name="connsiteY189" fmla="*/ 4666866 h 6377102"/>
              <a:gd name="connsiteX190" fmla="*/ 3115861 w 6423456"/>
              <a:gd name="connsiteY190" fmla="*/ 4510753 h 6377102"/>
              <a:gd name="connsiteX191" fmla="*/ 3114796 w 6423456"/>
              <a:gd name="connsiteY191" fmla="*/ 4509687 h 6377102"/>
              <a:gd name="connsiteX192" fmla="*/ 3113730 w 6423456"/>
              <a:gd name="connsiteY192" fmla="*/ 4510753 h 6377102"/>
              <a:gd name="connsiteX193" fmla="*/ 3114796 w 6423456"/>
              <a:gd name="connsiteY193" fmla="*/ 4511818 h 6377102"/>
              <a:gd name="connsiteX194" fmla="*/ 3115861 w 6423456"/>
              <a:gd name="connsiteY194" fmla="*/ 4510753 h 6377102"/>
              <a:gd name="connsiteX195" fmla="*/ 3154680 w 6423456"/>
              <a:gd name="connsiteY195" fmla="*/ 4345202 h 6377102"/>
              <a:gd name="connsiteX196" fmla="*/ 3152549 w 6423456"/>
              <a:gd name="connsiteY196" fmla="*/ 4343070 h 6377102"/>
              <a:gd name="connsiteX197" fmla="*/ 3150417 w 6423456"/>
              <a:gd name="connsiteY197" fmla="*/ 4345202 h 6377102"/>
              <a:gd name="connsiteX198" fmla="*/ 3152549 w 6423456"/>
              <a:gd name="connsiteY198" fmla="*/ 4347333 h 6377102"/>
              <a:gd name="connsiteX199" fmla="*/ 3154680 w 6423456"/>
              <a:gd name="connsiteY199" fmla="*/ 4345202 h 6377102"/>
              <a:gd name="connsiteX200" fmla="*/ 3162824 w 6423456"/>
              <a:gd name="connsiteY200" fmla="*/ 4175540 h 6377102"/>
              <a:gd name="connsiteX201" fmla="*/ 3160160 w 6423456"/>
              <a:gd name="connsiteY201" fmla="*/ 4172876 h 6377102"/>
              <a:gd name="connsiteX202" fmla="*/ 3157573 w 6423456"/>
              <a:gd name="connsiteY202" fmla="*/ 4175540 h 6377102"/>
              <a:gd name="connsiteX203" fmla="*/ 3160160 w 6423456"/>
              <a:gd name="connsiteY203" fmla="*/ 4178128 h 6377102"/>
              <a:gd name="connsiteX204" fmla="*/ 3162824 w 6423456"/>
              <a:gd name="connsiteY204" fmla="*/ 4175540 h 6377102"/>
              <a:gd name="connsiteX205" fmla="*/ 3140522 w 6423456"/>
              <a:gd name="connsiteY205" fmla="*/ 4007325 h 6377102"/>
              <a:gd name="connsiteX206" fmla="*/ 3137402 w 6423456"/>
              <a:gd name="connsiteY206" fmla="*/ 4004205 h 6377102"/>
              <a:gd name="connsiteX207" fmla="*/ 3134281 w 6423456"/>
              <a:gd name="connsiteY207" fmla="*/ 4007325 h 6377102"/>
              <a:gd name="connsiteX208" fmla="*/ 3137402 w 6423456"/>
              <a:gd name="connsiteY208" fmla="*/ 4010446 h 6377102"/>
              <a:gd name="connsiteX209" fmla="*/ 3140522 w 6423456"/>
              <a:gd name="connsiteY209" fmla="*/ 4007325 h 6377102"/>
              <a:gd name="connsiteX210" fmla="*/ 3088612 w 6423456"/>
              <a:gd name="connsiteY210" fmla="*/ 3845808 h 6377102"/>
              <a:gd name="connsiteX211" fmla="*/ 3084958 w 6423456"/>
              <a:gd name="connsiteY211" fmla="*/ 3842155 h 6377102"/>
              <a:gd name="connsiteX212" fmla="*/ 3081305 w 6423456"/>
              <a:gd name="connsiteY212" fmla="*/ 3845808 h 6377102"/>
              <a:gd name="connsiteX213" fmla="*/ 3084958 w 6423456"/>
              <a:gd name="connsiteY213" fmla="*/ 3849462 h 6377102"/>
              <a:gd name="connsiteX214" fmla="*/ 3088612 w 6423456"/>
              <a:gd name="connsiteY214" fmla="*/ 3845808 h 6377102"/>
              <a:gd name="connsiteX215" fmla="*/ 3008158 w 6423456"/>
              <a:gd name="connsiteY215" fmla="*/ 3696241 h 6377102"/>
              <a:gd name="connsiteX216" fmla="*/ 3004504 w 6423456"/>
              <a:gd name="connsiteY216" fmla="*/ 3692588 h 6377102"/>
              <a:gd name="connsiteX217" fmla="*/ 3000850 w 6423456"/>
              <a:gd name="connsiteY217" fmla="*/ 3696241 h 6377102"/>
              <a:gd name="connsiteX218" fmla="*/ 3004504 w 6423456"/>
              <a:gd name="connsiteY218" fmla="*/ 3699895 h 6377102"/>
              <a:gd name="connsiteX219" fmla="*/ 3008158 w 6423456"/>
              <a:gd name="connsiteY219" fmla="*/ 3696241 h 6377102"/>
              <a:gd name="connsiteX220" fmla="*/ 2902814 w 6423456"/>
              <a:gd name="connsiteY220" fmla="*/ 3563496 h 6377102"/>
              <a:gd name="connsiteX221" fmla="*/ 2898628 w 6423456"/>
              <a:gd name="connsiteY221" fmla="*/ 3559310 h 6377102"/>
              <a:gd name="connsiteX222" fmla="*/ 2894441 w 6423456"/>
              <a:gd name="connsiteY222" fmla="*/ 3563496 h 6377102"/>
              <a:gd name="connsiteX223" fmla="*/ 2898628 w 6423456"/>
              <a:gd name="connsiteY223" fmla="*/ 3567683 h 6377102"/>
              <a:gd name="connsiteX224" fmla="*/ 2902814 w 6423456"/>
              <a:gd name="connsiteY224" fmla="*/ 3563496 h 6377102"/>
              <a:gd name="connsiteX225" fmla="*/ 2774940 w 6423456"/>
              <a:gd name="connsiteY225" fmla="*/ 3451759 h 6377102"/>
              <a:gd name="connsiteX226" fmla="*/ 2770754 w 6423456"/>
              <a:gd name="connsiteY226" fmla="*/ 3447572 h 6377102"/>
              <a:gd name="connsiteX227" fmla="*/ 2766568 w 6423456"/>
              <a:gd name="connsiteY227" fmla="*/ 3451759 h 6377102"/>
              <a:gd name="connsiteX228" fmla="*/ 2770754 w 6423456"/>
              <a:gd name="connsiteY228" fmla="*/ 3455945 h 6377102"/>
              <a:gd name="connsiteX229" fmla="*/ 2774940 w 6423456"/>
              <a:gd name="connsiteY229" fmla="*/ 3451759 h 6377102"/>
              <a:gd name="connsiteX230" fmla="*/ 2628646 w 6423456"/>
              <a:gd name="connsiteY230" fmla="*/ 3364683 h 6377102"/>
              <a:gd name="connsiteX231" fmla="*/ 2624992 w 6423456"/>
              <a:gd name="connsiteY231" fmla="*/ 3361029 h 6377102"/>
              <a:gd name="connsiteX232" fmla="*/ 2621339 w 6423456"/>
              <a:gd name="connsiteY232" fmla="*/ 3364683 h 6377102"/>
              <a:gd name="connsiteX233" fmla="*/ 2624992 w 6423456"/>
              <a:gd name="connsiteY233" fmla="*/ 3368336 h 6377102"/>
              <a:gd name="connsiteX234" fmla="*/ 2628646 w 6423456"/>
              <a:gd name="connsiteY234" fmla="*/ 3364683 h 6377102"/>
              <a:gd name="connsiteX235" fmla="*/ 2469108 w 6423456"/>
              <a:gd name="connsiteY235" fmla="*/ 3305008 h 6377102"/>
              <a:gd name="connsiteX236" fmla="*/ 2465987 w 6423456"/>
              <a:gd name="connsiteY236" fmla="*/ 3301887 h 6377102"/>
              <a:gd name="connsiteX237" fmla="*/ 2462791 w 6423456"/>
              <a:gd name="connsiteY237" fmla="*/ 3305008 h 6377102"/>
              <a:gd name="connsiteX238" fmla="*/ 2465987 w 6423456"/>
              <a:gd name="connsiteY238" fmla="*/ 3308129 h 6377102"/>
              <a:gd name="connsiteX239" fmla="*/ 2469108 w 6423456"/>
              <a:gd name="connsiteY239" fmla="*/ 3305008 h 6377102"/>
              <a:gd name="connsiteX240" fmla="*/ 2301578 w 6423456"/>
              <a:gd name="connsiteY240" fmla="*/ 3274714 h 6377102"/>
              <a:gd name="connsiteX241" fmla="*/ 2298914 w 6423456"/>
              <a:gd name="connsiteY241" fmla="*/ 3272050 h 6377102"/>
              <a:gd name="connsiteX242" fmla="*/ 2296326 w 6423456"/>
              <a:gd name="connsiteY242" fmla="*/ 3274714 h 6377102"/>
              <a:gd name="connsiteX243" fmla="*/ 2298914 w 6423456"/>
              <a:gd name="connsiteY243" fmla="*/ 3277302 h 6377102"/>
              <a:gd name="connsiteX244" fmla="*/ 2301578 w 6423456"/>
              <a:gd name="connsiteY244" fmla="*/ 3274714 h 6377102"/>
              <a:gd name="connsiteX245" fmla="*/ 2131232 w 6423456"/>
              <a:gd name="connsiteY245" fmla="*/ 3274714 h 6377102"/>
              <a:gd name="connsiteX246" fmla="*/ 2129101 w 6423456"/>
              <a:gd name="connsiteY246" fmla="*/ 3272583 h 6377102"/>
              <a:gd name="connsiteX247" fmla="*/ 2126970 w 6423456"/>
              <a:gd name="connsiteY247" fmla="*/ 3274714 h 6377102"/>
              <a:gd name="connsiteX248" fmla="*/ 2129101 w 6423456"/>
              <a:gd name="connsiteY248" fmla="*/ 3276845 h 6377102"/>
              <a:gd name="connsiteX249" fmla="*/ 2131232 w 6423456"/>
              <a:gd name="connsiteY249" fmla="*/ 3274714 h 6377102"/>
              <a:gd name="connsiteX250" fmla="*/ 1963626 w 6423456"/>
              <a:gd name="connsiteY250" fmla="*/ 3305008 h 6377102"/>
              <a:gd name="connsiteX251" fmla="*/ 1962027 w 6423456"/>
              <a:gd name="connsiteY251" fmla="*/ 3303410 h 6377102"/>
              <a:gd name="connsiteX252" fmla="*/ 1960429 w 6423456"/>
              <a:gd name="connsiteY252" fmla="*/ 3305008 h 6377102"/>
              <a:gd name="connsiteX253" fmla="*/ 1962027 w 6423456"/>
              <a:gd name="connsiteY253" fmla="*/ 3306606 h 6377102"/>
              <a:gd name="connsiteX254" fmla="*/ 1963626 w 6423456"/>
              <a:gd name="connsiteY254" fmla="*/ 3305008 h 6377102"/>
              <a:gd name="connsiteX255" fmla="*/ 1804088 w 6423456"/>
              <a:gd name="connsiteY255" fmla="*/ 3364683 h 6377102"/>
              <a:gd name="connsiteX256" fmla="*/ 1803022 w 6423456"/>
              <a:gd name="connsiteY256" fmla="*/ 3363617 h 6377102"/>
              <a:gd name="connsiteX257" fmla="*/ 1801957 w 6423456"/>
              <a:gd name="connsiteY257" fmla="*/ 3364683 h 6377102"/>
              <a:gd name="connsiteX258" fmla="*/ 1803022 w 6423456"/>
              <a:gd name="connsiteY258" fmla="*/ 3365748 h 6377102"/>
              <a:gd name="connsiteX259" fmla="*/ 1804088 w 6423456"/>
              <a:gd name="connsiteY259" fmla="*/ 3364683 h 6377102"/>
              <a:gd name="connsiteX260" fmla="*/ 1657794 w 6423456"/>
              <a:gd name="connsiteY260" fmla="*/ 3451759 h 6377102"/>
              <a:gd name="connsiteX261" fmla="*/ 1657261 w 6423456"/>
              <a:gd name="connsiteY261" fmla="*/ 3451226 h 6377102"/>
              <a:gd name="connsiteX262" fmla="*/ 1656728 w 6423456"/>
              <a:gd name="connsiteY262" fmla="*/ 3451759 h 6377102"/>
              <a:gd name="connsiteX263" fmla="*/ 1657261 w 6423456"/>
              <a:gd name="connsiteY263" fmla="*/ 3452292 h 6377102"/>
              <a:gd name="connsiteX264" fmla="*/ 1657794 w 6423456"/>
              <a:gd name="connsiteY264" fmla="*/ 3451759 h 6377102"/>
              <a:gd name="connsiteX265" fmla="*/ 3103150 w 6423456"/>
              <a:gd name="connsiteY265" fmla="*/ 4926648 h 6377102"/>
              <a:gd name="connsiteX266" fmla="*/ 3102617 w 6423456"/>
              <a:gd name="connsiteY266" fmla="*/ 4926115 h 6377102"/>
              <a:gd name="connsiteX267" fmla="*/ 3102084 w 6423456"/>
              <a:gd name="connsiteY267" fmla="*/ 4926648 h 6377102"/>
              <a:gd name="connsiteX268" fmla="*/ 3102617 w 6423456"/>
              <a:gd name="connsiteY268" fmla="*/ 4927180 h 6377102"/>
              <a:gd name="connsiteX269" fmla="*/ 3103150 w 6423456"/>
              <a:gd name="connsiteY269" fmla="*/ 4926648 h 6377102"/>
              <a:gd name="connsiteX270" fmla="*/ 3199360 w 6423456"/>
              <a:gd name="connsiteY270" fmla="*/ 4786291 h 6377102"/>
              <a:gd name="connsiteX271" fmla="*/ 3198294 w 6423456"/>
              <a:gd name="connsiteY271" fmla="*/ 4785225 h 6377102"/>
              <a:gd name="connsiteX272" fmla="*/ 3197228 w 6423456"/>
              <a:gd name="connsiteY272" fmla="*/ 4786291 h 6377102"/>
              <a:gd name="connsiteX273" fmla="*/ 3198294 w 6423456"/>
              <a:gd name="connsiteY273" fmla="*/ 4787356 h 6377102"/>
              <a:gd name="connsiteX274" fmla="*/ 3199360 w 6423456"/>
              <a:gd name="connsiteY274" fmla="*/ 4786291 h 6377102"/>
              <a:gd name="connsiteX275" fmla="*/ 3273572 w 6423456"/>
              <a:gd name="connsiteY275" fmla="*/ 4633298 h 6377102"/>
              <a:gd name="connsiteX276" fmla="*/ 3271973 w 6423456"/>
              <a:gd name="connsiteY276" fmla="*/ 4631700 h 6377102"/>
              <a:gd name="connsiteX277" fmla="*/ 3270375 w 6423456"/>
              <a:gd name="connsiteY277" fmla="*/ 4633298 h 6377102"/>
              <a:gd name="connsiteX278" fmla="*/ 3271973 w 6423456"/>
              <a:gd name="connsiteY278" fmla="*/ 4634897 h 6377102"/>
              <a:gd name="connsiteX279" fmla="*/ 3273572 w 6423456"/>
              <a:gd name="connsiteY279" fmla="*/ 4633298 h 6377102"/>
              <a:gd name="connsiteX280" fmla="*/ 3324188 w 6423456"/>
              <a:gd name="connsiteY280" fmla="*/ 4470945 h 6377102"/>
              <a:gd name="connsiteX281" fmla="*/ 3322058 w 6423456"/>
              <a:gd name="connsiteY281" fmla="*/ 4468813 h 6377102"/>
              <a:gd name="connsiteX282" fmla="*/ 3319926 w 6423456"/>
              <a:gd name="connsiteY282" fmla="*/ 4470945 h 6377102"/>
              <a:gd name="connsiteX283" fmla="*/ 3322058 w 6423456"/>
              <a:gd name="connsiteY283" fmla="*/ 4473076 h 6377102"/>
              <a:gd name="connsiteX284" fmla="*/ 3324188 w 6423456"/>
              <a:gd name="connsiteY284" fmla="*/ 4470945 h 6377102"/>
              <a:gd name="connsiteX285" fmla="*/ 3349992 w 6423456"/>
              <a:gd name="connsiteY285" fmla="*/ 4302958 h 6377102"/>
              <a:gd name="connsiteX286" fmla="*/ 3347404 w 6423456"/>
              <a:gd name="connsiteY286" fmla="*/ 4300370 h 6377102"/>
              <a:gd name="connsiteX287" fmla="*/ 3344816 w 6423456"/>
              <a:gd name="connsiteY287" fmla="*/ 4302958 h 6377102"/>
              <a:gd name="connsiteX288" fmla="*/ 3347404 w 6423456"/>
              <a:gd name="connsiteY288" fmla="*/ 4305622 h 6377102"/>
              <a:gd name="connsiteX289" fmla="*/ 3349992 w 6423456"/>
              <a:gd name="connsiteY289" fmla="*/ 4302958 h 6377102"/>
              <a:gd name="connsiteX290" fmla="*/ 3351057 w 6423456"/>
              <a:gd name="connsiteY290" fmla="*/ 4133144 h 6377102"/>
              <a:gd name="connsiteX291" fmla="*/ 3347404 w 6423456"/>
              <a:gd name="connsiteY291" fmla="*/ 4129490 h 6377102"/>
              <a:gd name="connsiteX292" fmla="*/ 3343751 w 6423456"/>
              <a:gd name="connsiteY292" fmla="*/ 4133144 h 6377102"/>
              <a:gd name="connsiteX293" fmla="*/ 3347404 w 6423456"/>
              <a:gd name="connsiteY293" fmla="*/ 4136797 h 6377102"/>
              <a:gd name="connsiteX294" fmla="*/ 3351057 w 6423456"/>
              <a:gd name="connsiteY294" fmla="*/ 4133144 h 6377102"/>
              <a:gd name="connsiteX295" fmla="*/ 3326320 w 6423456"/>
              <a:gd name="connsiteY295" fmla="*/ 3965157 h 6377102"/>
              <a:gd name="connsiteX296" fmla="*/ 3322134 w 6423456"/>
              <a:gd name="connsiteY296" fmla="*/ 3960971 h 6377102"/>
              <a:gd name="connsiteX297" fmla="*/ 3317947 w 6423456"/>
              <a:gd name="connsiteY297" fmla="*/ 3965157 h 6377102"/>
              <a:gd name="connsiteX298" fmla="*/ 3322134 w 6423456"/>
              <a:gd name="connsiteY298" fmla="*/ 3969344 h 6377102"/>
              <a:gd name="connsiteX299" fmla="*/ 3326320 w 6423456"/>
              <a:gd name="connsiteY299" fmla="*/ 3965157 h 6377102"/>
              <a:gd name="connsiteX300" fmla="*/ 3276769 w 6423456"/>
              <a:gd name="connsiteY300" fmla="*/ 3802803 h 6377102"/>
              <a:gd name="connsiteX301" fmla="*/ 3272050 w 6423456"/>
              <a:gd name="connsiteY301" fmla="*/ 3798084 h 6377102"/>
              <a:gd name="connsiteX302" fmla="*/ 3267330 w 6423456"/>
              <a:gd name="connsiteY302" fmla="*/ 3802803 h 6377102"/>
              <a:gd name="connsiteX303" fmla="*/ 3272050 w 6423456"/>
              <a:gd name="connsiteY303" fmla="*/ 3807522 h 6377102"/>
              <a:gd name="connsiteX304" fmla="*/ 3276769 w 6423456"/>
              <a:gd name="connsiteY304" fmla="*/ 3802803 h 6377102"/>
              <a:gd name="connsiteX305" fmla="*/ 3203546 w 6423456"/>
              <a:gd name="connsiteY305" fmla="*/ 3649735 h 6377102"/>
              <a:gd name="connsiteX306" fmla="*/ 3198294 w 6423456"/>
              <a:gd name="connsiteY306" fmla="*/ 3644483 h 6377102"/>
              <a:gd name="connsiteX307" fmla="*/ 3193042 w 6423456"/>
              <a:gd name="connsiteY307" fmla="*/ 3649735 h 6377102"/>
              <a:gd name="connsiteX308" fmla="*/ 3198294 w 6423456"/>
              <a:gd name="connsiteY308" fmla="*/ 3654987 h 6377102"/>
              <a:gd name="connsiteX309" fmla="*/ 3203546 w 6423456"/>
              <a:gd name="connsiteY309" fmla="*/ 3649735 h 6377102"/>
              <a:gd name="connsiteX310" fmla="*/ 3107869 w 6423456"/>
              <a:gd name="connsiteY310" fmla="*/ 3509378 h 6377102"/>
              <a:gd name="connsiteX311" fmla="*/ 3102617 w 6423456"/>
              <a:gd name="connsiteY311" fmla="*/ 3504126 h 6377102"/>
              <a:gd name="connsiteX312" fmla="*/ 3097365 w 6423456"/>
              <a:gd name="connsiteY312" fmla="*/ 3509378 h 6377102"/>
              <a:gd name="connsiteX313" fmla="*/ 3102617 w 6423456"/>
              <a:gd name="connsiteY313" fmla="*/ 3514630 h 6377102"/>
              <a:gd name="connsiteX314" fmla="*/ 3107869 w 6423456"/>
              <a:gd name="connsiteY314" fmla="*/ 3509378 h 6377102"/>
              <a:gd name="connsiteX315" fmla="*/ 2992325 w 6423456"/>
              <a:gd name="connsiteY315" fmla="*/ 3384853 h 6377102"/>
              <a:gd name="connsiteX316" fmla="*/ 2987074 w 6423456"/>
              <a:gd name="connsiteY316" fmla="*/ 3379601 h 6377102"/>
              <a:gd name="connsiteX317" fmla="*/ 2981821 w 6423456"/>
              <a:gd name="connsiteY317" fmla="*/ 3384853 h 6377102"/>
              <a:gd name="connsiteX318" fmla="*/ 2987074 w 6423456"/>
              <a:gd name="connsiteY318" fmla="*/ 3390105 h 6377102"/>
              <a:gd name="connsiteX319" fmla="*/ 2992325 w 6423456"/>
              <a:gd name="connsiteY319" fmla="*/ 3384853 h 6377102"/>
              <a:gd name="connsiteX320" fmla="*/ 2859504 w 6423456"/>
              <a:gd name="connsiteY320" fmla="*/ 3278977 h 6377102"/>
              <a:gd name="connsiteX321" fmla="*/ 2854252 w 6423456"/>
              <a:gd name="connsiteY321" fmla="*/ 3273725 h 6377102"/>
              <a:gd name="connsiteX322" fmla="*/ 2849000 w 6423456"/>
              <a:gd name="connsiteY322" fmla="*/ 3278977 h 6377102"/>
              <a:gd name="connsiteX323" fmla="*/ 2854252 w 6423456"/>
              <a:gd name="connsiteY323" fmla="*/ 3284229 h 6377102"/>
              <a:gd name="connsiteX324" fmla="*/ 2859504 w 6423456"/>
              <a:gd name="connsiteY324" fmla="*/ 3278977 h 6377102"/>
              <a:gd name="connsiteX325" fmla="*/ 2711840 w 6423456"/>
              <a:gd name="connsiteY325" fmla="*/ 3194032 h 6377102"/>
              <a:gd name="connsiteX326" fmla="*/ 2707121 w 6423456"/>
              <a:gd name="connsiteY326" fmla="*/ 3189313 h 6377102"/>
              <a:gd name="connsiteX327" fmla="*/ 2702402 w 6423456"/>
              <a:gd name="connsiteY327" fmla="*/ 3194032 h 6377102"/>
              <a:gd name="connsiteX328" fmla="*/ 2707121 w 6423456"/>
              <a:gd name="connsiteY328" fmla="*/ 3198751 h 6377102"/>
              <a:gd name="connsiteX329" fmla="*/ 2711840 w 6423456"/>
              <a:gd name="connsiteY329" fmla="*/ 3194032 h 6377102"/>
              <a:gd name="connsiteX330" fmla="*/ 2553216 w 6423456"/>
              <a:gd name="connsiteY330" fmla="*/ 3131998 h 6377102"/>
              <a:gd name="connsiteX331" fmla="*/ 2549029 w 6423456"/>
              <a:gd name="connsiteY331" fmla="*/ 3127811 h 6377102"/>
              <a:gd name="connsiteX332" fmla="*/ 2544843 w 6423456"/>
              <a:gd name="connsiteY332" fmla="*/ 3131998 h 6377102"/>
              <a:gd name="connsiteX333" fmla="*/ 2549029 w 6423456"/>
              <a:gd name="connsiteY333" fmla="*/ 3136184 h 6377102"/>
              <a:gd name="connsiteX334" fmla="*/ 2553216 w 6423456"/>
              <a:gd name="connsiteY334" fmla="*/ 3131998 h 6377102"/>
              <a:gd name="connsiteX335" fmla="*/ 2387055 w 6423456"/>
              <a:gd name="connsiteY335" fmla="*/ 3094168 h 6377102"/>
              <a:gd name="connsiteX336" fmla="*/ 2383402 w 6423456"/>
              <a:gd name="connsiteY336" fmla="*/ 3090515 h 6377102"/>
              <a:gd name="connsiteX337" fmla="*/ 2379749 w 6423456"/>
              <a:gd name="connsiteY337" fmla="*/ 3094168 h 6377102"/>
              <a:gd name="connsiteX338" fmla="*/ 2383402 w 6423456"/>
              <a:gd name="connsiteY338" fmla="*/ 3097822 h 6377102"/>
              <a:gd name="connsiteX339" fmla="*/ 2387055 w 6423456"/>
              <a:gd name="connsiteY339" fmla="*/ 3094168 h 6377102"/>
              <a:gd name="connsiteX340" fmla="*/ 2217166 w 6423456"/>
              <a:gd name="connsiteY340" fmla="*/ 3081457 h 6377102"/>
              <a:gd name="connsiteX341" fmla="*/ 2214045 w 6423456"/>
              <a:gd name="connsiteY341" fmla="*/ 3078336 h 6377102"/>
              <a:gd name="connsiteX342" fmla="*/ 2210925 w 6423456"/>
              <a:gd name="connsiteY342" fmla="*/ 3081457 h 6377102"/>
              <a:gd name="connsiteX343" fmla="*/ 2214045 w 6423456"/>
              <a:gd name="connsiteY343" fmla="*/ 3084578 h 6377102"/>
              <a:gd name="connsiteX344" fmla="*/ 2217166 w 6423456"/>
              <a:gd name="connsiteY344" fmla="*/ 3081457 h 6377102"/>
              <a:gd name="connsiteX345" fmla="*/ 2047277 w 6423456"/>
              <a:gd name="connsiteY345" fmla="*/ 3094168 h 6377102"/>
              <a:gd name="connsiteX346" fmla="*/ 2044612 w 6423456"/>
              <a:gd name="connsiteY346" fmla="*/ 3091580 h 6377102"/>
              <a:gd name="connsiteX347" fmla="*/ 2042024 w 6423456"/>
              <a:gd name="connsiteY347" fmla="*/ 3094168 h 6377102"/>
              <a:gd name="connsiteX348" fmla="*/ 2044612 w 6423456"/>
              <a:gd name="connsiteY348" fmla="*/ 3096832 h 6377102"/>
              <a:gd name="connsiteX349" fmla="*/ 2047277 w 6423456"/>
              <a:gd name="connsiteY349" fmla="*/ 3094168 h 6377102"/>
              <a:gd name="connsiteX350" fmla="*/ 1880583 w 6423456"/>
              <a:gd name="connsiteY350" fmla="*/ 3131998 h 6377102"/>
              <a:gd name="connsiteX351" fmla="*/ 1878985 w 6423456"/>
              <a:gd name="connsiteY351" fmla="*/ 3130399 h 6377102"/>
              <a:gd name="connsiteX352" fmla="*/ 1877387 w 6423456"/>
              <a:gd name="connsiteY352" fmla="*/ 3131998 h 6377102"/>
              <a:gd name="connsiteX353" fmla="*/ 1878985 w 6423456"/>
              <a:gd name="connsiteY353" fmla="*/ 3133596 h 6377102"/>
              <a:gd name="connsiteX354" fmla="*/ 1880583 w 6423456"/>
              <a:gd name="connsiteY354" fmla="*/ 3131998 h 6377102"/>
              <a:gd name="connsiteX355" fmla="*/ 1721959 w 6423456"/>
              <a:gd name="connsiteY355" fmla="*/ 3194032 h 6377102"/>
              <a:gd name="connsiteX356" fmla="*/ 1720893 w 6423456"/>
              <a:gd name="connsiteY356" fmla="*/ 3192966 h 6377102"/>
              <a:gd name="connsiteX357" fmla="*/ 1719828 w 6423456"/>
              <a:gd name="connsiteY357" fmla="*/ 3194032 h 6377102"/>
              <a:gd name="connsiteX358" fmla="*/ 1720893 w 6423456"/>
              <a:gd name="connsiteY358" fmla="*/ 3195097 h 6377102"/>
              <a:gd name="connsiteX359" fmla="*/ 1721959 w 6423456"/>
              <a:gd name="connsiteY359" fmla="*/ 3194032 h 6377102"/>
              <a:gd name="connsiteX360" fmla="*/ 1574295 w 6423456"/>
              <a:gd name="connsiteY360" fmla="*/ 3278977 h 6377102"/>
              <a:gd name="connsiteX361" fmla="*/ 1573762 w 6423456"/>
              <a:gd name="connsiteY361" fmla="*/ 3278444 h 6377102"/>
              <a:gd name="connsiteX362" fmla="*/ 1573230 w 6423456"/>
              <a:gd name="connsiteY362" fmla="*/ 3278977 h 6377102"/>
              <a:gd name="connsiteX363" fmla="*/ 1573762 w 6423456"/>
              <a:gd name="connsiteY363" fmla="*/ 3279509 h 6377102"/>
              <a:gd name="connsiteX364" fmla="*/ 1574295 w 6423456"/>
              <a:gd name="connsiteY364" fmla="*/ 3278977 h 6377102"/>
              <a:gd name="connsiteX365" fmla="*/ 1441474 w 6423456"/>
              <a:gd name="connsiteY365" fmla="*/ 3384853 h 6377102"/>
              <a:gd name="connsiteX366" fmla="*/ 1440941 w 6423456"/>
              <a:gd name="connsiteY366" fmla="*/ 3384320 h 6377102"/>
              <a:gd name="connsiteX367" fmla="*/ 1440408 w 6423456"/>
              <a:gd name="connsiteY367" fmla="*/ 3384853 h 6377102"/>
              <a:gd name="connsiteX368" fmla="*/ 1440941 w 6423456"/>
              <a:gd name="connsiteY368" fmla="*/ 3385386 h 6377102"/>
              <a:gd name="connsiteX369" fmla="*/ 1441474 w 6423456"/>
              <a:gd name="connsiteY369" fmla="*/ 3384853 h 6377102"/>
              <a:gd name="connsiteX370" fmla="*/ 3251270 w 6423456"/>
              <a:gd name="connsiteY370" fmla="*/ 5044778 h 6377102"/>
              <a:gd name="connsiteX371" fmla="*/ 3250738 w 6423456"/>
              <a:gd name="connsiteY371" fmla="*/ 5044246 h 6377102"/>
              <a:gd name="connsiteX372" fmla="*/ 3250204 w 6423456"/>
              <a:gd name="connsiteY372" fmla="*/ 5044778 h 6377102"/>
              <a:gd name="connsiteX373" fmla="*/ 3250738 w 6423456"/>
              <a:gd name="connsiteY373" fmla="*/ 5045311 h 6377102"/>
              <a:gd name="connsiteX374" fmla="*/ 3251270 w 6423456"/>
              <a:gd name="connsiteY374" fmla="*/ 5044778 h 6377102"/>
              <a:gd name="connsiteX375" fmla="*/ 3349002 w 6423456"/>
              <a:gd name="connsiteY375" fmla="*/ 4905411 h 6377102"/>
              <a:gd name="connsiteX376" fmla="*/ 3347936 w 6423456"/>
              <a:gd name="connsiteY376" fmla="*/ 4904346 h 6377102"/>
              <a:gd name="connsiteX377" fmla="*/ 3346872 w 6423456"/>
              <a:gd name="connsiteY377" fmla="*/ 4905411 h 6377102"/>
              <a:gd name="connsiteX378" fmla="*/ 3347936 w 6423456"/>
              <a:gd name="connsiteY378" fmla="*/ 4906477 h 6377102"/>
              <a:gd name="connsiteX379" fmla="*/ 3349002 w 6423456"/>
              <a:gd name="connsiteY379" fmla="*/ 4905411 h 6377102"/>
              <a:gd name="connsiteX380" fmla="*/ 3428086 w 6423456"/>
              <a:gd name="connsiteY380" fmla="*/ 4754779 h 6377102"/>
              <a:gd name="connsiteX381" fmla="*/ 3426488 w 6423456"/>
              <a:gd name="connsiteY381" fmla="*/ 4753180 h 6377102"/>
              <a:gd name="connsiteX382" fmla="*/ 3424890 w 6423456"/>
              <a:gd name="connsiteY382" fmla="*/ 4754779 h 6377102"/>
              <a:gd name="connsiteX383" fmla="*/ 3426488 w 6423456"/>
              <a:gd name="connsiteY383" fmla="*/ 4756377 h 6377102"/>
              <a:gd name="connsiteX384" fmla="*/ 3428086 w 6423456"/>
              <a:gd name="connsiteY384" fmla="*/ 4754779 h 6377102"/>
              <a:gd name="connsiteX385" fmla="*/ 3487304 w 6423456"/>
              <a:gd name="connsiteY385" fmla="*/ 4595317 h 6377102"/>
              <a:gd name="connsiteX386" fmla="*/ 3485173 w 6423456"/>
              <a:gd name="connsiteY386" fmla="*/ 4593186 h 6377102"/>
              <a:gd name="connsiteX387" fmla="*/ 3483041 w 6423456"/>
              <a:gd name="connsiteY387" fmla="*/ 4595317 h 6377102"/>
              <a:gd name="connsiteX388" fmla="*/ 3485173 w 6423456"/>
              <a:gd name="connsiteY388" fmla="*/ 4597448 h 6377102"/>
              <a:gd name="connsiteX389" fmla="*/ 3487304 w 6423456"/>
              <a:gd name="connsiteY389" fmla="*/ 4595317 h 6377102"/>
              <a:gd name="connsiteX390" fmla="*/ 3526123 w 6423456"/>
              <a:gd name="connsiteY390" fmla="*/ 4429690 h 6377102"/>
              <a:gd name="connsiteX391" fmla="*/ 3523002 w 6423456"/>
              <a:gd name="connsiteY391" fmla="*/ 4426569 h 6377102"/>
              <a:gd name="connsiteX392" fmla="*/ 3519806 w 6423456"/>
              <a:gd name="connsiteY392" fmla="*/ 4429690 h 6377102"/>
              <a:gd name="connsiteX393" fmla="*/ 3523002 w 6423456"/>
              <a:gd name="connsiteY393" fmla="*/ 4432811 h 6377102"/>
              <a:gd name="connsiteX394" fmla="*/ 3526123 w 6423456"/>
              <a:gd name="connsiteY394" fmla="*/ 4429690 h 6377102"/>
              <a:gd name="connsiteX395" fmla="*/ 3543020 w 6423456"/>
              <a:gd name="connsiteY395" fmla="*/ 4260561 h 6377102"/>
              <a:gd name="connsiteX396" fmla="*/ 3539367 w 6423456"/>
              <a:gd name="connsiteY396" fmla="*/ 4256908 h 6377102"/>
              <a:gd name="connsiteX397" fmla="*/ 3535714 w 6423456"/>
              <a:gd name="connsiteY397" fmla="*/ 4260561 h 6377102"/>
              <a:gd name="connsiteX398" fmla="*/ 3539367 w 6423456"/>
              <a:gd name="connsiteY398" fmla="*/ 4264215 h 6377102"/>
              <a:gd name="connsiteX399" fmla="*/ 3543020 w 6423456"/>
              <a:gd name="connsiteY399" fmla="*/ 4260561 h 6377102"/>
              <a:gd name="connsiteX400" fmla="*/ 3538606 w 6423456"/>
              <a:gd name="connsiteY400" fmla="*/ 4090748 h 6377102"/>
              <a:gd name="connsiteX401" fmla="*/ 3533887 w 6423456"/>
              <a:gd name="connsiteY401" fmla="*/ 4086029 h 6377102"/>
              <a:gd name="connsiteX402" fmla="*/ 3529168 w 6423456"/>
              <a:gd name="connsiteY402" fmla="*/ 4090748 h 6377102"/>
              <a:gd name="connsiteX403" fmla="*/ 3533887 w 6423456"/>
              <a:gd name="connsiteY403" fmla="*/ 4095467 h 6377102"/>
              <a:gd name="connsiteX404" fmla="*/ 3538606 w 6423456"/>
              <a:gd name="connsiteY404" fmla="*/ 4090748 h 6377102"/>
              <a:gd name="connsiteX405" fmla="*/ 3512042 w 6423456"/>
              <a:gd name="connsiteY405" fmla="*/ 3922989 h 6377102"/>
              <a:gd name="connsiteX406" fmla="*/ 3506790 w 6423456"/>
              <a:gd name="connsiteY406" fmla="*/ 3917737 h 6377102"/>
              <a:gd name="connsiteX407" fmla="*/ 3501538 w 6423456"/>
              <a:gd name="connsiteY407" fmla="*/ 3922989 h 6377102"/>
              <a:gd name="connsiteX408" fmla="*/ 3506790 w 6423456"/>
              <a:gd name="connsiteY408" fmla="*/ 3928241 h 6377102"/>
              <a:gd name="connsiteX409" fmla="*/ 3512042 w 6423456"/>
              <a:gd name="connsiteY409" fmla="*/ 3922989 h 6377102"/>
              <a:gd name="connsiteX410" fmla="*/ 3464165 w 6423456"/>
              <a:gd name="connsiteY410" fmla="*/ 3760102 h 6377102"/>
              <a:gd name="connsiteX411" fmla="*/ 3458380 w 6423456"/>
              <a:gd name="connsiteY411" fmla="*/ 3754317 h 6377102"/>
              <a:gd name="connsiteX412" fmla="*/ 3452595 w 6423456"/>
              <a:gd name="connsiteY412" fmla="*/ 3760102 h 6377102"/>
              <a:gd name="connsiteX413" fmla="*/ 3458380 w 6423456"/>
              <a:gd name="connsiteY413" fmla="*/ 3765887 h 6377102"/>
              <a:gd name="connsiteX414" fmla="*/ 3464165 w 6423456"/>
              <a:gd name="connsiteY414" fmla="*/ 3760102 h 6377102"/>
              <a:gd name="connsiteX415" fmla="*/ 3395966 w 6423456"/>
              <a:gd name="connsiteY415" fmla="*/ 3604751 h 6377102"/>
              <a:gd name="connsiteX416" fmla="*/ 3389648 w 6423456"/>
              <a:gd name="connsiteY416" fmla="*/ 3598433 h 6377102"/>
              <a:gd name="connsiteX417" fmla="*/ 3383330 w 6423456"/>
              <a:gd name="connsiteY417" fmla="*/ 3604751 h 6377102"/>
              <a:gd name="connsiteX418" fmla="*/ 3389648 w 6423456"/>
              <a:gd name="connsiteY418" fmla="*/ 3611068 h 6377102"/>
              <a:gd name="connsiteX419" fmla="*/ 3395966 w 6423456"/>
              <a:gd name="connsiteY419" fmla="*/ 3604751 h 6377102"/>
              <a:gd name="connsiteX420" fmla="*/ 3308357 w 6423456"/>
              <a:gd name="connsiteY420" fmla="*/ 3459446 h 6377102"/>
              <a:gd name="connsiteX421" fmla="*/ 3301506 w 6423456"/>
              <a:gd name="connsiteY421" fmla="*/ 3452596 h 6377102"/>
              <a:gd name="connsiteX422" fmla="*/ 3294656 w 6423456"/>
              <a:gd name="connsiteY422" fmla="*/ 3459446 h 6377102"/>
              <a:gd name="connsiteX423" fmla="*/ 3301506 w 6423456"/>
              <a:gd name="connsiteY423" fmla="*/ 3466297 h 6377102"/>
              <a:gd name="connsiteX424" fmla="*/ 3308357 w 6423456"/>
              <a:gd name="connsiteY424" fmla="*/ 3459446 h 6377102"/>
              <a:gd name="connsiteX425" fmla="*/ 3202404 w 6423456"/>
              <a:gd name="connsiteY425" fmla="*/ 3326549 h 6377102"/>
              <a:gd name="connsiteX426" fmla="*/ 3195554 w 6423456"/>
              <a:gd name="connsiteY426" fmla="*/ 3319698 h 6377102"/>
              <a:gd name="connsiteX427" fmla="*/ 3188704 w 6423456"/>
              <a:gd name="connsiteY427" fmla="*/ 3326549 h 6377102"/>
              <a:gd name="connsiteX428" fmla="*/ 3195554 w 6423456"/>
              <a:gd name="connsiteY428" fmla="*/ 3333399 h 6377102"/>
              <a:gd name="connsiteX429" fmla="*/ 3202404 w 6423456"/>
              <a:gd name="connsiteY429" fmla="*/ 3326549 h 6377102"/>
              <a:gd name="connsiteX430" fmla="*/ 3080391 w 6423456"/>
              <a:gd name="connsiteY430" fmla="*/ 3208341 h 6377102"/>
              <a:gd name="connsiteX431" fmla="*/ 3073541 w 6423456"/>
              <a:gd name="connsiteY431" fmla="*/ 3201491 h 6377102"/>
              <a:gd name="connsiteX432" fmla="*/ 3066690 w 6423456"/>
              <a:gd name="connsiteY432" fmla="*/ 3208341 h 6377102"/>
              <a:gd name="connsiteX433" fmla="*/ 3073541 w 6423456"/>
              <a:gd name="connsiteY433" fmla="*/ 3215192 h 6377102"/>
              <a:gd name="connsiteX434" fmla="*/ 3080391 w 6423456"/>
              <a:gd name="connsiteY434" fmla="*/ 3208341 h 6377102"/>
              <a:gd name="connsiteX435" fmla="*/ 2944221 w 6423456"/>
              <a:gd name="connsiteY435" fmla="*/ 3106728 h 6377102"/>
              <a:gd name="connsiteX436" fmla="*/ 2937370 w 6423456"/>
              <a:gd name="connsiteY436" fmla="*/ 3099877 h 6377102"/>
              <a:gd name="connsiteX437" fmla="*/ 2930520 w 6423456"/>
              <a:gd name="connsiteY437" fmla="*/ 3106728 h 6377102"/>
              <a:gd name="connsiteX438" fmla="*/ 2937370 w 6423456"/>
              <a:gd name="connsiteY438" fmla="*/ 3113578 h 6377102"/>
              <a:gd name="connsiteX439" fmla="*/ 2944221 w 6423456"/>
              <a:gd name="connsiteY439" fmla="*/ 3106728 h 6377102"/>
              <a:gd name="connsiteX440" fmla="*/ 2795643 w 6423456"/>
              <a:gd name="connsiteY440" fmla="*/ 3023381 h 6377102"/>
              <a:gd name="connsiteX441" fmla="*/ 2789326 w 6423456"/>
              <a:gd name="connsiteY441" fmla="*/ 3017064 h 6377102"/>
              <a:gd name="connsiteX442" fmla="*/ 2783008 w 6423456"/>
              <a:gd name="connsiteY442" fmla="*/ 3023381 h 6377102"/>
              <a:gd name="connsiteX443" fmla="*/ 2789326 w 6423456"/>
              <a:gd name="connsiteY443" fmla="*/ 3029699 h 6377102"/>
              <a:gd name="connsiteX444" fmla="*/ 2795643 w 6423456"/>
              <a:gd name="connsiteY444" fmla="*/ 3023381 h 6377102"/>
              <a:gd name="connsiteX445" fmla="*/ 2637628 w 6423456"/>
              <a:gd name="connsiteY445" fmla="*/ 2959596 h 6377102"/>
              <a:gd name="connsiteX446" fmla="*/ 2631843 w 6423456"/>
              <a:gd name="connsiteY446" fmla="*/ 2953811 h 6377102"/>
              <a:gd name="connsiteX447" fmla="*/ 2626058 w 6423456"/>
              <a:gd name="connsiteY447" fmla="*/ 2959596 h 6377102"/>
              <a:gd name="connsiteX448" fmla="*/ 2631843 w 6423456"/>
              <a:gd name="connsiteY448" fmla="*/ 2965381 h 6377102"/>
              <a:gd name="connsiteX449" fmla="*/ 2637628 w 6423456"/>
              <a:gd name="connsiteY449" fmla="*/ 2959596 h 6377102"/>
              <a:gd name="connsiteX450" fmla="*/ 2472761 w 6423456"/>
              <a:gd name="connsiteY450" fmla="*/ 2916515 h 6377102"/>
              <a:gd name="connsiteX451" fmla="*/ 2467510 w 6423456"/>
              <a:gd name="connsiteY451" fmla="*/ 2911263 h 6377102"/>
              <a:gd name="connsiteX452" fmla="*/ 2462257 w 6423456"/>
              <a:gd name="connsiteY452" fmla="*/ 2916515 h 6377102"/>
              <a:gd name="connsiteX453" fmla="*/ 2467510 w 6423456"/>
              <a:gd name="connsiteY453" fmla="*/ 2921767 h 6377102"/>
              <a:gd name="connsiteX454" fmla="*/ 2472761 w 6423456"/>
              <a:gd name="connsiteY454" fmla="*/ 2916515 h 6377102"/>
              <a:gd name="connsiteX455" fmla="*/ 2303177 w 6423456"/>
              <a:gd name="connsiteY455" fmla="*/ 2894746 h 6377102"/>
              <a:gd name="connsiteX456" fmla="*/ 2298990 w 6423456"/>
              <a:gd name="connsiteY456" fmla="*/ 2890560 h 6377102"/>
              <a:gd name="connsiteX457" fmla="*/ 2294804 w 6423456"/>
              <a:gd name="connsiteY457" fmla="*/ 2894746 h 6377102"/>
              <a:gd name="connsiteX458" fmla="*/ 2298990 w 6423456"/>
              <a:gd name="connsiteY458" fmla="*/ 2898932 h 6377102"/>
              <a:gd name="connsiteX459" fmla="*/ 2303177 w 6423456"/>
              <a:gd name="connsiteY459" fmla="*/ 2894746 h 6377102"/>
              <a:gd name="connsiteX460" fmla="*/ 2132754 w 6423456"/>
              <a:gd name="connsiteY460" fmla="*/ 2894746 h 6377102"/>
              <a:gd name="connsiteX461" fmla="*/ 2129101 w 6423456"/>
              <a:gd name="connsiteY461" fmla="*/ 2891092 h 6377102"/>
              <a:gd name="connsiteX462" fmla="*/ 2125447 w 6423456"/>
              <a:gd name="connsiteY462" fmla="*/ 2894746 h 6377102"/>
              <a:gd name="connsiteX463" fmla="*/ 2129101 w 6423456"/>
              <a:gd name="connsiteY463" fmla="*/ 2898399 h 6377102"/>
              <a:gd name="connsiteX464" fmla="*/ 2132754 w 6423456"/>
              <a:gd name="connsiteY464" fmla="*/ 2894746 h 6377102"/>
              <a:gd name="connsiteX465" fmla="*/ 1963169 w 6423456"/>
              <a:gd name="connsiteY465" fmla="*/ 2916515 h 6377102"/>
              <a:gd name="connsiteX466" fmla="*/ 1960581 w 6423456"/>
              <a:gd name="connsiteY466" fmla="*/ 2913851 h 6377102"/>
              <a:gd name="connsiteX467" fmla="*/ 1957917 w 6423456"/>
              <a:gd name="connsiteY467" fmla="*/ 2916515 h 6377102"/>
              <a:gd name="connsiteX468" fmla="*/ 1960581 w 6423456"/>
              <a:gd name="connsiteY468" fmla="*/ 2919103 h 6377102"/>
              <a:gd name="connsiteX469" fmla="*/ 1963169 w 6423456"/>
              <a:gd name="connsiteY469" fmla="*/ 2916515 h 6377102"/>
              <a:gd name="connsiteX470" fmla="*/ 1798303 w 6423456"/>
              <a:gd name="connsiteY470" fmla="*/ 2959596 h 6377102"/>
              <a:gd name="connsiteX471" fmla="*/ 1796172 w 6423456"/>
              <a:gd name="connsiteY471" fmla="*/ 2957465 h 6377102"/>
              <a:gd name="connsiteX472" fmla="*/ 1794040 w 6423456"/>
              <a:gd name="connsiteY472" fmla="*/ 2959596 h 6377102"/>
              <a:gd name="connsiteX473" fmla="*/ 1796172 w 6423456"/>
              <a:gd name="connsiteY473" fmla="*/ 2961727 h 6377102"/>
              <a:gd name="connsiteX474" fmla="*/ 1798303 w 6423456"/>
              <a:gd name="connsiteY474" fmla="*/ 2959596 h 6377102"/>
              <a:gd name="connsiteX475" fmla="*/ 1639755 w 6423456"/>
              <a:gd name="connsiteY475" fmla="*/ 3023381 h 6377102"/>
              <a:gd name="connsiteX476" fmla="*/ 1638689 w 6423456"/>
              <a:gd name="connsiteY476" fmla="*/ 3022315 h 6377102"/>
              <a:gd name="connsiteX477" fmla="*/ 1637623 w 6423456"/>
              <a:gd name="connsiteY477" fmla="*/ 3023381 h 6377102"/>
              <a:gd name="connsiteX478" fmla="*/ 1638689 w 6423456"/>
              <a:gd name="connsiteY478" fmla="*/ 3024447 h 6377102"/>
              <a:gd name="connsiteX479" fmla="*/ 1639755 w 6423456"/>
              <a:gd name="connsiteY479" fmla="*/ 3023381 h 6377102"/>
              <a:gd name="connsiteX480" fmla="*/ 1491710 w 6423456"/>
              <a:gd name="connsiteY480" fmla="*/ 3106728 h 6377102"/>
              <a:gd name="connsiteX481" fmla="*/ 1490644 w 6423456"/>
              <a:gd name="connsiteY481" fmla="*/ 3105662 h 6377102"/>
              <a:gd name="connsiteX482" fmla="*/ 1489579 w 6423456"/>
              <a:gd name="connsiteY482" fmla="*/ 3106728 h 6377102"/>
              <a:gd name="connsiteX483" fmla="*/ 1490644 w 6423456"/>
              <a:gd name="connsiteY483" fmla="*/ 3107793 h 6377102"/>
              <a:gd name="connsiteX484" fmla="*/ 1491710 w 6423456"/>
              <a:gd name="connsiteY484" fmla="*/ 3106728 h 6377102"/>
              <a:gd name="connsiteX485" fmla="*/ 1355007 w 6423456"/>
              <a:gd name="connsiteY485" fmla="*/ 3208341 h 6377102"/>
              <a:gd name="connsiteX486" fmla="*/ 1354474 w 6423456"/>
              <a:gd name="connsiteY486" fmla="*/ 3207809 h 6377102"/>
              <a:gd name="connsiteX487" fmla="*/ 1353941 w 6423456"/>
              <a:gd name="connsiteY487" fmla="*/ 3208341 h 6377102"/>
              <a:gd name="connsiteX488" fmla="*/ 1354474 w 6423456"/>
              <a:gd name="connsiteY488" fmla="*/ 3208874 h 6377102"/>
              <a:gd name="connsiteX489" fmla="*/ 1355007 w 6423456"/>
              <a:gd name="connsiteY489" fmla="*/ 3208341 h 6377102"/>
              <a:gd name="connsiteX490" fmla="*/ 3399314 w 6423456"/>
              <a:gd name="connsiteY490" fmla="*/ 5162910 h 6377102"/>
              <a:gd name="connsiteX491" fmla="*/ 3398782 w 6423456"/>
              <a:gd name="connsiteY491" fmla="*/ 5162377 h 6377102"/>
              <a:gd name="connsiteX492" fmla="*/ 3398250 w 6423456"/>
              <a:gd name="connsiteY492" fmla="*/ 5162910 h 6377102"/>
              <a:gd name="connsiteX493" fmla="*/ 3398782 w 6423456"/>
              <a:gd name="connsiteY493" fmla="*/ 5163443 h 6377102"/>
              <a:gd name="connsiteX494" fmla="*/ 3399314 w 6423456"/>
              <a:gd name="connsiteY494" fmla="*/ 5162910 h 6377102"/>
              <a:gd name="connsiteX495" fmla="*/ 3498189 w 6423456"/>
              <a:gd name="connsiteY495" fmla="*/ 5024303 h 6377102"/>
              <a:gd name="connsiteX496" fmla="*/ 3497123 w 6423456"/>
              <a:gd name="connsiteY496" fmla="*/ 5023238 h 6377102"/>
              <a:gd name="connsiteX497" fmla="*/ 3496058 w 6423456"/>
              <a:gd name="connsiteY497" fmla="*/ 5024303 h 6377102"/>
              <a:gd name="connsiteX498" fmla="*/ 3497123 w 6423456"/>
              <a:gd name="connsiteY498" fmla="*/ 5025369 h 6377102"/>
              <a:gd name="connsiteX499" fmla="*/ 3498189 w 6423456"/>
              <a:gd name="connsiteY499" fmla="*/ 5024303 h 6377102"/>
              <a:gd name="connsiteX500" fmla="*/ 3580927 w 6423456"/>
              <a:gd name="connsiteY500" fmla="*/ 4875574 h 6377102"/>
              <a:gd name="connsiteX501" fmla="*/ 3579328 w 6423456"/>
              <a:gd name="connsiteY501" fmla="*/ 4873975 h 6377102"/>
              <a:gd name="connsiteX502" fmla="*/ 3577729 w 6423456"/>
              <a:gd name="connsiteY502" fmla="*/ 4875574 h 6377102"/>
              <a:gd name="connsiteX503" fmla="*/ 3579328 w 6423456"/>
              <a:gd name="connsiteY503" fmla="*/ 4877173 h 6377102"/>
              <a:gd name="connsiteX504" fmla="*/ 3580927 w 6423456"/>
              <a:gd name="connsiteY504" fmla="*/ 4875574 h 6377102"/>
              <a:gd name="connsiteX505" fmla="*/ 3646994 w 6423456"/>
              <a:gd name="connsiteY505" fmla="*/ 4718548 h 6377102"/>
              <a:gd name="connsiteX506" fmla="*/ 3644407 w 6423456"/>
              <a:gd name="connsiteY506" fmla="*/ 4715960 h 6377102"/>
              <a:gd name="connsiteX507" fmla="*/ 3641743 w 6423456"/>
              <a:gd name="connsiteY507" fmla="*/ 4718548 h 6377102"/>
              <a:gd name="connsiteX508" fmla="*/ 3644407 w 6423456"/>
              <a:gd name="connsiteY508" fmla="*/ 4721212 h 6377102"/>
              <a:gd name="connsiteX509" fmla="*/ 3646994 w 6423456"/>
              <a:gd name="connsiteY509" fmla="*/ 4718548 h 6377102"/>
              <a:gd name="connsiteX510" fmla="*/ 3694566 w 6423456"/>
              <a:gd name="connsiteY510" fmla="*/ 4555280 h 6377102"/>
              <a:gd name="connsiteX511" fmla="*/ 3691445 w 6423456"/>
              <a:gd name="connsiteY511" fmla="*/ 4552160 h 6377102"/>
              <a:gd name="connsiteX512" fmla="*/ 3688249 w 6423456"/>
              <a:gd name="connsiteY512" fmla="*/ 4555280 h 6377102"/>
              <a:gd name="connsiteX513" fmla="*/ 3691445 w 6423456"/>
              <a:gd name="connsiteY513" fmla="*/ 4558401 h 6377102"/>
              <a:gd name="connsiteX514" fmla="*/ 3694566 w 6423456"/>
              <a:gd name="connsiteY514" fmla="*/ 4555280 h 6377102"/>
              <a:gd name="connsiteX515" fmla="*/ 3724099 w 6423456"/>
              <a:gd name="connsiteY515" fmla="*/ 4387750 h 6377102"/>
              <a:gd name="connsiteX516" fmla="*/ 3719913 w 6423456"/>
              <a:gd name="connsiteY516" fmla="*/ 4383564 h 6377102"/>
              <a:gd name="connsiteX517" fmla="*/ 3715727 w 6423456"/>
              <a:gd name="connsiteY517" fmla="*/ 4387750 h 6377102"/>
              <a:gd name="connsiteX518" fmla="*/ 3719913 w 6423456"/>
              <a:gd name="connsiteY518" fmla="*/ 4391937 h 6377102"/>
              <a:gd name="connsiteX519" fmla="*/ 3724099 w 6423456"/>
              <a:gd name="connsiteY519" fmla="*/ 4387750 h 6377102"/>
              <a:gd name="connsiteX520" fmla="*/ 3734147 w 6423456"/>
              <a:gd name="connsiteY520" fmla="*/ 4218013 h 6377102"/>
              <a:gd name="connsiteX521" fmla="*/ 3729428 w 6423456"/>
              <a:gd name="connsiteY521" fmla="*/ 4213294 h 6377102"/>
              <a:gd name="connsiteX522" fmla="*/ 3724708 w 6423456"/>
              <a:gd name="connsiteY522" fmla="*/ 4218013 h 6377102"/>
              <a:gd name="connsiteX523" fmla="*/ 3729428 w 6423456"/>
              <a:gd name="connsiteY523" fmla="*/ 4222732 h 6377102"/>
              <a:gd name="connsiteX524" fmla="*/ 3734147 w 6423456"/>
              <a:gd name="connsiteY524" fmla="*/ 4218013 h 6377102"/>
              <a:gd name="connsiteX525" fmla="*/ 3725697 w 6423456"/>
              <a:gd name="connsiteY525" fmla="*/ 4048351 h 6377102"/>
              <a:gd name="connsiteX526" fmla="*/ 3719913 w 6423456"/>
              <a:gd name="connsiteY526" fmla="*/ 4042567 h 6377102"/>
              <a:gd name="connsiteX527" fmla="*/ 3714129 w 6423456"/>
              <a:gd name="connsiteY527" fmla="*/ 4048351 h 6377102"/>
              <a:gd name="connsiteX528" fmla="*/ 3719913 w 6423456"/>
              <a:gd name="connsiteY528" fmla="*/ 4054136 h 6377102"/>
              <a:gd name="connsiteX529" fmla="*/ 3725697 w 6423456"/>
              <a:gd name="connsiteY529" fmla="*/ 4048351 h 6377102"/>
              <a:gd name="connsiteX530" fmla="*/ 3697764 w 6423456"/>
              <a:gd name="connsiteY530" fmla="*/ 3880821 h 6377102"/>
              <a:gd name="connsiteX531" fmla="*/ 3691445 w 6423456"/>
              <a:gd name="connsiteY531" fmla="*/ 3874504 h 6377102"/>
              <a:gd name="connsiteX532" fmla="*/ 3685128 w 6423456"/>
              <a:gd name="connsiteY532" fmla="*/ 3880821 h 6377102"/>
              <a:gd name="connsiteX533" fmla="*/ 3691445 w 6423456"/>
              <a:gd name="connsiteY533" fmla="*/ 3887139 h 6377102"/>
              <a:gd name="connsiteX534" fmla="*/ 3697764 w 6423456"/>
              <a:gd name="connsiteY534" fmla="*/ 3880821 h 6377102"/>
              <a:gd name="connsiteX535" fmla="*/ 3651713 w 6423456"/>
              <a:gd name="connsiteY535" fmla="*/ 3717554 h 6377102"/>
              <a:gd name="connsiteX536" fmla="*/ 3644330 w 6423456"/>
              <a:gd name="connsiteY536" fmla="*/ 3710171 h 6377102"/>
              <a:gd name="connsiteX537" fmla="*/ 3636947 w 6423456"/>
              <a:gd name="connsiteY537" fmla="*/ 3717554 h 6377102"/>
              <a:gd name="connsiteX538" fmla="*/ 3644330 w 6423456"/>
              <a:gd name="connsiteY538" fmla="*/ 3724937 h 6377102"/>
              <a:gd name="connsiteX539" fmla="*/ 3651713 w 6423456"/>
              <a:gd name="connsiteY539" fmla="*/ 3717554 h 6377102"/>
              <a:gd name="connsiteX540" fmla="*/ 3587244 w 6423456"/>
              <a:gd name="connsiteY540" fmla="*/ 3560528 h 6377102"/>
              <a:gd name="connsiteX541" fmla="*/ 3579404 w 6423456"/>
              <a:gd name="connsiteY541" fmla="*/ 3552612 h 6377102"/>
              <a:gd name="connsiteX542" fmla="*/ 3571488 w 6423456"/>
              <a:gd name="connsiteY542" fmla="*/ 3560528 h 6377102"/>
              <a:gd name="connsiteX543" fmla="*/ 3579404 w 6423456"/>
              <a:gd name="connsiteY543" fmla="*/ 3568368 h 6377102"/>
              <a:gd name="connsiteX544" fmla="*/ 3587244 w 6423456"/>
              <a:gd name="connsiteY544" fmla="*/ 3560528 h 6377102"/>
              <a:gd name="connsiteX545" fmla="*/ 3505039 w 6423456"/>
              <a:gd name="connsiteY545" fmla="*/ 3411798 h 6377102"/>
              <a:gd name="connsiteX546" fmla="*/ 3497200 w 6423456"/>
              <a:gd name="connsiteY546" fmla="*/ 3403958 h 6377102"/>
              <a:gd name="connsiteX547" fmla="*/ 3489283 w 6423456"/>
              <a:gd name="connsiteY547" fmla="*/ 3411798 h 6377102"/>
              <a:gd name="connsiteX548" fmla="*/ 3497200 w 6423456"/>
              <a:gd name="connsiteY548" fmla="*/ 3419714 h 6377102"/>
              <a:gd name="connsiteX549" fmla="*/ 3505039 w 6423456"/>
              <a:gd name="connsiteY549" fmla="*/ 3411798 h 6377102"/>
              <a:gd name="connsiteX550" fmla="*/ 3407231 w 6423456"/>
              <a:gd name="connsiteY550" fmla="*/ 3273192 h 6377102"/>
              <a:gd name="connsiteX551" fmla="*/ 3398858 w 6423456"/>
              <a:gd name="connsiteY551" fmla="*/ 3264819 h 6377102"/>
              <a:gd name="connsiteX552" fmla="*/ 3390486 w 6423456"/>
              <a:gd name="connsiteY552" fmla="*/ 3273192 h 6377102"/>
              <a:gd name="connsiteX553" fmla="*/ 3398858 w 6423456"/>
              <a:gd name="connsiteY553" fmla="*/ 3281565 h 6377102"/>
              <a:gd name="connsiteX554" fmla="*/ 3407231 w 6423456"/>
              <a:gd name="connsiteY554" fmla="*/ 3273192 h 6377102"/>
              <a:gd name="connsiteX555" fmla="*/ 3293971 w 6423456"/>
              <a:gd name="connsiteY555" fmla="*/ 3146460 h 6377102"/>
              <a:gd name="connsiteX556" fmla="*/ 3285598 w 6423456"/>
              <a:gd name="connsiteY556" fmla="*/ 3138087 h 6377102"/>
              <a:gd name="connsiteX557" fmla="*/ 3277150 w 6423456"/>
              <a:gd name="connsiteY557" fmla="*/ 3146460 h 6377102"/>
              <a:gd name="connsiteX558" fmla="*/ 3285598 w 6423456"/>
              <a:gd name="connsiteY558" fmla="*/ 3154832 h 6377102"/>
              <a:gd name="connsiteX559" fmla="*/ 3293971 w 6423456"/>
              <a:gd name="connsiteY559" fmla="*/ 3146460 h 6377102"/>
              <a:gd name="connsiteX560" fmla="*/ 3167238 w 6423456"/>
              <a:gd name="connsiteY560" fmla="*/ 3033276 h 6377102"/>
              <a:gd name="connsiteX561" fmla="*/ 3158866 w 6423456"/>
              <a:gd name="connsiteY561" fmla="*/ 3024903 h 6377102"/>
              <a:gd name="connsiteX562" fmla="*/ 3150417 w 6423456"/>
              <a:gd name="connsiteY562" fmla="*/ 3033276 h 6377102"/>
              <a:gd name="connsiteX563" fmla="*/ 3158866 w 6423456"/>
              <a:gd name="connsiteY563" fmla="*/ 3041649 h 6377102"/>
              <a:gd name="connsiteX564" fmla="*/ 3167238 w 6423456"/>
              <a:gd name="connsiteY564" fmla="*/ 3033276 h 6377102"/>
              <a:gd name="connsiteX565" fmla="*/ 3028176 w 6423456"/>
              <a:gd name="connsiteY565" fmla="*/ 2934935 h 6377102"/>
              <a:gd name="connsiteX566" fmla="*/ 3020336 w 6423456"/>
              <a:gd name="connsiteY566" fmla="*/ 2927095 h 6377102"/>
              <a:gd name="connsiteX567" fmla="*/ 3012420 w 6423456"/>
              <a:gd name="connsiteY567" fmla="*/ 2934935 h 6377102"/>
              <a:gd name="connsiteX568" fmla="*/ 3020336 w 6423456"/>
              <a:gd name="connsiteY568" fmla="*/ 2942775 h 6377102"/>
              <a:gd name="connsiteX569" fmla="*/ 3028176 w 6423456"/>
              <a:gd name="connsiteY569" fmla="*/ 2934935 h 6377102"/>
              <a:gd name="connsiteX570" fmla="*/ 2879447 w 6423456"/>
              <a:gd name="connsiteY570" fmla="*/ 2852730 h 6377102"/>
              <a:gd name="connsiteX571" fmla="*/ 2871530 w 6423456"/>
              <a:gd name="connsiteY571" fmla="*/ 2844814 h 6377102"/>
              <a:gd name="connsiteX572" fmla="*/ 2863690 w 6423456"/>
              <a:gd name="connsiteY572" fmla="*/ 2852730 h 6377102"/>
              <a:gd name="connsiteX573" fmla="*/ 2871530 w 6423456"/>
              <a:gd name="connsiteY573" fmla="*/ 2860570 h 6377102"/>
              <a:gd name="connsiteX574" fmla="*/ 2879447 w 6423456"/>
              <a:gd name="connsiteY574" fmla="*/ 2852730 h 6377102"/>
              <a:gd name="connsiteX575" fmla="*/ 2721887 w 6423456"/>
              <a:gd name="connsiteY575" fmla="*/ 2787652 h 6377102"/>
              <a:gd name="connsiteX576" fmla="*/ 2714504 w 6423456"/>
              <a:gd name="connsiteY576" fmla="*/ 2780268 h 6377102"/>
              <a:gd name="connsiteX577" fmla="*/ 2707121 w 6423456"/>
              <a:gd name="connsiteY577" fmla="*/ 2787652 h 6377102"/>
              <a:gd name="connsiteX578" fmla="*/ 2714504 w 6423456"/>
              <a:gd name="connsiteY578" fmla="*/ 2795035 h 6377102"/>
              <a:gd name="connsiteX579" fmla="*/ 2721887 w 6423456"/>
              <a:gd name="connsiteY579" fmla="*/ 2787652 h 6377102"/>
              <a:gd name="connsiteX580" fmla="*/ 2557554 w 6423456"/>
              <a:gd name="connsiteY580" fmla="*/ 2740612 h 6377102"/>
              <a:gd name="connsiteX581" fmla="*/ 2551237 w 6423456"/>
              <a:gd name="connsiteY581" fmla="*/ 2734295 h 6377102"/>
              <a:gd name="connsiteX582" fmla="*/ 2544919 w 6423456"/>
              <a:gd name="connsiteY582" fmla="*/ 2740612 h 6377102"/>
              <a:gd name="connsiteX583" fmla="*/ 2551237 w 6423456"/>
              <a:gd name="connsiteY583" fmla="*/ 2746930 h 6377102"/>
              <a:gd name="connsiteX584" fmla="*/ 2557554 w 6423456"/>
              <a:gd name="connsiteY584" fmla="*/ 2740612 h 6377102"/>
              <a:gd name="connsiteX585" fmla="*/ 2389492 w 6423456"/>
              <a:gd name="connsiteY585" fmla="*/ 2712145 h 6377102"/>
              <a:gd name="connsiteX586" fmla="*/ 2383707 w 6423456"/>
              <a:gd name="connsiteY586" fmla="*/ 2706360 h 6377102"/>
              <a:gd name="connsiteX587" fmla="*/ 2377922 w 6423456"/>
              <a:gd name="connsiteY587" fmla="*/ 2712145 h 6377102"/>
              <a:gd name="connsiteX588" fmla="*/ 2383707 w 6423456"/>
              <a:gd name="connsiteY588" fmla="*/ 2717930 h 6377102"/>
              <a:gd name="connsiteX589" fmla="*/ 2389492 w 6423456"/>
              <a:gd name="connsiteY589" fmla="*/ 2712145 h 6377102"/>
              <a:gd name="connsiteX590" fmla="*/ 2218764 w 6423456"/>
              <a:gd name="connsiteY590" fmla="*/ 2702631 h 6377102"/>
              <a:gd name="connsiteX591" fmla="*/ 2214045 w 6423456"/>
              <a:gd name="connsiteY591" fmla="*/ 2697911 h 6377102"/>
              <a:gd name="connsiteX592" fmla="*/ 2209326 w 6423456"/>
              <a:gd name="connsiteY592" fmla="*/ 2702631 h 6377102"/>
              <a:gd name="connsiteX593" fmla="*/ 2214045 w 6423456"/>
              <a:gd name="connsiteY593" fmla="*/ 2707350 h 6377102"/>
              <a:gd name="connsiteX594" fmla="*/ 2218764 w 6423456"/>
              <a:gd name="connsiteY594" fmla="*/ 2702631 h 6377102"/>
              <a:gd name="connsiteX595" fmla="*/ 2048570 w 6423456"/>
              <a:gd name="connsiteY595" fmla="*/ 2712145 h 6377102"/>
              <a:gd name="connsiteX596" fmla="*/ 2044384 w 6423456"/>
              <a:gd name="connsiteY596" fmla="*/ 2707959 h 6377102"/>
              <a:gd name="connsiteX597" fmla="*/ 2040198 w 6423456"/>
              <a:gd name="connsiteY597" fmla="*/ 2712145 h 6377102"/>
              <a:gd name="connsiteX598" fmla="*/ 2044384 w 6423456"/>
              <a:gd name="connsiteY598" fmla="*/ 2716331 h 6377102"/>
              <a:gd name="connsiteX599" fmla="*/ 2048570 w 6423456"/>
              <a:gd name="connsiteY599" fmla="*/ 2712145 h 6377102"/>
              <a:gd name="connsiteX600" fmla="*/ 1879975 w 6423456"/>
              <a:gd name="connsiteY600" fmla="*/ 2740612 h 6377102"/>
              <a:gd name="connsiteX601" fmla="*/ 1876854 w 6423456"/>
              <a:gd name="connsiteY601" fmla="*/ 2737491 h 6377102"/>
              <a:gd name="connsiteX602" fmla="*/ 1873657 w 6423456"/>
              <a:gd name="connsiteY602" fmla="*/ 2740612 h 6377102"/>
              <a:gd name="connsiteX603" fmla="*/ 1876854 w 6423456"/>
              <a:gd name="connsiteY603" fmla="*/ 2743733 h 6377102"/>
              <a:gd name="connsiteX604" fmla="*/ 1879975 w 6423456"/>
              <a:gd name="connsiteY604" fmla="*/ 2740612 h 6377102"/>
              <a:gd name="connsiteX605" fmla="*/ 1716098 w 6423456"/>
              <a:gd name="connsiteY605" fmla="*/ 2787652 h 6377102"/>
              <a:gd name="connsiteX606" fmla="*/ 1713434 w 6423456"/>
              <a:gd name="connsiteY606" fmla="*/ 2784987 h 6377102"/>
              <a:gd name="connsiteX607" fmla="*/ 1710846 w 6423456"/>
              <a:gd name="connsiteY607" fmla="*/ 2787652 h 6377102"/>
              <a:gd name="connsiteX608" fmla="*/ 1713434 w 6423456"/>
              <a:gd name="connsiteY608" fmla="*/ 2790239 h 6377102"/>
              <a:gd name="connsiteX609" fmla="*/ 1716098 w 6423456"/>
              <a:gd name="connsiteY609" fmla="*/ 2787652 h 6377102"/>
              <a:gd name="connsiteX610" fmla="*/ 1558082 w 6423456"/>
              <a:gd name="connsiteY610" fmla="*/ 2852730 h 6377102"/>
              <a:gd name="connsiteX611" fmla="*/ 1556484 w 6423456"/>
              <a:gd name="connsiteY611" fmla="*/ 2851132 h 6377102"/>
              <a:gd name="connsiteX612" fmla="*/ 1554886 w 6423456"/>
              <a:gd name="connsiteY612" fmla="*/ 2852730 h 6377102"/>
              <a:gd name="connsiteX613" fmla="*/ 1556484 w 6423456"/>
              <a:gd name="connsiteY613" fmla="*/ 2854329 h 6377102"/>
              <a:gd name="connsiteX614" fmla="*/ 1558082 w 6423456"/>
              <a:gd name="connsiteY614" fmla="*/ 2852730 h 6377102"/>
              <a:gd name="connsiteX615" fmla="*/ 1408820 w 6423456"/>
              <a:gd name="connsiteY615" fmla="*/ 2934935 h 6377102"/>
              <a:gd name="connsiteX616" fmla="*/ 1407754 w 6423456"/>
              <a:gd name="connsiteY616" fmla="*/ 2933869 h 6377102"/>
              <a:gd name="connsiteX617" fmla="*/ 1406689 w 6423456"/>
              <a:gd name="connsiteY617" fmla="*/ 2934935 h 6377102"/>
              <a:gd name="connsiteX618" fmla="*/ 1407754 w 6423456"/>
              <a:gd name="connsiteY618" fmla="*/ 2936000 h 6377102"/>
              <a:gd name="connsiteX619" fmla="*/ 1408820 w 6423456"/>
              <a:gd name="connsiteY619" fmla="*/ 2934935 h 6377102"/>
              <a:gd name="connsiteX620" fmla="*/ 1269681 w 6423456"/>
              <a:gd name="connsiteY620" fmla="*/ 3033276 h 6377102"/>
              <a:gd name="connsiteX621" fmla="*/ 1269149 w 6423456"/>
              <a:gd name="connsiteY621" fmla="*/ 3032743 h 6377102"/>
              <a:gd name="connsiteX622" fmla="*/ 1268616 w 6423456"/>
              <a:gd name="connsiteY622" fmla="*/ 3033276 h 6377102"/>
              <a:gd name="connsiteX623" fmla="*/ 1269149 w 6423456"/>
              <a:gd name="connsiteY623" fmla="*/ 3033809 h 6377102"/>
              <a:gd name="connsiteX624" fmla="*/ 1269681 w 6423456"/>
              <a:gd name="connsiteY624" fmla="*/ 3033276 h 6377102"/>
              <a:gd name="connsiteX625" fmla="*/ 3435013 w 6423456"/>
              <a:gd name="connsiteY625" fmla="*/ 5408458 h 6377102"/>
              <a:gd name="connsiteX626" fmla="*/ 3434481 w 6423456"/>
              <a:gd name="connsiteY626" fmla="*/ 5407925 h 6377102"/>
              <a:gd name="connsiteX627" fmla="*/ 3433947 w 6423456"/>
              <a:gd name="connsiteY627" fmla="*/ 5408458 h 6377102"/>
              <a:gd name="connsiteX628" fmla="*/ 3434481 w 6423456"/>
              <a:gd name="connsiteY628" fmla="*/ 5408991 h 6377102"/>
              <a:gd name="connsiteX629" fmla="*/ 3435013 w 6423456"/>
              <a:gd name="connsiteY629" fmla="*/ 5408458 h 6377102"/>
              <a:gd name="connsiteX630" fmla="*/ 3547436 w 6423456"/>
              <a:gd name="connsiteY630" fmla="*/ 5280965 h 6377102"/>
              <a:gd name="connsiteX631" fmla="*/ 3546902 w 6423456"/>
              <a:gd name="connsiteY631" fmla="*/ 5280432 h 6377102"/>
              <a:gd name="connsiteX632" fmla="*/ 3546370 w 6423456"/>
              <a:gd name="connsiteY632" fmla="*/ 5280965 h 6377102"/>
              <a:gd name="connsiteX633" fmla="*/ 3546902 w 6423456"/>
              <a:gd name="connsiteY633" fmla="*/ 5281498 h 6377102"/>
              <a:gd name="connsiteX634" fmla="*/ 3547436 w 6423456"/>
              <a:gd name="connsiteY634" fmla="*/ 5280965 h 6377102"/>
              <a:gd name="connsiteX635" fmla="*/ 3647147 w 6423456"/>
              <a:gd name="connsiteY635" fmla="*/ 5142967 h 6377102"/>
              <a:gd name="connsiteX636" fmla="*/ 3646081 w 6423456"/>
              <a:gd name="connsiteY636" fmla="*/ 5141902 h 6377102"/>
              <a:gd name="connsiteX637" fmla="*/ 3645015 w 6423456"/>
              <a:gd name="connsiteY637" fmla="*/ 5142967 h 6377102"/>
              <a:gd name="connsiteX638" fmla="*/ 3646081 w 6423456"/>
              <a:gd name="connsiteY638" fmla="*/ 5144033 h 6377102"/>
              <a:gd name="connsiteX639" fmla="*/ 3647147 w 6423456"/>
              <a:gd name="connsiteY639" fmla="*/ 5142967 h 6377102"/>
              <a:gd name="connsiteX640" fmla="*/ 3732700 w 6423456"/>
              <a:gd name="connsiteY640" fmla="*/ 4995836 h 6377102"/>
              <a:gd name="connsiteX641" fmla="*/ 3731102 w 6423456"/>
              <a:gd name="connsiteY641" fmla="*/ 4994238 h 6377102"/>
              <a:gd name="connsiteX642" fmla="*/ 3729503 w 6423456"/>
              <a:gd name="connsiteY642" fmla="*/ 4995836 h 6377102"/>
              <a:gd name="connsiteX643" fmla="*/ 3731102 w 6423456"/>
              <a:gd name="connsiteY643" fmla="*/ 4997435 h 6377102"/>
              <a:gd name="connsiteX644" fmla="*/ 3732700 w 6423456"/>
              <a:gd name="connsiteY644" fmla="*/ 4995836 h 6377102"/>
              <a:gd name="connsiteX645" fmla="*/ 3803640 w 6423456"/>
              <a:gd name="connsiteY645" fmla="*/ 4840865 h 6377102"/>
              <a:gd name="connsiteX646" fmla="*/ 3801052 w 6423456"/>
              <a:gd name="connsiteY646" fmla="*/ 4838201 h 6377102"/>
              <a:gd name="connsiteX647" fmla="*/ 3798388 w 6423456"/>
              <a:gd name="connsiteY647" fmla="*/ 4840865 h 6377102"/>
              <a:gd name="connsiteX648" fmla="*/ 3801052 w 6423456"/>
              <a:gd name="connsiteY648" fmla="*/ 4843453 h 6377102"/>
              <a:gd name="connsiteX649" fmla="*/ 3803640 w 6423456"/>
              <a:gd name="connsiteY649" fmla="*/ 4840865 h 6377102"/>
              <a:gd name="connsiteX650" fmla="*/ 3858291 w 6423456"/>
              <a:gd name="connsiteY650" fmla="*/ 4679805 h 6377102"/>
              <a:gd name="connsiteX651" fmla="*/ 3855170 w 6423456"/>
              <a:gd name="connsiteY651" fmla="*/ 4676684 h 6377102"/>
              <a:gd name="connsiteX652" fmla="*/ 3852050 w 6423456"/>
              <a:gd name="connsiteY652" fmla="*/ 4679805 h 6377102"/>
              <a:gd name="connsiteX653" fmla="*/ 3855170 w 6423456"/>
              <a:gd name="connsiteY653" fmla="*/ 4682926 h 6377102"/>
              <a:gd name="connsiteX654" fmla="*/ 3858291 w 6423456"/>
              <a:gd name="connsiteY654" fmla="*/ 4679805 h 6377102"/>
              <a:gd name="connsiteX655" fmla="*/ 3897186 w 6423456"/>
              <a:gd name="connsiteY655" fmla="*/ 4514102 h 6377102"/>
              <a:gd name="connsiteX656" fmla="*/ 3893000 w 6423456"/>
              <a:gd name="connsiteY656" fmla="*/ 4509916 h 6377102"/>
              <a:gd name="connsiteX657" fmla="*/ 3888813 w 6423456"/>
              <a:gd name="connsiteY657" fmla="*/ 4514102 h 6377102"/>
              <a:gd name="connsiteX658" fmla="*/ 3893000 w 6423456"/>
              <a:gd name="connsiteY658" fmla="*/ 4518288 h 6377102"/>
              <a:gd name="connsiteX659" fmla="*/ 3897186 w 6423456"/>
              <a:gd name="connsiteY659" fmla="*/ 4514102 h 6377102"/>
              <a:gd name="connsiteX660" fmla="*/ 3919335 w 6423456"/>
              <a:gd name="connsiteY660" fmla="*/ 4345430 h 6377102"/>
              <a:gd name="connsiteX661" fmla="*/ 3914083 w 6423456"/>
              <a:gd name="connsiteY661" fmla="*/ 4340178 h 6377102"/>
              <a:gd name="connsiteX662" fmla="*/ 3908831 w 6423456"/>
              <a:gd name="connsiteY662" fmla="*/ 4345430 h 6377102"/>
              <a:gd name="connsiteX663" fmla="*/ 3914083 w 6423456"/>
              <a:gd name="connsiteY663" fmla="*/ 4350682 h 6377102"/>
              <a:gd name="connsiteX664" fmla="*/ 3919335 w 6423456"/>
              <a:gd name="connsiteY664" fmla="*/ 4345430 h 6377102"/>
              <a:gd name="connsiteX665" fmla="*/ 3924663 w 6423456"/>
              <a:gd name="connsiteY665" fmla="*/ 4175540 h 6377102"/>
              <a:gd name="connsiteX666" fmla="*/ 3918346 w 6423456"/>
              <a:gd name="connsiteY666" fmla="*/ 4169223 h 6377102"/>
              <a:gd name="connsiteX667" fmla="*/ 3912029 w 6423456"/>
              <a:gd name="connsiteY667" fmla="*/ 4175540 h 6377102"/>
              <a:gd name="connsiteX668" fmla="*/ 3918346 w 6423456"/>
              <a:gd name="connsiteY668" fmla="*/ 4181858 h 6377102"/>
              <a:gd name="connsiteX669" fmla="*/ 3924663 w 6423456"/>
              <a:gd name="connsiteY669" fmla="*/ 4175540 h 6377102"/>
              <a:gd name="connsiteX670" fmla="*/ 3912485 w 6423456"/>
              <a:gd name="connsiteY670" fmla="*/ 4006031 h 6377102"/>
              <a:gd name="connsiteX671" fmla="*/ 3905634 w 6423456"/>
              <a:gd name="connsiteY671" fmla="*/ 3999181 h 6377102"/>
              <a:gd name="connsiteX672" fmla="*/ 3898785 w 6423456"/>
              <a:gd name="connsiteY672" fmla="*/ 4006031 h 6377102"/>
              <a:gd name="connsiteX673" fmla="*/ 3905634 w 6423456"/>
              <a:gd name="connsiteY673" fmla="*/ 4012881 h 6377102"/>
              <a:gd name="connsiteX674" fmla="*/ 3912485 w 6423456"/>
              <a:gd name="connsiteY674" fmla="*/ 4006031 h 6377102"/>
              <a:gd name="connsiteX675" fmla="*/ 3884018 w 6423456"/>
              <a:gd name="connsiteY675" fmla="*/ 3838653 h 6377102"/>
              <a:gd name="connsiteX676" fmla="*/ 3876101 w 6423456"/>
              <a:gd name="connsiteY676" fmla="*/ 3830737 h 6377102"/>
              <a:gd name="connsiteX677" fmla="*/ 3868262 w 6423456"/>
              <a:gd name="connsiteY677" fmla="*/ 3838653 h 6377102"/>
              <a:gd name="connsiteX678" fmla="*/ 3876101 w 6423456"/>
              <a:gd name="connsiteY678" fmla="*/ 3846493 h 6377102"/>
              <a:gd name="connsiteX679" fmla="*/ 3884018 w 6423456"/>
              <a:gd name="connsiteY679" fmla="*/ 3838653 h 6377102"/>
              <a:gd name="connsiteX680" fmla="*/ 3838501 w 6423456"/>
              <a:gd name="connsiteY680" fmla="*/ 3675081 h 6377102"/>
              <a:gd name="connsiteX681" fmla="*/ 3830128 w 6423456"/>
              <a:gd name="connsiteY681" fmla="*/ 3666709 h 6377102"/>
              <a:gd name="connsiteX682" fmla="*/ 3821755 w 6423456"/>
              <a:gd name="connsiteY682" fmla="*/ 3675081 h 6377102"/>
              <a:gd name="connsiteX683" fmla="*/ 3830128 w 6423456"/>
              <a:gd name="connsiteY683" fmla="*/ 3683454 h 6377102"/>
              <a:gd name="connsiteX684" fmla="*/ 3838501 w 6423456"/>
              <a:gd name="connsiteY684" fmla="*/ 3675081 h 6377102"/>
              <a:gd name="connsiteX685" fmla="*/ 3777456 w 6423456"/>
              <a:gd name="connsiteY685" fmla="*/ 3516837 h 6377102"/>
              <a:gd name="connsiteX686" fmla="*/ 3768018 w 6423456"/>
              <a:gd name="connsiteY686" fmla="*/ 3507399 h 6377102"/>
              <a:gd name="connsiteX687" fmla="*/ 3758580 w 6423456"/>
              <a:gd name="connsiteY687" fmla="*/ 3516837 h 6377102"/>
              <a:gd name="connsiteX688" fmla="*/ 3768018 w 6423456"/>
              <a:gd name="connsiteY688" fmla="*/ 3526276 h 6377102"/>
              <a:gd name="connsiteX689" fmla="*/ 3777456 w 6423456"/>
              <a:gd name="connsiteY689" fmla="*/ 3516837 h 6377102"/>
              <a:gd name="connsiteX690" fmla="*/ 3700427 w 6423456"/>
              <a:gd name="connsiteY690" fmla="*/ 3365596 h 6377102"/>
              <a:gd name="connsiteX691" fmla="*/ 3690456 w 6423456"/>
              <a:gd name="connsiteY691" fmla="*/ 3355625 h 6377102"/>
              <a:gd name="connsiteX692" fmla="*/ 3680485 w 6423456"/>
              <a:gd name="connsiteY692" fmla="*/ 3365596 h 6377102"/>
              <a:gd name="connsiteX693" fmla="*/ 3690456 w 6423456"/>
              <a:gd name="connsiteY693" fmla="*/ 3375567 h 6377102"/>
              <a:gd name="connsiteX694" fmla="*/ 3700427 w 6423456"/>
              <a:gd name="connsiteY694" fmla="*/ 3365596 h 6377102"/>
              <a:gd name="connsiteX695" fmla="*/ 3608708 w 6423456"/>
              <a:gd name="connsiteY695" fmla="*/ 3222879 h 6377102"/>
              <a:gd name="connsiteX696" fmla="*/ 3598204 w 6423456"/>
              <a:gd name="connsiteY696" fmla="*/ 3212376 h 6377102"/>
              <a:gd name="connsiteX697" fmla="*/ 3587700 w 6423456"/>
              <a:gd name="connsiteY697" fmla="*/ 3222879 h 6377102"/>
              <a:gd name="connsiteX698" fmla="*/ 3598204 w 6423456"/>
              <a:gd name="connsiteY698" fmla="*/ 3233383 h 6377102"/>
              <a:gd name="connsiteX699" fmla="*/ 3608708 w 6423456"/>
              <a:gd name="connsiteY699" fmla="*/ 3222879 h 6377102"/>
              <a:gd name="connsiteX700" fmla="*/ 3502756 w 6423456"/>
              <a:gd name="connsiteY700" fmla="*/ 3089982 h 6377102"/>
              <a:gd name="connsiteX701" fmla="*/ 3492252 w 6423456"/>
              <a:gd name="connsiteY701" fmla="*/ 3079478 h 6377102"/>
              <a:gd name="connsiteX702" fmla="*/ 3481748 w 6423456"/>
              <a:gd name="connsiteY702" fmla="*/ 3089982 h 6377102"/>
              <a:gd name="connsiteX703" fmla="*/ 3492252 w 6423456"/>
              <a:gd name="connsiteY703" fmla="*/ 3100486 h 6377102"/>
              <a:gd name="connsiteX704" fmla="*/ 3502756 w 6423456"/>
              <a:gd name="connsiteY704" fmla="*/ 3089982 h 6377102"/>
              <a:gd name="connsiteX705" fmla="*/ 3384091 w 6423456"/>
              <a:gd name="connsiteY705" fmla="*/ 2968274 h 6377102"/>
              <a:gd name="connsiteX706" fmla="*/ 3373588 w 6423456"/>
              <a:gd name="connsiteY706" fmla="*/ 2957770 h 6377102"/>
              <a:gd name="connsiteX707" fmla="*/ 3363084 w 6423456"/>
              <a:gd name="connsiteY707" fmla="*/ 2968274 h 6377102"/>
              <a:gd name="connsiteX708" fmla="*/ 3373588 w 6423456"/>
              <a:gd name="connsiteY708" fmla="*/ 2978777 h 6377102"/>
              <a:gd name="connsiteX709" fmla="*/ 3384091 w 6423456"/>
              <a:gd name="connsiteY709" fmla="*/ 2968274 h 6377102"/>
              <a:gd name="connsiteX710" fmla="*/ 3253934 w 6423456"/>
              <a:gd name="connsiteY710" fmla="*/ 2859048 h 6377102"/>
              <a:gd name="connsiteX711" fmla="*/ 3243430 w 6423456"/>
              <a:gd name="connsiteY711" fmla="*/ 2848544 h 6377102"/>
              <a:gd name="connsiteX712" fmla="*/ 3232926 w 6423456"/>
              <a:gd name="connsiteY712" fmla="*/ 2859048 h 6377102"/>
              <a:gd name="connsiteX713" fmla="*/ 3243430 w 6423456"/>
              <a:gd name="connsiteY713" fmla="*/ 2869552 h 6377102"/>
              <a:gd name="connsiteX714" fmla="*/ 3253934 w 6423456"/>
              <a:gd name="connsiteY714" fmla="*/ 2859048 h 6377102"/>
              <a:gd name="connsiteX715" fmla="*/ 3112968 w 6423456"/>
              <a:gd name="connsiteY715" fmla="*/ 2763295 h 6377102"/>
              <a:gd name="connsiteX716" fmla="*/ 3102998 w 6423456"/>
              <a:gd name="connsiteY716" fmla="*/ 2753323 h 6377102"/>
              <a:gd name="connsiteX717" fmla="*/ 3093026 w 6423456"/>
              <a:gd name="connsiteY717" fmla="*/ 2763295 h 6377102"/>
              <a:gd name="connsiteX718" fmla="*/ 3102998 w 6423456"/>
              <a:gd name="connsiteY718" fmla="*/ 2773266 h 6377102"/>
              <a:gd name="connsiteX719" fmla="*/ 3112968 w 6423456"/>
              <a:gd name="connsiteY719" fmla="*/ 2763295 h 6377102"/>
              <a:gd name="connsiteX720" fmla="*/ 2963174 w 6423456"/>
              <a:gd name="connsiteY720" fmla="*/ 2682003 h 6377102"/>
              <a:gd name="connsiteX721" fmla="*/ 2953735 w 6423456"/>
              <a:gd name="connsiteY721" fmla="*/ 2672565 h 6377102"/>
              <a:gd name="connsiteX722" fmla="*/ 2944297 w 6423456"/>
              <a:gd name="connsiteY722" fmla="*/ 2682003 h 6377102"/>
              <a:gd name="connsiteX723" fmla="*/ 2953735 w 6423456"/>
              <a:gd name="connsiteY723" fmla="*/ 2691442 h 6377102"/>
              <a:gd name="connsiteX724" fmla="*/ 2963174 w 6423456"/>
              <a:gd name="connsiteY724" fmla="*/ 2682003 h 6377102"/>
              <a:gd name="connsiteX725" fmla="*/ 2806071 w 6423456"/>
              <a:gd name="connsiteY725" fmla="*/ 2616011 h 6377102"/>
              <a:gd name="connsiteX726" fmla="*/ 2797165 w 6423456"/>
              <a:gd name="connsiteY726" fmla="*/ 2607106 h 6377102"/>
              <a:gd name="connsiteX727" fmla="*/ 2788260 w 6423456"/>
              <a:gd name="connsiteY727" fmla="*/ 2616011 h 6377102"/>
              <a:gd name="connsiteX728" fmla="*/ 2797165 w 6423456"/>
              <a:gd name="connsiteY728" fmla="*/ 2624917 h 6377102"/>
              <a:gd name="connsiteX729" fmla="*/ 2806071 w 6423456"/>
              <a:gd name="connsiteY729" fmla="*/ 2616011 h 6377102"/>
              <a:gd name="connsiteX730" fmla="*/ 2642575 w 6423456"/>
              <a:gd name="connsiteY730" fmla="*/ 2565927 h 6377102"/>
              <a:gd name="connsiteX731" fmla="*/ 2634735 w 6423456"/>
              <a:gd name="connsiteY731" fmla="*/ 2558011 h 6377102"/>
              <a:gd name="connsiteX732" fmla="*/ 2626819 w 6423456"/>
              <a:gd name="connsiteY732" fmla="*/ 2565927 h 6377102"/>
              <a:gd name="connsiteX733" fmla="*/ 2634735 w 6423456"/>
              <a:gd name="connsiteY733" fmla="*/ 2573767 h 6377102"/>
              <a:gd name="connsiteX734" fmla="*/ 2642575 w 6423456"/>
              <a:gd name="connsiteY734" fmla="*/ 2565927 h 6377102"/>
              <a:gd name="connsiteX735" fmla="*/ 2475426 w 6423456"/>
              <a:gd name="connsiteY735" fmla="*/ 2532208 h 6377102"/>
              <a:gd name="connsiteX736" fmla="*/ 2468042 w 6423456"/>
              <a:gd name="connsiteY736" fmla="*/ 2524825 h 6377102"/>
              <a:gd name="connsiteX737" fmla="*/ 2460659 w 6423456"/>
              <a:gd name="connsiteY737" fmla="*/ 2532208 h 6377102"/>
              <a:gd name="connsiteX738" fmla="*/ 2468042 w 6423456"/>
              <a:gd name="connsiteY738" fmla="*/ 2539591 h 6377102"/>
              <a:gd name="connsiteX739" fmla="*/ 2475426 w 6423456"/>
              <a:gd name="connsiteY739" fmla="*/ 2532208 h 6377102"/>
              <a:gd name="connsiteX740" fmla="*/ 2305308 w 6423456"/>
              <a:gd name="connsiteY740" fmla="*/ 2515311 h 6377102"/>
              <a:gd name="connsiteX741" fmla="*/ 2298990 w 6423456"/>
              <a:gd name="connsiteY741" fmla="*/ 2508993 h 6377102"/>
              <a:gd name="connsiteX742" fmla="*/ 2292673 w 6423456"/>
              <a:gd name="connsiteY742" fmla="*/ 2515311 h 6377102"/>
              <a:gd name="connsiteX743" fmla="*/ 2298990 w 6423456"/>
              <a:gd name="connsiteY743" fmla="*/ 2521628 h 6377102"/>
              <a:gd name="connsiteX744" fmla="*/ 2305308 w 6423456"/>
              <a:gd name="connsiteY744" fmla="*/ 2515311 h 6377102"/>
              <a:gd name="connsiteX745" fmla="*/ 2134276 w 6423456"/>
              <a:gd name="connsiteY745" fmla="*/ 2515311 h 6377102"/>
              <a:gd name="connsiteX746" fmla="*/ 2129025 w 6423456"/>
              <a:gd name="connsiteY746" fmla="*/ 2510059 h 6377102"/>
              <a:gd name="connsiteX747" fmla="*/ 2123772 w 6423456"/>
              <a:gd name="connsiteY747" fmla="*/ 2515311 h 6377102"/>
              <a:gd name="connsiteX748" fmla="*/ 2129025 w 6423456"/>
              <a:gd name="connsiteY748" fmla="*/ 2520563 h 6377102"/>
              <a:gd name="connsiteX749" fmla="*/ 2134276 w 6423456"/>
              <a:gd name="connsiteY749" fmla="*/ 2515311 h 6377102"/>
              <a:gd name="connsiteX750" fmla="*/ 1964082 w 6423456"/>
              <a:gd name="connsiteY750" fmla="*/ 2532208 h 6377102"/>
              <a:gd name="connsiteX751" fmla="*/ 1959896 w 6423456"/>
              <a:gd name="connsiteY751" fmla="*/ 2528022 h 6377102"/>
              <a:gd name="connsiteX752" fmla="*/ 1955710 w 6423456"/>
              <a:gd name="connsiteY752" fmla="*/ 2532208 h 6377102"/>
              <a:gd name="connsiteX753" fmla="*/ 1959896 w 6423456"/>
              <a:gd name="connsiteY753" fmla="*/ 2536394 h 6377102"/>
              <a:gd name="connsiteX754" fmla="*/ 1964082 w 6423456"/>
              <a:gd name="connsiteY754" fmla="*/ 2532208 h 6377102"/>
              <a:gd name="connsiteX755" fmla="*/ 1797009 w 6423456"/>
              <a:gd name="connsiteY755" fmla="*/ 2565927 h 6377102"/>
              <a:gd name="connsiteX756" fmla="*/ 1793355 w 6423456"/>
              <a:gd name="connsiteY756" fmla="*/ 2562274 h 6377102"/>
              <a:gd name="connsiteX757" fmla="*/ 1789702 w 6423456"/>
              <a:gd name="connsiteY757" fmla="*/ 2565927 h 6377102"/>
              <a:gd name="connsiteX758" fmla="*/ 1793355 w 6423456"/>
              <a:gd name="connsiteY758" fmla="*/ 2569581 h 6377102"/>
              <a:gd name="connsiteX759" fmla="*/ 1797009 w 6423456"/>
              <a:gd name="connsiteY759" fmla="*/ 2565927 h 6377102"/>
              <a:gd name="connsiteX760" fmla="*/ 1633513 w 6423456"/>
              <a:gd name="connsiteY760" fmla="*/ 2616011 h 6377102"/>
              <a:gd name="connsiteX761" fmla="*/ 1630925 w 6423456"/>
              <a:gd name="connsiteY761" fmla="*/ 2613423 h 6377102"/>
              <a:gd name="connsiteX762" fmla="*/ 1628261 w 6423456"/>
              <a:gd name="connsiteY762" fmla="*/ 2616011 h 6377102"/>
              <a:gd name="connsiteX763" fmla="*/ 1630925 w 6423456"/>
              <a:gd name="connsiteY763" fmla="*/ 2618675 h 6377102"/>
              <a:gd name="connsiteX764" fmla="*/ 1633513 w 6423456"/>
              <a:gd name="connsiteY764" fmla="*/ 2616011 h 6377102"/>
              <a:gd name="connsiteX765" fmla="*/ 1476411 w 6423456"/>
              <a:gd name="connsiteY765" fmla="*/ 2682003 h 6377102"/>
              <a:gd name="connsiteX766" fmla="*/ 1474280 w 6423456"/>
              <a:gd name="connsiteY766" fmla="*/ 2679872 h 6377102"/>
              <a:gd name="connsiteX767" fmla="*/ 1472148 w 6423456"/>
              <a:gd name="connsiteY767" fmla="*/ 2682003 h 6377102"/>
              <a:gd name="connsiteX768" fmla="*/ 1474280 w 6423456"/>
              <a:gd name="connsiteY768" fmla="*/ 2684135 h 6377102"/>
              <a:gd name="connsiteX769" fmla="*/ 1476411 w 6423456"/>
              <a:gd name="connsiteY769" fmla="*/ 2682003 h 6377102"/>
              <a:gd name="connsiteX770" fmla="*/ 1326083 w 6423456"/>
              <a:gd name="connsiteY770" fmla="*/ 2763295 h 6377102"/>
              <a:gd name="connsiteX771" fmla="*/ 1325017 w 6423456"/>
              <a:gd name="connsiteY771" fmla="*/ 2762229 h 6377102"/>
              <a:gd name="connsiteX772" fmla="*/ 1323952 w 6423456"/>
              <a:gd name="connsiteY772" fmla="*/ 2763295 h 6377102"/>
              <a:gd name="connsiteX773" fmla="*/ 1325017 w 6423456"/>
              <a:gd name="connsiteY773" fmla="*/ 2764360 h 6377102"/>
              <a:gd name="connsiteX774" fmla="*/ 1326083 w 6423456"/>
              <a:gd name="connsiteY774" fmla="*/ 2763295 h 6377102"/>
              <a:gd name="connsiteX775" fmla="*/ 1185117 w 6423456"/>
              <a:gd name="connsiteY775" fmla="*/ 2859048 h 6377102"/>
              <a:gd name="connsiteX776" fmla="*/ 1184584 w 6423456"/>
              <a:gd name="connsiteY776" fmla="*/ 2858515 h 6377102"/>
              <a:gd name="connsiteX777" fmla="*/ 1184052 w 6423456"/>
              <a:gd name="connsiteY777" fmla="*/ 2859048 h 6377102"/>
              <a:gd name="connsiteX778" fmla="*/ 1184584 w 6423456"/>
              <a:gd name="connsiteY778" fmla="*/ 2859581 h 6377102"/>
              <a:gd name="connsiteX779" fmla="*/ 1185117 w 6423456"/>
              <a:gd name="connsiteY779" fmla="*/ 2859048 h 6377102"/>
              <a:gd name="connsiteX780" fmla="*/ 1054960 w 6423456"/>
              <a:gd name="connsiteY780" fmla="*/ 2968274 h 6377102"/>
              <a:gd name="connsiteX781" fmla="*/ 1054427 w 6423456"/>
              <a:gd name="connsiteY781" fmla="*/ 2967741 h 6377102"/>
              <a:gd name="connsiteX782" fmla="*/ 1053894 w 6423456"/>
              <a:gd name="connsiteY782" fmla="*/ 2968274 h 6377102"/>
              <a:gd name="connsiteX783" fmla="*/ 1054427 w 6423456"/>
              <a:gd name="connsiteY783" fmla="*/ 2968806 h 6377102"/>
              <a:gd name="connsiteX784" fmla="*/ 1054960 w 6423456"/>
              <a:gd name="connsiteY784" fmla="*/ 2968274 h 6377102"/>
              <a:gd name="connsiteX785" fmla="*/ 3695556 w 6423456"/>
              <a:gd name="connsiteY785" fmla="*/ 5399096 h 6377102"/>
              <a:gd name="connsiteX786" fmla="*/ 3695024 w 6423456"/>
              <a:gd name="connsiteY786" fmla="*/ 5398563 h 6377102"/>
              <a:gd name="connsiteX787" fmla="*/ 3694490 w 6423456"/>
              <a:gd name="connsiteY787" fmla="*/ 5399096 h 6377102"/>
              <a:gd name="connsiteX788" fmla="*/ 3695024 w 6423456"/>
              <a:gd name="connsiteY788" fmla="*/ 5399628 h 6377102"/>
              <a:gd name="connsiteX789" fmla="*/ 3695556 w 6423456"/>
              <a:gd name="connsiteY789" fmla="*/ 5399096 h 6377102"/>
              <a:gd name="connsiteX790" fmla="*/ 3795953 w 6423456"/>
              <a:gd name="connsiteY790" fmla="*/ 5261632 h 6377102"/>
              <a:gd name="connsiteX791" fmla="*/ 3794887 w 6423456"/>
              <a:gd name="connsiteY791" fmla="*/ 5260566 h 6377102"/>
              <a:gd name="connsiteX792" fmla="*/ 3793821 w 6423456"/>
              <a:gd name="connsiteY792" fmla="*/ 5261632 h 6377102"/>
              <a:gd name="connsiteX793" fmla="*/ 3794887 w 6423456"/>
              <a:gd name="connsiteY793" fmla="*/ 5262697 h 6377102"/>
              <a:gd name="connsiteX794" fmla="*/ 3795953 w 6423456"/>
              <a:gd name="connsiteY794" fmla="*/ 5261632 h 6377102"/>
              <a:gd name="connsiteX795" fmla="*/ 3883637 w 6423456"/>
              <a:gd name="connsiteY795" fmla="*/ 5115718 h 6377102"/>
              <a:gd name="connsiteX796" fmla="*/ 3882039 w 6423456"/>
              <a:gd name="connsiteY796" fmla="*/ 5114120 h 6377102"/>
              <a:gd name="connsiteX797" fmla="*/ 3880441 w 6423456"/>
              <a:gd name="connsiteY797" fmla="*/ 5115718 h 6377102"/>
              <a:gd name="connsiteX798" fmla="*/ 3882039 w 6423456"/>
              <a:gd name="connsiteY798" fmla="*/ 5117317 h 6377102"/>
              <a:gd name="connsiteX799" fmla="*/ 3883637 w 6423456"/>
              <a:gd name="connsiteY799" fmla="*/ 5115718 h 6377102"/>
              <a:gd name="connsiteX800" fmla="*/ 3958459 w 6423456"/>
              <a:gd name="connsiteY800" fmla="*/ 4962574 h 6377102"/>
              <a:gd name="connsiteX801" fmla="*/ 3955795 w 6423456"/>
              <a:gd name="connsiteY801" fmla="*/ 4959910 h 6377102"/>
              <a:gd name="connsiteX802" fmla="*/ 3953206 w 6423456"/>
              <a:gd name="connsiteY802" fmla="*/ 4962574 h 6377102"/>
              <a:gd name="connsiteX803" fmla="*/ 3955795 w 6423456"/>
              <a:gd name="connsiteY803" fmla="*/ 4965162 h 6377102"/>
              <a:gd name="connsiteX804" fmla="*/ 3958459 w 6423456"/>
              <a:gd name="connsiteY804" fmla="*/ 4962574 h 6377102"/>
              <a:gd name="connsiteX805" fmla="*/ 4019275 w 6423456"/>
              <a:gd name="connsiteY805" fmla="*/ 4803417 h 6377102"/>
              <a:gd name="connsiteX806" fmla="*/ 4015622 w 6423456"/>
              <a:gd name="connsiteY806" fmla="*/ 4799763 h 6377102"/>
              <a:gd name="connsiteX807" fmla="*/ 4011968 w 6423456"/>
              <a:gd name="connsiteY807" fmla="*/ 4803417 h 6377102"/>
              <a:gd name="connsiteX808" fmla="*/ 4015622 w 6423456"/>
              <a:gd name="connsiteY808" fmla="*/ 4807070 h 6377102"/>
              <a:gd name="connsiteX809" fmla="*/ 4019275 w 6423456"/>
              <a:gd name="connsiteY809" fmla="*/ 4803417 h 6377102"/>
              <a:gd name="connsiteX810" fmla="*/ 4065020 w 6423456"/>
              <a:gd name="connsiteY810" fmla="*/ 4639540 h 6377102"/>
              <a:gd name="connsiteX811" fmla="*/ 4060834 w 6423456"/>
              <a:gd name="connsiteY811" fmla="*/ 4635354 h 6377102"/>
              <a:gd name="connsiteX812" fmla="*/ 4056648 w 6423456"/>
              <a:gd name="connsiteY812" fmla="*/ 4639540 h 6377102"/>
              <a:gd name="connsiteX813" fmla="*/ 4060834 w 6423456"/>
              <a:gd name="connsiteY813" fmla="*/ 4643726 h 6377102"/>
              <a:gd name="connsiteX814" fmla="*/ 4065020 w 6423456"/>
              <a:gd name="connsiteY814" fmla="*/ 4639540 h 6377102"/>
              <a:gd name="connsiteX815" fmla="*/ 4096380 w 6423456"/>
              <a:gd name="connsiteY815" fmla="*/ 4472315 h 6377102"/>
              <a:gd name="connsiteX816" fmla="*/ 4091128 w 6423456"/>
              <a:gd name="connsiteY816" fmla="*/ 4467063 h 6377102"/>
              <a:gd name="connsiteX817" fmla="*/ 4085876 w 6423456"/>
              <a:gd name="connsiteY817" fmla="*/ 4472315 h 6377102"/>
              <a:gd name="connsiteX818" fmla="*/ 4091128 w 6423456"/>
              <a:gd name="connsiteY818" fmla="*/ 4477567 h 6377102"/>
              <a:gd name="connsiteX819" fmla="*/ 4096380 w 6423456"/>
              <a:gd name="connsiteY819" fmla="*/ 4472315 h 6377102"/>
              <a:gd name="connsiteX820" fmla="*/ 4112669 w 6423456"/>
              <a:gd name="connsiteY820" fmla="*/ 4303034 h 6377102"/>
              <a:gd name="connsiteX821" fmla="*/ 4106351 w 6423456"/>
              <a:gd name="connsiteY821" fmla="*/ 4296716 h 6377102"/>
              <a:gd name="connsiteX822" fmla="*/ 4100033 w 6423456"/>
              <a:gd name="connsiteY822" fmla="*/ 4303034 h 6377102"/>
              <a:gd name="connsiteX823" fmla="*/ 4106351 w 6423456"/>
              <a:gd name="connsiteY823" fmla="*/ 4309351 h 6377102"/>
              <a:gd name="connsiteX824" fmla="*/ 4112669 w 6423456"/>
              <a:gd name="connsiteY824" fmla="*/ 4303034 h 6377102"/>
              <a:gd name="connsiteX825" fmla="*/ 4113735 w 6423456"/>
              <a:gd name="connsiteY825" fmla="*/ 4133068 h 6377102"/>
              <a:gd name="connsiteX826" fmla="*/ 4106351 w 6423456"/>
              <a:gd name="connsiteY826" fmla="*/ 4125684 h 6377102"/>
              <a:gd name="connsiteX827" fmla="*/ 4098968 w 6423456"/>
              <a:gd name="connsiteY827" fmla="*/ 4133068 h 6377102"/>
              <a:gd name="connsiteX828" fmla="*/ 4106351 w 6423456"/>
              <a:gd name="connsiteY828" fmla="*/ 4140451 h 6377102"/>
              <a:gd name="connsiteX829" fmla="*/ 4113735 w 6423456"/>
              <a:gd name="connsiteY829" fmla="*/ 4133068 h 6377102"/>
              <a:gd name="connsiteX830" fmla="*/ 4099576 w 6423456"/>
              <a:gd name="connsiteY830" fmla="*/ 3963787 h 6377102"/>
              <a:gd name="connsiteX831" fmla="*/ 4091204 w 6423456"/>
              <a:gd name="connsiteY831" fmla="*/ 3955414 h 6377102"/>
              <a:gd name="connsiteX832" fmla="*/ 4082831 w 6423456"/>
              <a:gd name="connsiteY832" fmla="*/ 3963787 h 6377102"/>
              <a:gd name="connsiteX833" fmla="*/ 4091204 w 6423456"/>
              <a:gd name="connsiteY833" fmla="*/ 3972160 h 6377102"/>
              <a:gd name="connsiteX834" fmla="*/ 4099576 w 6423456"/>
              <a:gd name="connsiteY834" fmla="*/ 3963787 h 6377102"/>
              <a:gd name="connsiteX835" fmla="*/ 4070272 w 6423456"/>
              <a:gd name="connsiteY835" fmla="*/ 3796561 h 6377102"/>
              <a:gd name="connsiteX836" fmla="*/ 4060834 w 6423456"/>
              <a:gd name="connsiteY836" fmla="*/ 3787123 h 6377102"/>
              <a:gd name="connsiteX837" fmla="*/ 4051396 w 6423456"/>
              <a:gd name="connsiteY837" fmla="*/ 3796561 h 6377102"/>
              <a:gd name="connsiteX838" fmla="*/ 4060834 w 6423456"/>
              <a:gd name="connsiteY838" fmla="*/ 3806000 h 6377102"/>
              <a:gd name="connsiteX839" fmla="*/ 4070272 w 6423456"/>
              <a:gd name="connsiteY839" fmla="*/ 3796561 h 6377102"/>
              <a:gd name="connsiteX840" fmla="*/ 4026049 w 6423456"/>
              <a:gd name="connsiteY840" fmla="*/ 3632685 h 6377102"/>
              <a:gd name="connsiteX841" fmla="*/ 4015545 w 6423456"/>
              <a:gd name="connsiteY841" fmla="*/ 3622181 h 6377102"/>
              <a:gd name="connsiteX842" fmla="*/ 4005042 w 6423456"/>
              <a:gd name="connsiteY842" fmla="*/ 3632685 h 6377102"/>
              <a:gd name="connsiteX843" fmla="*/ 4015545 w 6423456"/>
              <a:gd name="connsiteY843" fmla="*/ 3643189 h 6377102"/>
              <a:gd name="connsiteX844" fmla="*/ 4026049 w 6423456"/>
              <a:gd name="connsiteY844" fmla="*/ 3632685 h 6377102"/>
              <a:gd name="connsiteX845" fmla="*/ 3966908 w 6423456"/>
              <a:gd name="connsiteY845" fmla="*/ 3473528 h 6377102"/>
              <a:gd name="connsiteX846" fmla="*/ 3955871 w 6423456"/>
              <a:gd name="connsiteY846" fmla="*/ 3462491 h 6377102"/>
              <a:gd name="connsiteX847" fmla="*/ 3944834 w 6423456"/>
              <a:gd name="connsiteY847" fmla="*/ 3473528 h 6377102"/>
              <a:gd name="connsiteX848" fmla="*/ 3955871 w 6423456"/>
              <a:gd name="connsiteY848" fmla="*/ 3484564 h 6377102"/>
              <a:gd name="connsiteX849" fmla="*/ 3966908 w 6423456"/>
              <a:gd name="connsiteY849" fmla="*/ 3473528 h 6377102"/>
              <a:gd name="connsiteX850" fmla="*/ 3893685 w 6423456"/>
              <a:gd name="connsiteY850" fmla="*/ 3320383 h 6377102"/>
              <a:gd name="connsiteX851" fmla="*/ 3882115 w 6423456"/>
              <a:gd name="connsiteY851" fmla="*/ 3308814 h 6377102"/>
              <a:gd name="connsiteX852" fmla="*/ 3870545 w 6423456"/>
              <a:gd name="connsiteY852" fmla="*/ 3320383 h 6377102"/>
              <a:gd name="connsiteX853" fmla="*/ 3882115 w 6423456"/>
              <a:gd name="connsiteY853" fmla="*/ 3331953 h 6377102"/>
              <a:gd name="connsiteX854" fmla="*/ 3893685 w 6423456"/>
              <a:gd name="connsiteY854" fmla="*/ 3320383 h 6377102"/>
              <a:gd name="connsiteX855" fmla="*/ 3806989 w 6423456"/>
              <a:gd name="connsiteY855" fmla="*/ 3174470 h 6377102"/>
              <a:gd name="connsiteX856" fmla="*/ 3794887 w 6423456"/>
              <a:gd name="connsiteY856" fmla="*/ 3162368 h 6377102"/>
              <a:gd name="connsiteX857" fmla="*/ 3782784 w 6423456"/>
              <a:gd name="connsiteY857" fmla="*/ 3174470 h 6377102"/>
              <a:gd name="connsiteX858" fmla="*/ 3794887 w 6423456"/>
              <a:gd name="connsiteY858" fmla="*/ 3186573 h 6377102"/>
              <a:gd name="connsiteX859" fmla="*/ 3806989 w 6423456"/>
              <a:gd name="connsiteY859" fmla="*/ 3174470 h 6377102"/>
              <a:gd name="connsiteX860" fmla="*/ 3707658 w 6423456"/>
              <a:gd name="connsiteY860" fmla="*/ 3037006 h 6377102"/>
              <a:gd name="connsiteX861" fmla="*/ 3695024 w 6423456"/>
              <a:gd name="connsiteY861" fmla="*/ 3024371 h 6377102"/>
              <a:gd name="connsiteX862" fmla="*/ 3682388 w 6423456"/>
              <a:gd name="connsiteY862" fmla="*/ 3037006 h 6377102"/>
              <a:gd name="connsiteX863" fmla="*/ 3695024 w 6423456"/>
              <a:gd name="connsiteY863" fmla="*/ 3049641 h 6377102"/>
              <a:gd name="connsiteX864" fmla="*/ 3707658 w 6423456"/>
              <a:gd name="connsiteY864" fmla="*/ 3037006 h 6377102"/>
              <a:gd name="connsiteX865" fmla="*/ 3595769 w 6423456"/>
              <a:gd name="connsiteY865" fmla="*/ 2908980 h 6377102"/>
              <a:gd name="connsiteX866" fmla="*/ 3583133 w 6423456"/>
              <a:gd name="connsiteY866" fmla="*/ 2896344 h 6377102"/>
              <a:gd name="connsiteX867" fmla="*/ 3570499 w 6423456"/>
              <a:gd name="connsiteY867" fmla="*/ 2908980 h 6377102"/>
              <a:gd name="connsiteX868" fmla="*/ 3583133 w 6423456"/>
              <a:gd name="connsiteY868" fmla="*/ 2921615 h 6377102"/>
              <a:gd name="connsiteX869" fmla="*/ 3595769 w 6423456"/>
              <a:gd name="connsiteY869" fmla="*/ 2908980 h 6377102"/>
              <a:gd name="connsiteX870" fmla="*/ 3472918 w 6423456"/>
              <a:gd name="connsiteY870" fmla="*/ 2791533 h 6377102"/>
              <a:gd name="connsiteX871" fmla="*/ 3460283 w 6423456"/>
              <a:gd name="connsiteY871" fmla="*/ 2778898 h 6377102"/>
              <a:gd name="connsiteX872" fmla="*/ 3447648 w 6423456"/>
              <a:gd name="connsiteY872" fmla="*/ 2791533 h 6377102"/>
              <a:gd name="connsiteX873" fmla="*/ 3460283 w 6423456"/>
              <a:gd name="connsiteY873" fmla="*/ 2804169 h 6377102"/>
              <a:gd name="connsiteX874" fmla="*/ 3472918 w 6423456"/>
              <a:gd name="connsiteY874" fmla="*/ 2791533 h 6377102"/>
              <a:gd name="connsiteX875" fmla="*/ 3340021 w 6423456"/>
              <a:gd name="connsiteY875" fmla="*/ 2685581 h 6377102"/>
              <a:gd name="connsiteX876" fmla="*/ 3327386 w 6423456"/>
              <a:gd name="connsiteY876" fmla="*/ 2672946 h 6377102"/>
              <a:gd name="connsiteX877" fmla="*/ 3314750 w 6423456"/>
              <a:gd name="connsiteY877" fmla="*/ 2685581 h 6377102"/>
              <a:gd name="connsiteX878" fmla="*/ 3327386 w 6423456"/>
              <a:gd name="connsiteY878" fmla="*/ 2698216 h 6377102"/>
              <a:gd name="connsiteX879" fmla="*/ 3340021 w 6423456"/>
              <a:gd name="connsiteY879" fmla="*/ 2685581 h 6377102"/>
              <a:gd name="connsiteX880" fmla="*/ 3197685 w 6423456"/>
              <a:gd name="connsiteY880" fmla="*/ 2591883 h 6377102"/>
              <a:gd name="connsiteX881" fmla="*/ 3185583 w 6423456"/>
              <a:gd name="connsiteY881" fmla="*/ 2579780 h 6377102"/>
              <a:gd name="connsiteX882" fmla="*/ 3173480 w 6423456"/>
              <a:gd name="connsiteY882" fmla="*/ 2591883 h 6377102"/>
              <a:gd name="connsiteX883" fmla="*/ 3185583 w 6423456"/>
              <a:gd name="connsiteY883" fmla="*/ 2603985 h 6377102"/>
              <a:gd name="connsiteX884" fmla="*/ 3197685 w 6423456"/>
              <a:gd name="connsiteY884" fmla="*/ 2591883 h 6377102"/>
              <a:gd name="connsiteX885" fmla="*/ 3047433 w 6423456"/>
              <a:gd name="connsiteY885" fmla="*/ 2511353 h 6377102"/>
              <a:gd name="connsiteX886" fmla="*/ 3035863 w 6423456"/>
              <a:gd name="connsiteY886" fmla="*/ 2499783 h 6377102"/>
              <a:gd name="connsiteX887" fmla="*/ 3024294 w 6423456"/>
              <a:gd name="connsiteY887" fmla="*/ 2511353 h 6377102"/>
              <a:gd name="connsiteX888" fmla="*/ 3035863 w 6423456"/>
              <a:gd name="connsiteY888" fmla="*/ 2522922 h 6377102"/>
              <a:gd name="connsiteX889" fmla="*/ 3047433 w 6423456"/>
              <a:gd name="connsiteY889" fmla="*/ 2511353 h 6377102"/>
              <a:gd name="connsiteX890" fmla="*/ 2890103 w 6423456"/>
              <a:gd name="connsiteY890" fmla="*/ 2444599 h 6377102"/>
              <a:gd name="connsiteX891" fmla="*/ 2879599 w 6423456"/>
              <a:gd name="connsiteY891" fmla="*/ 2434095 h 6377102"/>
              <a:gd name="connsiteX892" fmla="*/ 2869095 w 6423456"/>
              <a:gd name="connsiteY892" fmla="*/ 2444599 h 6377102"/>
              <a:gd name="connsiteX893" fmla="*/ 2879599 w 6423456"/>
              <a:gd name="connsiteY893" fmla="*/ 2455103 h 6377102"/>
              <a:gd name="connsiteX894" fmla="*/ 2890103 w 6423456"/>
              <a:gd name="connsiteY894" fmla="*/ 2444599 h 6377102"/>
              <a:gd name="connsiteX895" fmla="*/ 2727977 w 6423456"/>
              <a:gd name="connsiteY895" fmla="*/ 2392003 h 6377102"/>
              <a:gd name="connsiteX896" fmla="*/ 2718006 w 6423456"/>
              <a:gd name="connsiteY896" fmla="*/ 2382032 h 6377102"/>
              <a:gd name="connsiteX897" fmla="*/ 2708034 w 6423456"/>
              <a:gd name="connsiteY897" fmla="*/ 2392003 h 6377102"/>
              <a:gd name="connsiteX898" fmla="*/ 2718006 w 6423456"/>
              <a:gd name="connsiteY898" fmla="*/ 2401975 h 6377102"/>
              <a:gd name="connsiteX899" fmla="*/ 2727977 w 6423456"/>
              <a:gd name="connsiteY899" fmla="*/ 2392003 h 6377102"/>
              <a:gd name="connsiteX900" fmla="*/ 2561208 w 6423456"/>
              <a:gd name="connsiteY900" fmla="*/ 2354250 h 6377102"/>
              <a:gd name="connsiteX901" fmla="*/ 2552303 w 6423456"/>
              <a:gd name="connsiteY901" fmla="*/ 2345345 h 6377102"/>
              <a:gd name="connsiteX902" fmla="*/ 2543397 w 6423456"/>
              <a:gd name="connsiteY902" fmla="*/ 2354250 h 6377102"/>
              <a:gd name="connsiteX903" fmla="*/ 2552303 w 6423456"/>
              <a:gd name="connsiteY903" fmla="*/ 2363156 h 6377102"/>
              <a:gd name="connsiteX904" fmla="*/ 2561208 w 6423456"/>
              <a:gd name="connsiteY904" fmla="*/ 2354250 h 6377102"/>
              <a:gd name="connsiteX905" fmla="*/ 2391699 w 6423456"/>
              <a:gd name="connsiteY905" fmla="*/ 2331416 h 6377102"/>
              <a:gd name="connsiteX906" fmla="*/ 2383783 w 6423456"/>
              <a:gd name="connsiteY906" fmla="*/ 2323576 h 6377102"/>
              <a:gd name="connsiteX907" fmla="*/ 2375943 w 6423456"/>
              <a:gd name="connsiteY907" fmla="*/ 2331416 h 6377102"/>
              <a:gd name="connsiteX908" fmla="*/ 2383783 w 6423456"/>
              <a:gd name="connsiteY908" fmla="*/ 2339256 h 6377102"/>
              <a:gd name="connsiteX909" fmla="*/ 2391699 w 6423456"/>
              <a:gd name="connsiteY909" fmla="*/ 2331416 h 6377102"/>
              <a:gd name="connsiteX910" fmla="*/ 2220820 w 6423456"/>
              <a:gd name="connsiteY910" fmla="*/ 2323804 h 6377102"/>
              <a:gd name="connsiteX911" fmla="*/ 2213969 w 6423456"/>
              <a:gd name="connsiteY911" fmla="*/ 2316954 h 6377102"/>
              <a:gd name="connsiteX912" fmla="*/ 2207119 w 6423456"/>
              <a:gd name="connsiteY912" fmla="*/ 2323804 h 6377102"/>
              <a:gd name="connsiteX913" fmla="*/ 2213969 w 6423456"/>
              <a:gd name="connsiteY913" fmla="*/ 2330654 h 6377102"/>
              <a:gd name="connsiteX914" fmla="*/ 2220820 w 6423456"/>
              <a:gd name="connsiteY914" fmla="*/ 2323804 h 6377102"/>
              <a:gd name="connsiteX915" fmla="*/ 2050017 w 6423456"/>
              <a:gd name="connsiteY915" fmla="*/ 2331416 h 6377102"/>
              <a:gd name="connsiteX916" fmla="*/ 2044232 w 6423456"/>
              <a:gd name="connsiteY916" fmla="*/ 2325631 h 6377102"/>
              <a:gd name="connsiteX917" fmla="*/ 2038447 w 6423456"/>
              <a:gd name="connsiteY917" fmla="*/ 2331416 h 6377102"/>
              <a:gd name="connsiteX918" fmla="*/ 2044232 w 6423456"/>
              <a:gd name="connsiteY918" fmla="*/ 2337200 h 6377102"/>
              <a:gd name="connsiteX919" fmla="*/ 2050017 w 6423456"/>
              <a:gd name="connsiteY919" fmla="*/ 2331416 h 6377102"/>
              <a:gd name="connsiteX920" fmla="*/ 1880508 w 6423456"/>
              <a:gd name="connsiteY920" fmla="*/ 2354250 h 6377102"/>
              <a:gd name="connsiteX921" fmla="*/ 1875789 w 6423456"/>
              <a:gd name="connsiteY921" fmla="*/ 2349531 h 6377102"/>
              <a:gd name="connsiteX922" fmla="*/ 1871069 w 6423456"/>
              <a:gd name="connsiteY922" fmla="*/ 2354250 h 6377102"/>
              <a:gd name="connsiteX923" fmla="*/ 1875789 w 6423456"/>
              <a:gd name="connsiteY923" fmla="*/ 2358969 h 6377102"/>
              <a:gd name="connsiteX924" fmla="*/ 1880508 w 6423456"/>
              <a:gd name="connsiteY924" fmla="*/ 2354250 h 6377102"/>
              <a:gd name="connsiteX925" fmla="*/ 1714271 w 6423456"/>
              <a:gd name="connsiteY925" fmla="*/ 2392003 h 6377102"/>
              <a:gd name="connsiteX926" fmla="*/ 1710085 w 6423456"/>
              <a:gd name="connsiteY926" fmla="*/ 2387817 h 6377102"/>
              <a:gd name="connsiteX927" fmla="*/ 1705899 w 6423456"/>
              <a:gd name="connsiteY927" fmla="*/ 2392003 h 6377102"/>
              <a:gd name="connsiteX928" fmla="*/ 1710085 w 6423456"/>
              <a:gd name="connsiteY928" fmla="*/ 2396190 h 6377102"/>
              <a:gd name="connsiteX929" fmla="*/ 1714271 w 6423456"/>
              <a:gd name="connsiteY929" fmla="*/ 2392003 h 6377102"/>
              <a:gd name="connsiteX930" fmla="*/ 1551537 w 6423456"/>
              <a:gd name="connsiteY930" fmla="*/ 2444599 h 6377102"/>
              <a:gd name="connsiteX931" fmla="*/ 1548416 w 6423456"/>
              <a:gd name="connsiteY931" fmla="*/ 2441478 h 6377102"/>
              <a:gd name="connsiteX932" fmla="*/ 1545295 w 6423456"/>
              <a:gd name="connsiteY932" fmla="*/ 2444599 h 6377102"/>
              <a:gd name="connsiteX933" fmla="*/ 1548416 w 6423456"/>
              <a:gd name="connsiteY933" fmla="*/ 2447720 h 6377102"/>
              <a:gd name="connsiteX934" fmla="*/ 1551537 w 6423456"/>
              <a:gd name="connsiteY934" fmla="*/ 2444599 h 6377102"/>
              <a:gd name="connsiteX935" fmla="*/ 1394206 w 6423456"/>
              <a:gd name="connsiteY935" fmla="*/ 2511353 h 6377102"/>
              <a:gd name="connsiteX936" fmla="*/ 1392075 w 6423456"/>
              <a:gd name="connsiteY936" fmla="*/ 2509221 h 6377102"/>
              <a:gd name="connsiteX937" fmla="*/ 1389944 w 6423456"/>
              <a:gd name="connsiteY937" fmla="*/ 2511353 h 6377102"/>
              <a:gd name="connsiteX938" fmla="*/ 1392075 w 6423456"/>
              <a:gd name="connsiteY938" fmla="*/ 2513484 h 6377102"/>
              <a:gd name="connsiteX939" fmla="*/ 1394206 w 6423456"/>
              <a:gd name="connsiteY939" fmla="*/ 2511353 h 6377102"/>
              <a:gd name="connsiteX940" fmla="*/ 1244031 w 6423456"/>
              <a:gd name="connsiteY940" fmla="*/ 2591883 h 6377102"/>
              <a:gd name="connsiteX941" fmla="*/ 1242432 w 6423456"/>
              <a:gd name="connsiteY941" fmla="*/ 2590284 h 6377102"/>
              <a:gd name="connsiteX942" fmla="*/ 1240833 w 6423456"/>
              <a:gd name="connsiteY942" fmla="*/ 2591883 h 6377102"/>
              <a:gd name="connsiteX943" fmla="*/ 1242432 w 6423456"/>
              <a:gd name="connsiteY943" fmla="*/ 2593481 h 6377102"/>
              <a:gd name="connsiteX944" fmla="*/ 1244031 w 6423456"/>
              <a:gd name="connsiteY944" fmla="*/ 2591883 h 6377102"/>
              <a:gd name="connsiteX945" fmla="*/ 1101618 w 6423456"/>
              <a:gd name="connsiteY945" fmla="*/ 2685581 h 6377102"/>
              <a:gd name="connsiteX946" fmla="*/ 1100553 w 6423456"/>
              <a:gd name="connsiteY946" fmla="*/ 2684515 h 6377102"/>
              <a:gd name="connsiteX947" fmla="*/ 1099487 w 6423456"/>
              <a:gd name="connsiteY947" fmla="*/ 2685581 h 6377102"/>
              <a:gd name="connsiteX948" fmla="*/ 1100553 w 6423456"/>
              <a:gd name="connsiteY948" fmla="*/ 2686646 h 6377102"/>
              <a:gd name="connsiteX949" fmla="*/ 1101618 w 6423456"/>
              <a:gd name="connsiteY949" fmla="*/ 2685581 h 6377102"/>
              <a:gd name="connsiteX950" fmla="*/ 968188 w 6423456"/>
              <a:gd name="connsiteY950" fmla="*/ 2791533 h 6377102"/>
              <a:gd name="connsiteX951" fmla="*/ 967655 w 6423456"/>
              <a:gd name="connsiteY951" fmla="*/ 2791001 h 6377102"/>
              <a:gd name="connsiteX952" fmla="*/ 967123 w 6423456"/>
              <a:gd name="connsiteY952" fmla="*/ 2791533 h 6377102"/>
              <a:gd name="connsiteX953" fmla="*/ 967655 w 6423456"/>
              <a:gd name="connsiteY953" fmla="*/ 2792066 h 6377102"/>
              <a:gd name="connsiteX954" fmla="*/ 968188 w 6423456"/>
              <a:gd name="connsiteY954" fmla="*/ 2791533 h 6377102"/>
              <a:gd name="connsiteX955" fmla="*/ 3732319 w 6423456"/>
              <a:gd name="connsiteY955" fmla="*/ 5645634 h 6377102"/>
              <a:gd name="connsiteX956" fmla="*/ 3731787 w 6423456"/>
              <a:gd name="connsiteY956" fmla="*/ 5645101 h 6377102"/>
              <a:gd name="connsiteX957" fmla="*/ 3731255 w 6423456"/>
              <a:gd name="connsiteY957" fmla="*/ 5645634 h 6377102"/>
              <a:gd name="connsiteX958" fmla="*/ 3731787 w 6423456"/>
              <a:gd name="connsiteY958" fmla="*/ 5646166 h 6377102"/>
              <a:gd name="connsiteX959" fmla="*/ 3732319 w 6423456"/>
              <a:gd name="connsiteY959" fmla="*/ 5645634 h 6377102"/>
              <a:gd name="connsiteX960" fmla="*/ 3843601 w 6423456"/>
              <a:gd name="connsiteY960" fmla="*/ 5517227 h 6377102"/>
              <a:gd name="connsiteX961" fmla="*/ 3843068 w 6423456"/>
              <a:gd name="connsiteY961" fmla="*/ 5516694 h 6377102"/>
              <a:gd name="connsiteX962" fmla="*/ 3842535 w 6423456"/>
              <a:gd name="connsiteY962" fmla="*/ 5517227 h 6377102"/>
              <a:gd name="connsiteX963" fmla="*/ 3843068 w 6423456"/>
              <a:gd name="connsiteY963" fmla="*/ 5517760 h 6377102"/>
              <a:gd name="connsiteX964" fmla="*/ 3843601 w 6423456"/>
              <a:gd name="connsiteY964" fmla="*/ 5517227 h 6377102"/>
              <a:gd name="connsiteX965" fmla="*/ 3944605 w 6423456"/>
              <a:gd name="connsiteY965" fmla="*/ 5380067 h 6377102"/>
              <a:gd name="connsiteX966" fmla="*/ 3943540 w 6423456"/>
              <a:gd name="connsiteY966" fmla="*/ 5379001 h 6377102"/>
              <a:gd name="connsiteX967" fmla="*/ 3942475 w 6423456"/>
              <a:gd name="connsiteY967" fmla="*/ 5380067 h 6377102"/>
              <a:gd name="connsiteX968" fmla="*/ 3943540 w 6423456"/>
              <a:gd name="connsiteY968" fmla="*/ 5381132 h 6377102"/>
              <a:gd name="connsiteX969" fmla="*/ 3944605 w 6423456"/>
              <a:gd name="connsiteY969" fmla="*/ 5380067 h 6377102"/>
              <a:gd name="connsiteX970" fmla="*/ 4034651 w 6423456"/>
              <a:gd name="connsiteY970" fmla="*/ 5235296 h 6377102"/>
              <a:gd name="connsiteX971" fmla="*/ 4032519 w 6423456"/>
              <a:gd name="connsiteY971" fmla="*/ 5233164 h 6377102"/>
              <a:gd name="connsiteX972" fmla="*/ 4030388 w 6423456"/>
              <a:gd name="connsiteY972" fmla="*/ 5235296 h 6377102"/>
              <a:gd name="connsiteX973" fmla="*/ 4032519 w 6423456"/>
              <a:gd name="connsiteY973" fmla="*/ 5237427 h 6377102"/>
              <a:gd name="connsiteX974" fmla="*/ 4034651 w 6423456"/>
              <a:gd name="connsiteY974" fmla="*/ 5235296 h 6377102"/>
              <a:gd name="connsiteX975" fmla="*/ 4112059 w 6423456"/>
              <a:gd name="connsiteY975" fmla="*/ 5083674 h 6377102"/>
              <a:gd name="connsiteX976" fmla="*/ 4109472 w 6423456"/>
              <a:gd name="connsiteY976" fmla="*/ 5081009 h 6377102"/>
              <a:gd name="connsiteX977" fmla="*/ 4106808 w 6423456"/>
              <a:gd name="connsiteY977" fmla="*/ 5083674 h 6377102"/>
              <a:gd name="connsiteX978" fmla="*/ 4109472 w 6423456"/>
              <a:gd name="connsiteY978" fmla="*/ 5086261 h 6377102"/>
              <a:gd name="connsiteX979" fmla="*/ 4112059 w 6423456"/>
              <a:gd name="connsiteY979" fmla="*/ 5083674 h 6377102"/>
              <a:gd name="connsiteX980" fmla="*/ 4177367 w 6423456"/>
              <a:gd name="connsiteY980" fmla="*/ 4926267 h 6377102"/>
              <a:gd name="connsiteX981" fmla="*/ 4173714 w 6423456"/>
              <a:gd name="connsiteY981" fmla="*/ 4922613 h 6377102"/>
              <a:gd name="connsiteX982" fmla="*/ 4170059 w 6423456"/>
              <a:gd name="connsiteY982" fmla="*/ 4926267 h 6377102"/>
              <a:gd name="connsiteX983" fmla="*/ 4173714 w 6423456"/>
              <a:gd name="connsiteY983" fmla="*/ 4929920 h 6377102"/>
              <a:gd name="connsiteX984" fmla="*/ 4177367 w 6423456"/>
              <a:gd name="connsiteY984" fmla="*/ 4926267 h 6377102"/>
              <a:gd name="connsiteX985" fmla="*/ 4229582 w 6423456"/>
              <a:gd name="connsiteY985" fmla="*/ 4764217 h 6377102"/>
              <a:gd name="connsiteX986" fmla="*/ 4224863 w 6423456"/>
              <a:gd name="connsiteY986" fmla="*/ 4759498 h 6377102"/>
              <a:gd name="connsiteX987" fmla="*/ 4220144 w 6423456"/>
              <a:gd name="connsiteY987" fmla="*/ 4764217 h 6377102"/>
              <a:gd name="connsiteX988" fmla="*/ 4224863 w 6423456"/>
              <a:gd name="connsiteY988" fmla="*/ 4768936 h 6377102"/>
              <a:gd name="connsiteX989" fmla="*/ 4229582 w 6423456"/>
              <a:gd name="connsiteY989" fmla="*/ 4764217 h 6377102"/>
              <a:gd name="connsiteX990" fmla="*/ 4268477 w 6423456"/>
              <a:gd name="connsiteY990" fmla="*/ 4598438 h 6377102"/>
              <a:gd name="connsiteX991" fmla="*/ 4262692 w 6423456"/>
              <a:gd name="connsiteY991" fmla="*/ 4592653 h 6377102"/>
              <a:gd name="connsiteX992" fmla="*/ 4256907 w 6423456"/>
              <a:gd name="connsiteY992" fmla="*/ 4598438 h 6377102"/>
              <a:gd name="connsiteX993" fmla="*/ 4262692 w 6423456"/>
              <a:gd name="connsiteY993" fmla="*/ 4604222 h 6377102"/>
              <a:gd name="connsiteX994" fmla="*/ 4268477 w 6423456"/>
              <a:gd name="connsiteY994" fmla="*/ 4598438 h 6377102"/>
              <a:gd name="connsiteX995" fmla="*/ 4293747 w 6423456"/>
              <a:gd name="connsiteY995" fmla="*/ 4430222 h 6377102"/>
              <a:gd name="connsiteX996" fmla="*/ 4286897 w 6423456"/>
              <a:gd name="connsiteY996" fmla="*/ 4423372 h 6377102"/>
              <a:gd name="connsiteX997" fmla="*/ 4280047 w 6423456"/>
              <a:gd name="connsiteY997" fmla="*/ 4430222 h 6377102"/>
              <a:gd name="connsiteX998" fmla="*/ 4286897 w 6423456"/>
              <a:gd name="connsiteY998" fmla="*/ 4437073 h 6377102"/>
              <a:gd name="connsiteX999" fmla="*/ 4293747 w 6423456"/>
              <a:gd name="connsiteY999" fmla="*/ 4430222 h 6377102"/>
              <a:gd name="connsiteX1000" fmla="*/ 4305164 w 6423456"/>
              <a:gd name="connsiteY1000" fmla="*/ 4260561 h 6377102"/>
              <a:gd name="connsiteX1001" fmla="*/ 4297249 w 6423456"/>
              <a:gd name="connsiteY1001" fmla="*/ 4252721 h 6377102"/>
              <a:gd name="connsiteX1002" fmla="*/ 4289409 w 6423456"/>
              <a:gd name="connsiteY1002" fmla="*/ 4260561 h 6377102"/>
              <a:gd name="connsiteX1003" fmla="*/ 4297249 w 6423456"/>
              <a:gd name="connsiteY1003" fmla="*/ 4268477 h 6377102"/>
              <a:gd name="connsiteX1004" fmla="*/ 4305164 w 6423456"/>
              <a:gd name="connsiteY1004" fmla="*/ 4260561 h 6377102"/>
              <a:gd name="connsiteX1005" fmla="*/ 4302729 w 6423456"/>
              <a:gd name="connsiteY1005" fmla="*/ 4090595 h 6377102"/>
              <a:gd name="connsiteX1006" fmla="*/ 4293823 w 6423456"/>
              <a:gd name="connsiteY1006" fmla="*/ 4081690 h 6377102"/>
              <a:gd name="connsiteX1007" fmla="*/ 4284918 w 6423456"/>
              <a:gd name="connsiteY1007" fmla="*/ 4090595 h 6377102"/>
              <a:gd name="connsiteX1008" fmla="*/ 4293823 w 6423456"/>
              <a:gd name="connsiteY1008" fmla="*/ 4099501 h 6377102"/>
              <a:gd name="connsiteX1009" fmla="*/ 4302729 w 6423456"/>
              <a:gd name="connsiteY1009" fmla="*/ 4090595 h 6377102"/>
              <a:gd name="connsiteX1010" fmla="*/ 4286516 w 6423456"/>
              <a:gd name="connsiteY1010" fmla="*/ 3921543 h 6377102"/>
              <a:gd name="connsiteX1011" fmla="*/ 4276545 w 6423456"/>
              <a:gd name="connsiteY1011" fmla="*/ 3911572 h 6377102"/>
              <a:gd name="connsiteX1012" fmla="*/ 4266574 w 6423456"/>
              <a:gd name="connsiteY1012" fmla="*/ 3921543 h 6377102"/>
              <a:gd name="connsiteX1013" fmla="*/ 4276545 w 6423456"/>
              <a:gd name="connsiteY1013" fmla="*/ 3931514 h 6377102"/>
              <a:gd name="connsiteX1014" fmla="*/ 4286516 w 6423456"/>
              <a:gd name="connsiteY1014" fmla="*/ 3921543 h 6377102"/>
              <a:gd name="connsiteX1015" fmla="*/ 4256527 w 6423456"/>
              <a:gd name="connsiteY1015" fmla="*/ 3754394 h 6377102"/>
              <a:gd name="connsiteX1016" fmla="*/ 4245490 w 6423456"/>
              <a:gd name="connsiteY1016" fmla="*/ 3743357 h 6377102"/>
              <a:gd name="connsiteX1017" fmla="*/ 4234454 w 6423456"/>
              <a:gd name="connsiteY1017" fmla="*/ 3754394 h 6377102"/>
              <a:gd name="connsiteX1018" fmla="*/ 4245490 w 6423456"/>
              <a:gd name="connsiteY1018" fmla="*/ 3765430 h 6377102"/>
              <a:gd name="connsiteX1019" fmla="*/ 4256527 w 6423456"/>
              <a:gd name="connsiteY1019" fmla="*/ 3754394 h 6377102"/>
              <a:gd name="connsiteX1020" fmla="*/ 4212989 w 6423456"/>
              <a:gd name="connsiteY1020" fmla="*/ 3590365 h 6377102"/>
              <a:gd name="connsiteX1021" fmla="*/ 4200886 w 6423456"/>
              <a:gd name="connsiteY1021" fmla="*/ 3578262 h 6377102"/>
              <a:gd name="connsiteX1022" fmla="*/ 4188784 w 6423456"/>
              <a:gd name="connsiteY1022" fmla="*/ 3590365 h 6377102"/>
              <a:gd name="connsiteX1023" fmla="*/ 4200886 w 6423456"/>
              <a:gd name="connsiteY1023" fmla="*/ 3602467 h 6377102"/>
              <a:gd name="connsiteX1024" fmla="*/ 4212989 w 6423456"/>
              <a:gd name="connsiteY1024" fmla="*/ 3590365 h 6377102"/>
              <a:gd name="connsiteX1025" fmla="*/ 4156283 w 6423456"/>
              <a:gd name="connsiteY1025" fmla="*/ 3430446 h 6377102"/>
              <a:gd name="connsiteX1026" fmla="*/ 4143191 w 6423456"/>
              <a:gd name="connsiteY1026" fmla="*/ 3417278 h 6377102"/>
              <a:gd name="connsiteX1027" fmla="*/ 4130022 w 6423456"/>
              <a:gd name="connsiteY1027" fmla="*/ 3430446 h 6377102"/>
              <a:gd name="connsiteX1028" fmla="*/ 4143191 w 6423456"/>
              <a:gd name="connsiteY1028" fmla="*/ 3443538 h 6377102"/>
              <a:gd name="connsiteX1029" fmla="*/ 4156283 w 6423456"/>
              <a:gd name="connsiteY1029" fmla="*/ 3430446 h 6377102"/>
              <a:gd name="connsiteX1030" fmla="*/ 4086181 w 6423456"/>
              <a:gd name="connsiteY1030" fmla="*/ 3275856 h 6377102"/>
              <a:gd name="connsiteX1031" fmla="*/ 4072556 w 6423456"/>
              <a:gd name="connsiteY1031" fmla="*/ 3262155 h 6377102"/>
              <a:gd name="connsiteX1032" fmla="*/ 4058931 w 6423456"/>
              <a:gd name="connsiteY1032" fmla="*/ 3275856 h 6377102"/>
              <a:gd name="connsiteX1033" fmla="*/ 4072556 w 6423456"/>
              <a:gd name="connsiteY1033" fmla="*/ 3289480 h 6377102"/>
              <a:gd name="connsiteX1034" fmla="*/ 4086181 w 6423456"/>
              <a:gd name="connsiteY1034" fmla="*/ 3275856 h 6377102"/>
              <a:gd name="connsiteX1035" fmla="*/ 4003747 w 6423456"/>
              <a:gd name="connsiteY1035" fmla="*/ 3127507 h 6377102"/>
              <a:gd name="connsiteX1036" fmla="*/ 3989590 w 6423456"/>
              <a:gd name="connsiteY1036" fmla="*/ 3113350 h 6377102"/>
              <a:gd name="connsiteX1037" fmla="*/ 3975432 w 6423456"/>
              <a:gd name="connsiteY1037" fmla="*/ 3127507 h 6377102"/>
              <a:gd name="connsiteX1038" fmla="*/ 3989590 w 6423456"/>
              <a:gd name="connsiteY1038" fmla="*/ 3141664 h 6377102"/>
              <a:gd name="connsiteX1039" fmla="*/ 4003747 w 6423456"/>
              <a:gd name="connsiteY1039" fmla="*/ 3127507 h 6377102"/>
              <a:gd name="connsiteX1040" fmla="*/ 3909440 w 6423456"/>
              <a:gd name="connsiteY1040" fmla="*/ 2986389 h 6377102"/>
              <a:gd name="connsiteX1041" fmla="*/ 3894750 w 6423456"/>
              <a:gd name="connsiteY1041" fmla="*/ 2971699 h 6377102"/>
              <a:gd name="connsiteX1042" fmla="*/ 3880060 w 6423456"/>
              <a:gd name="connsiteY1042" fmla="*/ 2986389 h 6377102"/>
              <a:gd name="connsiteX1043" fmla="*/ 3894750 w 6423456"/>
              <a:gd name="connsiteY1043" fmla="*/ 3001079 h 6377102"/>
              <a:gd name="connsiteX1044" fmla="*/ 3909440 w 6423456"/>
              <a:gd name="connsiteY1044" fmla="*/ 2986389 h 6377102"/>
              <a:gd name="connsiteX1045" fmla="*/ 3803488 w 6423456"/>
              <a:gd name="connsiteY1045" fmla="*/ 2853491 h 6377102"/>
              <a:gd name="connsiteX1046" fmla="*/ 3788797 w 6423456"/>
              <a:gd name="connsiteY1046" fmla="*/ 2838801 h 6377102"/>
              <a:gd name="connsiteX1047" fmla="*/ 3774108 w 6423456"/>
              <a:gd name="connsiteY1047" fmla="*/ 2853491 h 6377102"/>
              <a:gd name="connsiteX1048" fmla="*/ 3788797 w 6423456"/>
              <a:gd name="connsiteY1048" fmla="*/ 2868182 h 6377102"/>
              <a:gd name="connsiteX1049" fmla="*/ 3803488 w 6423456"/>
              <a:gd name="connsiteY1049" fmla="*/ 2853491 h 6377102"/>
              <a:gd name="connsiteX1050" fmla="*/ 3687564 w 6423456"/>
              <a:gd name="connsiteY1050" fmla="*/ 2729728 h 6377102"/>
              <a:gd name="connsiteX1051" fmla="*/ 3672341 w 6423456"/>
              <a:gd name="connsiteY1051" fmla="*/ 2714505 h 6377102"/>
              <a:gd name="connsiteX1052" fmla="*/ 3657118 w 6423456"/>
              <a:gd name="connsiteY1052" fmla="*/ 2729728 h 6377102"/>
              <a:gd name="connsiteX1053" fmla="*/ 3672341 w 6423456"/>
              <a:gd name="connsiteY1053" fmla="*/ 2744951 h 6377102"/>
              <a:gd name="connsiteX1054" fmla="*/ 3687564 w 6423456"/>
              <a:gd name="connsiteY1054" fmla="*/ 2729728 h 6377102"/>
              <a:gd name="connsiteX1055" fmla="*/ 3560832 w 6423456"/>
              <a:gd name="connsiteY1055" fmla="*/ 2615783 h 6377102"/>
              <a:gd name="connsiteX1056" fmla="*/ 3546141 w 6423456"/>
              <a:gd name="connsiteY1056" fmla="*/ 2601093 h 6377102"/>
              <a:gd name="connsiteX1057" fmla="*/ 3531452 w 6423456"/>
              <a:gd name="connsiteY1057" fmla="*/ 2615783 h 6377102"/>
              <a:gd name="connsiteX1058" fmla="*/ 3546141 w 6423456"/>
              <a:gd name="connsiteY1058" fmla="*/ 2630473 h 6377102"/>
              <a:gd name="connsiteX1059" fmla="*/ 3560832 w 6423456"/>
              <a:gd name="connsiteY1059" fmla="*/ 2615783 h 6377102"/>
              <a:gd name="connsiteX1060" fmla="*/ 3425803 w 6423456"/>
              <a:gd name="connsiteY1060" fmla="*/ 2512570 h 6377102"/>
              <a:gd name="connsiteX1061" fmla="*/ 3411113 w 6423456"/>
              <a:gd name="connsiteY1061" fmla="*/ 2497880 h 6377102"/>
              <a:gd name="connsiteX1062" fmla="*/ 3396423 w 6423456"/>
              <a:gd name="connsiteY1062" fmla="*/ 2512570 h 6377102"/>
              <a:gd name="connsiteX1063" fmla="*/ 3411113 w 6423456"/>
              <a:gd name="connsiteY1063" fmla="*/ 2527261 h 6377102"/>
              <a:gd name="connsiteX1064" fmla="*/ 3425803 w 6423456"/>
              <a:gd name="connsiteY1064" fmla="*/ 2512570 h 6377102"/>
              <a:gd name="connsiteX1065" fmla="*/ 3282325 w 6423456"/>
              <a:gd name="connsiteY1065" fmla="*/ 2420623 h 6377102"/>
              <a:gd name="connsiteX1066" fmla="*/ 3268168 w 6423456"/>
              <a:gd name="connsiteY1066" fmla="*/ 2406466 h 6377102"/>
              <a:gd name="connsiteX1067" fmla="*/ 3254010 w 6423456"/>
              <a:gd name="connsiteY1067" fmla="*/ 2420623 h 6377102"/>
              <a:gd name="connsiteX1068" fmla="*/ 3268168 w 6423456"/>
              <a:gd name="connsiteY1068" fmla="*/ 2434781 h 6377102"/>
              <a:gd name="connsiteX1069" fmla="*/ 3282325 w 6423456"/>
              <a:gd name="connsiteY1069" fmla="*/ 2420623 h 6377102"/>
              <a:gd name="connsiteX1070" fmla="*/ 3131769 w 6423456"/>
              <a:gd name="connsiteY1070" fmla="*/ 2340702 h 6377102"/>
              <a:gd name="connsiteX1071" fmla="*/ 3118144 w 6423456"/>
              <a:gd name="connsiteY1071" fmla="*/ 2327077 h 6377102"/>
              <a:gd name="connsiteX1072" fmla="*/ 3104519 w 6423456"/>
              <a:gd name="connsiteY1072" fmla="*/ 2340702 h 6377102"/>
              <a:gd name="connsiteX1073" fmla="*/ 3118144 w 6423456"/>
              <a:gd name="connsiteY1073" fmla="*/ 2354326 h 6377102"/>
              <a:gd name="connsiteX1074" fmla="*/ 3131769 w 6423456"/>
              <a:gd name="connsiteY1074" fmla="*/ 2340702 h 6377102"/>
              <a:gd name="connsiteX1075" fmla="*/ 2975199 w 6423456"/>
              <a:gd name="connsiteY1075" fmla="*/ 2273264 h 6377102"/>
              <a:gd name="connsiteX1076" fmla="*/ 2962108 w 6423456"/>
              <a:gd name="connsiteY1076" fmla="*/ 2260172 h 6377102"/>
              <a:gd name="connsiteX1077" fmla="*/ 2948940 w 6423456"/>
              <a:gd name="connsiteY1077" fmla="*/ 2273264 h 6377102"/>
              <a:gd name="connsiteX1078" fmla="*/ 2962108 w 6423456"/>
              <a:gd name="connsiteY1078" fmla="*/ 2286355 h 6377102"/>
              <a:gd name="connsiteX1079" fmla="*/ 2975199 w 6423456"/>
              <a:gd name="connsiteY1079" fmla="*/ 2273264 h 6377102"/>
              <a:gd name="connsiteX1080" fmla="*/ 2813150 w 6423456"/>
              <a:gd name="connsiteY1080" fmla="*/ 2218765 h 6377102"/>
              <a:gd name="connsiteX1081" fmla="*/ 2801047 w 6423456"/>
              <a:gd name="connsiteY1081" fmla="*/ 2206663 h 6377102"/>
              <a:gd name="connsiteX1082" fmla="*/ 2788945 w 6423456"/>
              <a:gd name="connsiteY1082" fmla="*/ 2218765 h 6377102"/>
              <a:gd name="connsiteX1083" fmla="*/ 2801047 w 6423456"/>
              <a:gd name="connsiteY1083" fmla="*/ 2230867 h 6377102"/>
              <a:gd name="connsiteX1084" fmla="*/ 2813150 w 6423456"/>
              <a:gd name="connsiteY1084" fmla="*/ 2218765 h 6377102"/>
              <a:gd name="connsiteX1085" fmla="*/ 2647142 w 6423456"/>
              <a:gd name="connsiteY1085" fmla="*/ 2177586 h 6377102"/>
              <a:gd name="connsiteX1086" fmla="*/ 2636106 w 6423456"/>
              <a:gd name="connsiteY1086" fmla="*/ 2166550 h 6377102"/>
              <a:gd name="connsiteX1087" fmla="*/ 2625068 w 6423456"/>
              <a:gd name="connsiteY1087" fmla="*/ 2177586 h 6377102"/>
              <a:gd name="connsiteX1088" fmla="*/ 2636106 w 6423456"/>
              <a:gd name="connsiteY1088" fmla="*/ 2188623 h 6377102"/>
              <a:gd name="connsiteX1089" fmla="*/ 2647142 w 6423456"/>
              <a:gd name="connsiteY1089" fmla="*/ 2177586 h 6377102"/>
              <a:gd name="connsiteX1090" fmla="*/ 2478394 w 6423456"/>
              <a:gd name="connsiteY1090" fmla="*/ 2149956 h 6377102"/>
              <a:gd name="connsiteX1091" fmla="*/ 2468423 w 6423456"/>
              <a:gd name="connsiteY1091" fmla="*/ 2139985 h 6377102"/>
              <a:gd name="connsiteX1092" fmla="*/ 2458452 w 6423456"/>
              <a:gd name="connsiteY1092" fmla="*/ 2149956 h 6377102"/>
              <a:gd name="connsiteX1093" fmla="*/ 2468423 w 6423456"/>
              <a:gd name="connsiteY1093" fmla="*/ 2159928 h 6377102"/>
              <a:gd name="connsiteX1094" fmla="*/ 2478394 w 6423456"/>
              <a:gd name="connsiteY1094" fmla="*/ 2149956 h 6377102"/>
              <a:gd name="connsiteX1095" fmla="*/ 2307439 w 6423456"/>
              <a:gd name="connsiteY1095" fmla="*/ 2136103 h 6377102"/>
              <a:gd name="connsiteX1096" fmla="*/ 2299066 w 6423456"/>
              <a:gd name="connsiteY1096" fmla="*/ 2127731 h 6377102"/>
              <a:gd name="connsiteX1097" fmla="*/ 2290694 w 6423456"/>
              <a:gd name="connsiteY1097" fmla="*/ 2136103 h 6377102"/>
              <a:gd name="connsiteX1098" fmla="*/ 2299066 w 6423456"/>
              <a:gd name="connsiteY1098" fmla="*/ 2144476 h 6377102"/>
              <a:gd name="connsiteX1099" fmla="*/ 2307439 w 6423456"/>
              <a:gd name="connsiteY1099" fmla="*/ 2136103 h 6377102"/>
              <a:gd name="connsiteX1100" fmla="*/ 2136408 w 6423456"/>
              <a:gd name="connsiteY1100" fmla="*/ 2136103 h 6377102"/>
              <a:gd name="connsiteX1101" fmla="*/ 2129025 w 6423456"/>
              <a:gd name="connsiteY1101" fmla="*/ 2128720 h 6377102"/>
              <a:gd name="connsiteX1102" fmla="*/ 2121641 w 6423456"/>
              <a:gd name="connsiteY1102" fmla="*/ 2136103 h 6377102"/>
              <a:gd name="connsiteX1103" fmla="*/ 2129025 w 6423456"/>
              <a:gd name="connsiteY1103" fmla="*/ 2143487 h 6377102"/>
              <a:gd name="connsiteX1104" fmla="*/ 2136408 w 6423456"/>
              <a:gd name="connsiteY1104" fmla="*/ 2136103 h 6377102"/>
              <a:gd name="connsiteX1105" fmla="*/ 1965909 w 6423456"/>
              <a:gd name="connsiteY1105" fmla="*/ 2149956 h 6377102"/>
              <a:gd name="connsiteX1106" fmla="*/ 1959591 w 6423456"/>
              <a:gd name="connsiteY1106" fmla="*/ 2143639 h 6377102"/>
              <a:gd name="connsiteX1107" fmla="*/ 1953274 w 6423456"/>
              <a:gd name="connsiteY1107" fmla="*/ 2149956 h 6377102"/>
              <a:gd name="connsiteX1108" fmla="*/ 1959591 w 6423456"/>
              <a:gd name="connsiteY1108" fmla="*/ 2156274 h 6377102"/>
              <a:gd name="connsiteX1109" fmla="*/ 1965909 w 6423456"/>
              <a:gd name="connsiteY1109" fmla="*/ 2149956 h 6377102"/>
              <a:gd name="connsiteX1110" fmla="*/ 1797161 w 6423456"/>
              <a:gd name="connsiteY1110" fmla="*/ 2177586 h 6377102"/>
              <a:gd name="connsiteX1111" fmla="*/ 1791909 w 6423456"/>
              <a:gd name="connsiteY1111" fmla="*/ 2172334 h 6377102"/>
              <a:gd name="connsiteX1112" fmla="*/ 1786657 w 6423456"/>
              <a:gd name="connsiteY1112" fmla="*/ 2177586 h 6377102"/>
              <a:gd name="connsiteX1113" fmla="*/ 1791909 w 6423456"/>
              <a:gd name="connsiteY1113" fmla="*/ 2182838 h 6377102"/>
              <a:gd name="connsiteX1114" fmla="*/ 1797161 w 6423456"/>
              <a:gd name="connsiteY1114" fmla="*/ 2177586 h 6377102"/>
              <a:gd name="connsiteX1115" fmla="*/ 1631154 w 6423456"/>
              <a:gd name="connsiteY1115" fmla="*/ 2218765 h 6377102"/>
              <a:gd name="connsiteX1116" fmla="*/ 1626967 w 6423456"/>
              <a:gd name="connsiteY1116" fmla="*/ 2214578 h 6377102"/>
              <a:gd name="connsiteX1117" fmla="*/ 1622781 w 6423456"/>
              <a:gd name="connsiteY1117" fmla="*/ 2218765 h 6377102"/>
              <a:gd name="connsiteX1118" fmla="*/ 1626967 w 6423456"/>
              <a:gd name="connsiteY1118" fmla="*/ 2222951 h 6377102"/>
              <a:gd name="connsiteX1119" fmla="*/ 1631154 w 6423456"/>
              <a:gd name="connsiteY1119" fmla="*/ 2218765 h 6377102"/>
              <a:gd name="connsiteX1120" fmla="*/ 1469103 w 6423456"/>
              <a:gd name="connsiteY1120" fmla="*/ 2273264 h 6377102"/>
              <a:gd name="connsiteX1121" fmla="*/ 1465983 w 6423456"/>
              <a:gd name="connsiteY1121" fmla="*/ 2270143 h 6377102"/>
              <a:gd name="connsiteX1122" fmla="*/ 1462786 w 6423456"/>
              <a:gd name="connsiteY1122" fmla="*/ 2273264 h 6377102"/>
              <a:gd name="connsiteX1123" fmla="*/ 1465983 w 6423456"/>
              <a:gd name="connsiteY1123" fmla="*/ 2276384 h 6377102"/>
              <a:gd name="connsiteX1124" fmla="*/ 1469103 w 6423456"/>
              <a:gd name="connsiteY1124" fmla="*/ 2273264 h 6377102"/>
              <a:gd name="connsiteX1125" fmla="*/ 1312534 w 6423456"/>
              <a:gd name="connsiteY1125" fmla="*/ 2340702 h 6377102"/>
              <a:gd name="connsiteX1126" fmla="*/ 1309946 w 6423456"/>
              <a:gd name="connsiteY1126" fmla="*/ 2338114 h 6377102"/>
              <a:gd name="connsiteX1127" fmla="*/ 1307358 w 6423456"/>
              <a:gd name="connsiteY1127" fmla="*/ 2340702 h 6377102"/>
              <a:gd name="connsiteX1128" fmla="*/ 1309946 w 6423456"/>
              <a:gd name="connsiteY1128" fmla="*/ 2343290 h 6377102"/>
              <a:gd name="connsiteX1129" fmla="*/ 1312534 w 6423456"/>
              <a:gd name="connsiteY1129" fmla="*/ 2340702 h 6377102"/>
              <a:gd name="connsiteX1130" fmla="*/ 1161521 w 6423456"/>
              <a:gd name="connsiteY1130" fmla="*/ 2420623 h 6377102"/>
              <a:gd name="connsiteX1131" fmla="*/ 1159923 w 6423456"/>
              <a:gd name="connsiteY1131" fmla="*/ 2419025 h 6377102"/>
              <a:gd name="connsiteX1132" fmla="*/ 1158325 w 6423456"/>
              <a:gd name="connsiteY1132" fmla="*/ 2420623 h 6377102"/>
              <a:gd name="connsiteX1133" fmla="*/ 1159923 w 6423456"/>
              <a:gd name="connsiteY1133" fmla="*/ 2422221 h 6377102"/>
              <a:gd name="connsiteX1134" fmla="*/ 1161521 w 6423456"/>
              <a:gd name="connsiteY1134" fmla="*/ 2420623 h 6377102"/>
              <a:gd name="connsiteX1135" fmla="*/ 1017968 w 6423456"/>
              <a:gd name="connsiteY1135" fmla="*/ 2512570 h 6377102"/>
              <a:gd name="connsiteX1136" fmla="*/ 1016902 w 6423456"/>
              <a:gd name="connsiteY1136" fmla="*/ 2511505 h 6377102"/>
              <a:gd name="connsiteX1137" fmla="*/ 1015836 w 6423456"/>
              <a:gd name="connsiteY1137" fmla="*/ 2512570 h 6377102"/>
              <a:gd name="connsiteX1138" fmla="*/ 1016902 w 6423456"/>
              <a:gd name="connsiteY1138" fmla="*/ 2513636 h 6377102"/>
              <a:gd name="connsiteX1139" fmla="*/ 1017968 w 6423456"/>
              <a:gd name="connsiteY1139" fmla="*/ 2512570 h 6377102"/>
              <a:gd name="connsiteX1140" fmla="*/ 882406 w 6423456"/>
              <a:gd name="connsiteY1140" fmla="*/ 2615783 h 6377102"/>
              <a:gd name="connsiteX1141" fmla="*/ 881873 w 6423456"/>
              <a:gd name="connsiteY1141" fmla="*/ 2615250 h 6377102"/>
              <a:gd name="connsiteX1142" fmla="*/ 881340 w 6423456"/>
              <a:gd name="connsiteY1142" fmla="*/ 2615783 h 6377102"/>
              <a:gd name="connsiteX1143" fmla="*/ 881873 w 6423456"/>
              <a:gd name="connsiteY1143" fmla="*/ 2616316 h 6377102"/>
              <a:gd name="connsiteX1144" fmla="*/ 882406 w 6423456"/>
              <a:gd name="connsiteY1144" fmla="*/ 2615783 h 6377102"/>
              <a:gd name="connsiteX1145" fmla="*/ 756283 w 6423456"/>
              <a:gd name="connsiteY1145" fmla="*/ 2729728 h 6377102"/>
              <a:gd name="connsiteX1146" fmla="*/ 755750 w 6423456"/>
              <a:gd name="connsiteY1146" fmla="*/ 2729195 h 6377102"/>
              <a:gd name="connsiteX1147" fmla="*/ 755217 w 6423456"/>
              <a:gd name="connsiteY1147" fmla="*/ 2729728 h 6377102"/>
              <a:gd name="connsiteX1148" fmla="*/ 755750 w 6423456"/>
              <a:gd name="connsiteY1148" fmla="*/ 2730260 h 6377102"/>
              <a:gd name="connsiteX1149" fmla="*/ 756283 w 6423456"/>
              <a:gd name="connsiteY1149" fmla="*/ 2729728 h 6377102"/>
              <a:gd name="connsiteX1150" fmla="*/ 3880821 w 6423456"/>
              <a:gd name="connsiteY1150" fmla="*/ 5764145 h 6377102"/>
              <a:gd name="connsiteX1151" fmla="*/ 3880288 w 6423456"/>
              <a:gd name="connsiteY1151" fmla="*/ 5763612 h 6377102"/>
              <a:gd name="connsiteX1152" fmla="*/ 3879756 w 6423456"/>
              <a:gd name="connsiteY1152" fmla="*/ 5764145 h 6377102"/>
              <a:gd name="connsiteX1153" fmla="*/ 3880288 w 6423456"/>
              <a:gd name="connsiteY1153" fmla="*/ 5764678 h 6377102"/>
              <a:gd name="connsiteX1154" fmla="*/ 3880821 w 6423456"/>
              <a:gd name="connsiteY1154" fmla="*/ 5764145 h 6377102"/>
              <a:gd name="connsiteX1155" fmla="*/ 3992254 w 6423456"/>
              <a:gd name="connsiteY1155" fmla="*/ 5635282 h 6377102"/>
              <a:gd name="connsiteX1156" fmla="*/ 3991188 w 6423456"/>
              <a:gd name="connsiteY1156" fmla="*/ 5634216 h 6377102"/>
              <a:gd name="connsiteX1157" fmla="*/ 3990123 w 6423456"/>
              <a:gd name="connsiteY1157" fmla="*/ 5635282 h 6377102"/>
              <a:gd name="connsiteX1158" fmla="*/ 3991188 w 6423456"/>
              <a:gd name="connsiteY1158" fmla="*/ 5636348 h 6377102"/>
              <a:gd name="connsiteX1159" fmla="*/ 3992254 w 6423456"/>
              <a:gd name="connsiteY1159" fmla="*/ 5635282 h 6377102"/>
              <a:gd name="connsiteX1160" fmla="*/ 4093183 w 6423456"/>
              <a:gd name="connsiteY1160" fmla="*/ 5498579 h 6377102"/>
              <a:gd name="connsiteX1161" fmla="*/ 4092117 w 6423456"/>
              <a:gd name="connsiteY1161" fmla="*/ 5497513 h 6377102"/>
              <a:gd name="connsiteX1162" fmla="*/ 4091051 w 6423456"/>
              <a:gd name="connsiteY1162" fmla="*/ 5498579 h 6377102"/>
              <a:gd name="connsiteX1163" fmla="*/ 4092117 w 6423456"/>
              <a:gd name="connsiteY1163" fmla="*/ 5499644 h 6377102"/>
              <a:gd name="connsiteX1164" fmla="*/ 4093183 w 6423456"/>
              <a:gd name="connsiteY1164" fmla="*/ 5498579 h 6377102"/>
              <a:gd name="connsiteX1165" fmla="*/ 4184674 w 6423456"/>
              <a:gd name="connsiteY1165" fmla="*/ 5354568 h 6377102"/>
              <a:gd name="connsiteX1166" fmla="*/ 4182542 w 6423456"/>
              <a:gd name="connsiteY1166" fmla="*/ 5352437 h 6377102"/>
              <a:gd name="connsiteX1167" fmla="*/ 4180412 w 6423456"/>
              <a:gd name="connsiteY1167" fmla="*/ 5354568 h 6377102"/>
              <a:gd name="connsiteX1168" fmla="*/ 4182542 w 6423456"/>
              <a:gd name="connsiteY1168" fmla="*/ 5356700 h 6377102"/>
              <a:gd name="connsiteX1169" fmla="*/ 4184674 w 6423456"/>
              <a:gd name="connsiteY1169" fmla="*/ 5354568 h 6377102"/>
              <a:gd name="connsiteX1170" fmla="*/ 4264671 w 6423456"/>
              <a:gd name="connsiteY1170" fmla="*/ 5204316 h 6377102"/>
              <a:gd name="connsiteX1171" fmla="*/ 4262084 w 6423456"/>
              <a:gd name="connsiteY1171" fmla="*/ 5201653 h 6377102"/>
              <a:gd name="connsiteX1172" fmla="*/ 4259495 w 6423456"/>
              <a:gd name="connsiteY1172" fmla="*/ 5204316 h 6377102"/>
              <a:gd name="connsiteX1173" fmla="*/ 4262084 w 6423456"/>
              <a:gd name="connsiteY1173" fmla="*/ 5206905 h 6377102"/>
              <a:gd name="connsiteX1174" fmla="*/ 4264671 w 6423456"/>
              <a:gd name="connsiteY1174" fmla="*/ 5204316 h 6377102"/>
              <a:gd name="connsiteX1175" fmla="*/ 4333708 w 6423456"/>
              <a:gd name="connsiteY1175" fmla="*/ 5048508 h 6377102"/>
              <a:gd name="connsiteX1176" fmla="*/ 4330054 w 6423456"/>
              <a:gd name="connsiteY1176" fmla="*/ 5044855 h 6377102"/>
              <a:gd name="connsiteX1177" fmla="*/ 4326401 w 6423456"/>
              <a:gd name="connsiteY1177" fmla="*/ 5048508 h 6377102"/>
              <a:gd name="connsiteX1178" fmla="*/ 4330054 w 6423456"/>
              <a:gd name="connsiteY1178" fmla="*/ 5052162 h 6377102"/>
              <a:gd name="connsiteX1179" fmla="*/ 4333708 w 6423456"/>
              <a:gd name="connsiteY1179" fmla="*/ 5048508 h 6377102"/>
              <a:gd name="connsiteX1180" fmla="*/ 4390870 w 6423456"/>
              <a:gd name="connsiteY1180" fmla="*/ 4888057 h 6377102"/>
              <a:gd name="connsiteX1181" fmla="*/ 4386151 w 6423456"/>
              <a:gd name="connsiteY1181" fmla="*/ 4883338 h 6377102"/>
              <a:gd name="connsiteX1182" fmla="*/ 4381432 w 6423456"/>
              <a:gd name="connsiteY1182" fmla="*/ 4888057 h 6377102"/>
              <a:gd name="connsiteX1183" fmla="*/ 4386151 w 6423456"/>
              <a:gd name="connsiteY1183" fmla="*/ 4892776 h 6377102"/>
              <a:gd name="connsiteX1184" fmla="*/ 4390870 w 6423456"/>
              <a:gd name="connsiteY1184" fmla="*/ 4888057 h 6377102"/>
              <a:gd name="connsiteX1185" fmla="*/ 4435931 w 6423456"/>
              <a:gd name="connsiteY1185" fmla="*/ 4723876 h 6377102"/>
              <a:gd name="connsiteX1186" fmla="*/ 4430146 w 6423456"/>
              <a:gd name="connsiteY1186" fmla="*/ 4718091 h 6377102"/>
              <a:gd name="connsiteX1187" fmla="*/ 4424361 w 6423456"/>
              <a:gd name="connsiteY1187" fmla="*/ 4723876 h 6377102"/>
              <a:gd name="connsiteX1188" fmla="*/ 4430146 w 6423456"/>
              <a:gd name="connsiteY1188" fmla="*/ 4729661 h 6377102"/>
              <a:gd name="connsiteX1189" fmla="*/ 4435931 w 6423456"/>
              <a:gd name="connsiteY1189" fmla="*/ 4723876 h 6377102"/>
              <a:gd name="connsiteX1190" fmla="*/ 4468585 w 6423456"/>
              <a:gd name="connsiteY1190" fmla="*/ 4556802 h 6377102"/>
              <a:gd name="connsiteX1191" fmla="*/ 4461734 w 6423456"/>
              <a:gd name="connsiteY1191" fmla="*/ 4549952 h 6377102"/>
              <a:gd name="connsiteX1192" fmla="*/ 4454884 w 6423456"/>
              <a:gd name="connsiteY1192" fmla="*/ 4556802 h 6377102"/>
              <a:gd name="connsiteX1193" fmla="*/ 4461734 w 6423456"/>
              <a:gd name="connsiteY1193" fmla="*/ 4563653 h 6377102"/>
              <a:gd name="connsiteX1194" fmla="*/ 4468585 w 6423456"/>
              <a:gd name="connsiteY1194" fmla="*/ 4556802 h 6377102"/>
              <a:gd name="connsiteX1195" fmla="*/ 4489212 w 6423456"/>
              <a:gd name="connsiteY1195" fmla="*/ 4387902 h 6377102"/>
              <a:gd name="connsiteX1196" fmla="*/ 4480839 w 6423456"/>
              <a:gd name="connsiteY1196" fmla="*/ 4379530 h 6377102"/>
              <a:gd name="connsiteX1197" fmla="*/ 4472467 w 6423456"/>
              <a:gd name="connsiteY1197" fmla="*/ 4387902 h 6377102"/>
              <a:gd name="connsiteX1198" fmla="*/ 4480839 w 6423456"/>
              <a:gd name="connsiteY1198" fmla="*/ 4396275 h 6377102"/>
              <a:gd name="connsiteX1199" fmla="*/ 4489212 w 6423456"/>
              <a:gd name="connsiteY1199" fmla="*/ 4387902 h 6377102"/>
              <a:gd name="connsiteX1200" fmla="*/ 4496595 w 6423456"/>
              <a:gd name="connsiteY1200" fmla="*/ 4218013 h 6377102"/>
              <a:gd name="connsiteX1201" fmla="*/ 4487156 w 6423456"/>
              <a:gd name="connsiteY1201" fmla="*/ 4208574 h 6377102"/>
              <a:gd name="connsiteX1202" fmla="*/ 4477718 w 6423456"/>
              <a:gd name="connsiteY1202" fmla="*/ 4218013 h 6377102"/>
              <a:gd name="connsiteX1203" fmla="*/ 4487156 w 6423456"/>
              <a:gd name="connsiteY1203" fmla="*/ 4227451 h 6377102"/>
              <a:gd name="connsiteX1204" fmla="*/ 4496595 w 6423456"/>
              <a:gd name="connsiteY1204" fmla="*/ 4218013 h 6377102"/>
              <a:gd name="connsiteX1205" fmla="*/ 4491267 w 6423456"/>
              <a:gd name="connsiteY1205" fmla="*/ 4048199 h 6377102"/>
              <a:gd name="connsiteX1206" fmla="*/ 4480763 w 6423456"/>
              <a:gd name="connsiteY1206" fmla="*/ 4037695 h 6377102"/>
              <a:gd name="connsiteX1207" fmla="*/ 4470259 w 6423456"/>
              <a:gd name="connsiteY1207" fmla="*/ 4048199 h 6377102"/>
              <a:gd name="connsiteX1208" fmla="*/ 4480763 w 6423456"/>
              <a:gd name="connsiteY1208" fmla="*/ 4058703 h 6377102"/>
              <a:gd name="connsiteX1209" fmla="*/ 4491267 w 6423456"/>
              <a:gd name="connsiteY1209" fmla="*/ 4048199 h 6377102"/>
              <a:gd name="connsiteX1210" fmla="*/ 4473836 w 6423456"/>
              <a:gd name="connsiteY1210" fmla="*/ 3879223 h 6377102"/>
              <a:gd name="connsiteX1211" fmla="*/ 4461734 w 6423456"/>
              <a:gd name="connsiteY1211" fmla="*/ 3867121 h 6377102"/>
              <a:gd name="connsiteX1212" fmla="*/ 4449632 w 6423456"/>
              <a:gd name="connsiteY1212" fmla="*/ 3879223 h 6377102"/>
              <a:gd name="connsiteX1213" fmla="*/ 4461734 w 6423456"/>
              <a:gd name="connsiteY1213" fmla="*/ 3891325 h 6377102"/>
              <a:gd name="connsiteX1214" fmla="*/ 4473836 w 6423456"/>
              <a:gd name="connsiteY1214" fmla="*/ 3879223 h 6377102"/>
              <a:gd name="connsiteX1215" fmla="*/ 4443314 w 6423456"/>
              <a:gd name="connsiteY1215" fmla="*/ 3712226 h 6377102"/>
              <a:gd name="connsiteX1216" fmla="*/ 4430222 w 6423456"/>
              <a:gd name="connsiteY1216" fmla="*/ 3699134 h 6377102"/>
              <a:gd name="connsiteX1217" fmla="*/ 4417054 w 6423456"/>
              <a:gd name="connsiteY1217" fmla="*/ 3712226 h 6377102"/>
              <a:gd name="connsiteX1218" fmla="*/ 4430222 w 6423456"/>
              <a:gd name="connsiteY1218" fmla="*/ 3725394 h 6377102"/>
              <a:gd name="connsiteX1219" fmla="*/ 4443314 w 6423456"/>
              <a:gd name="connsiteY1219" fmla="*/ 3712226 h 6377102"/>
              <a:gd name="connsiteX1220" fmla="*/ 4400309 w 6423456"/>
              <a:gd name="connsiteY1220" fmla="*/ 3548045 h 6377102"/>
              <a:gd name="connsiteX1221" fmla="*/ 4386151 w 6423456"/>
              <a:gd name="connsiteY1221" fmla="*/ 3533887 h 6377102"/>
              <a:gd name="connsiteX1222" fmla="*/ 4371994 w 6423456"/>
              <a:gd name="connsiteY1222" fmla="*/ 3548045 h 6377102"/>
              <a:gd name="connsiteX1223" fmla="*/ 4386151 w 6423456"/>
              <a:gd name="connsiteY1223" fmla="*/ 3562202 h 6377102"/>
              <a:gd name="connsiteX1224" fmla="*/ 4400309 w 6423456"/>
              <a:gd name="connsiteY1224" fmla="*/ 3548045 h 6377102"/>
              <a:gd name="connsiteX1225" fmla="*/ 4345201 w 6423456"/>
              <a:gd name="connsiteY1225" fmla="*/ 3387593 h 6377102"/>
              <a:gd name="connsiteX1226" fmla="*/ 4329978 w 6423456"/>
              <a:gd name="connsiteY1226" fmla="*/ 3372370 h 6377102"/>
              <a:gd name="connsiteX1227" fmla="*/ 4314755 w 6423456"/>
              <a:gd name="connsiteY1227" fmla="*/ 3387593 h 6377102"/>
              <a:gd name="connsiteX1228" fmla="*/ 4329978 w 6423456"/>
              <a:gd name="connsiteY1228" fmla="*/ 3402816 h 6377102"/>
              <a:gd name="connsiteX1229" fmla="*/ 4345201 w 6423456"/>
              <a:gd name="connsiteY1229" fmla="*/ 3387593 h 6377102"/>
              <a:gd name="connsiteX1230" fmla="*/ 4277763 w 6423456"/>
              <a:gd name="connsiteY1230" fmla="*/ 3231785 h 6377102"/>
              <a:gd name="connsiteX1231" fmla="*/ 4262007 w 6423456"/>
              <a:gd name="connsiteY1231" fmla="*/ 3216029 h 6377102"/>
              <a:gd name="connsiteX1232" fmla="*/ 4246251 w 6423456"/>
              <a:gd name="connsiteY1232" fmla="*/ 3231785 h 6377102"/>
              <a:gd name="connsiteX1233" fmla="*/ 4262007 w 6423456"/>
              <a:gd name="connsiteY1233" fmla="*/ 3247541 h 6377102"/>
              <a:gd name="connsiteX1234" fmla="*/ 4277763 w 6423456"/>
              <a:gd name="connsiteY1234" fmla="*/ 3231785 h 6377102"/>
              <a:gd name="connsiteX1235" fmla="*/ 4198907 w 6423456"/>
              <a:gd name="connsiteY1235" fmla="*/ 3081457 h 6377102"/>
              <a:gd name="connsiteX1236" fmla="*/ 4182618 w 6423456"/>
              <a:gd name="connsiteY1236" fmla="*/ 3065168 h 6377102"/>
              <a:gd name="connsiteX1237" fmla="*/ 4166330 w 6423456"/>
              <a:gd name="connsiteY1237" fmla="*/ 3081457 h 6377102"/>
              <a:gd name="connsiteX1238" fmla="*/ 4182618 w 6423456"/>
              <a:gd name="connsiteY1238" fmla="*/ 3097746 h 6377102"/>
              <a:gd name="connsiteX1239" fmla="*/ 4198907 w 6423456"/>
              <a:gd name="connsiteY1239" fmla="*/ 3081457 h 6377102"/>
              <a:gd name="connsiteX1240" fmla="*/ 4108939 w 6423456"/>
              <a:gd name="connsiteY1240" fmla="*/ 2937523 h 6377102"/>
              <a:gd name="connsiteX1241" fmla="*/ 4092117 w 6423456"/>
              <a:gd name="connsiteY1241" fmla="*/ 2920701 h 6377102"/>
              <a:gd name="connsiteX1242" fmla="*/ 4075296 w 6423456"/>
              <a:gd name="connsiteY1242" fmla="*/ 2937523 h 6377102"/>
              <a:gd name="connsiteX1243" fmla="*/ 4092117 w 6423456"/>
              <a:gd name="connsiteY1243" fmla="*/ 2954344 h 6377102"/>
              <a:gd name="connsiteX1244" fmla="*/ 4108939 w 6423456"/>
              <a:gd name="connsiteY1244" fmla="*/ 2937523 h 6377102"/>
              <a:gd name="connsiteX1245" fmla="*/ 4008543 w 6423456"/>
              <a:gd name="connsiteY1245" fmla="*/ 2800743 h 6377102"/>
              <a:gd name="connsiteX1246" fmla="*/ 3991188 w 6423456"/>
              <a:gd name="connsiteY1246" fmla="*/ 2783389 h 6377102"/>
              <a:gd name="connsiteX1247" fmla="*/ 3973834 w 6423456"/>
              <a:gd name="connsiteY1247" fmla="*/ 2800743 h 6377102"/>
              <a:gd name="connsiteX1248" fmla="*/ 3991188 w 6423456"/>
              <a:gd name="connsiteY1248" fmla="*/ 2818098 h 6377102"/>
              <a:gd name="connsiteX1249" fmla="*/ 4008543 w 6423456"/>
              <a:gd name="connsiteY1249" fmla="*/ 2800743 h 6377102"/>
              <a:gd name="connsiteX1250" fmla="*/ 3897643 w 6423456"/>
              <a:gd name="connsiteY1250" fmla="*/ 2671956 h 6377102"/>
              <a:gd name="connsiteX1251" fmla="*/ 3880288 w 6423456"/>
              <a:gd name="connsiteY1251" fmla="*/ 2654602 h 6377102"/>
              <a:gd name="connsiteX1252" fmla="*/ 3862934 w 6423456"/>
              <a:gd name="connsiteY1252" fmla="*/ 2671956 h 6377102"/>
              <a:gd name="connsiteX1253" fmla="*/ 3880288 w 6423456"/>
              <a:gd name="connsiteY1253" fmla="*/ 2689310 h 6377102"/>
              <a:gd name="connsiteX1254" fmla="*/ 3897643 w 6423456"/>
              <a:gd name="connsiteY1254" fmla="*/ 2671956 h 6377102"/>
              <a:gd name="connsiteX1255" fmla="*/ 3777456 w 6423456"/>
              <a:gd name="connsiteY1255" fmla="*/ 2551694 h 6377102"/>
              <a:gd name="connsiteX1256" fmla="*/ 3760102 w 6423456"/>
              <a:gd name="connsiteY1256" fmla="*/ 2534339 h 6377102"/>
              <a:gd name="connsiteX1257" fmla="*/ 3742748 w 6423456"/>
              <a:gd name="connsiteY1257" fmla="*/ 2551694 h 6377102"/>
              <a:gd name="connsiteX1258" fmla="*/ 3760102 w 6423456"/>
              <a:gd name="connsiteY1258" fmla="*/ 2569048 h 6377102"/>
              <a:gd name="connsiteX1259" fmla="*/ 3777456 w 6423456"/>
              <a:gd name="connsiteY1259" fmla="*/ 2551694 h 6377102"/>
              <a:gd name="connsiteX1260" fmla="*/ 3648592 w 6423456"/>
              <a:gd name="connsiteY1260" fmla="*/ 2440870 h 6377102"/>
              <a:gd name="connsiteX1261" fmla="*/ 3631239 w 6423456"/>
              <a:gd name="connsiteY1261" fmla="*/ 2423515 h 6377102"/>
              <a:gd name="connsiteX1262" fmla="*/ 3613884 w 6423456"/>
              <a:gd name="connsiteY1262" fmla="*/ 2440870 h 6377102"/>
              <a:gd name="connsiteX1263" fmla="*/ 3631239 w 6423456"/>
              <a:gd name="connsiteY1263" fmla="*/ 2458224 h 6377102"/>
              <a:gd name="connsiteX1264" fmla="*/ 3648592 w 6423456"/>
              <a:gd name="connsiteY1264" fmla="*/ 2440870 h 6377102"/>
              <a:gd name="connsiteX1265" fmla="*/ 3511357 w 6423456"/>
              <a:gd name="connsiteY1265" fmla="*/ 2339941 h 6377102"/>
              <a:gd name="connsiteX1266" fmla="*/ 3494535 w 6423456"/>
              <a:gd name="connsiteY1266" fmla="*/ 2323119 h 6377102"/>
              <a:gd name="connsiteX1267" fmla="*/ 3477714 w 6423456"/>
              <a:gd name="connsiteY1267" fmla="*/ 2339941 h 6377102"/>
              <a:gd name="connsiteX1268" fmla="*/ 3494535 w 6423456"/>
              <a:gd name="connsiteY1268" fmla="*/ 2356762 h 6377102"/>
              <a:gd name="connsiteX1269" fmla="*/ 3511357 w 6423456"/>
              <a:gd name="connsiteY1269" fmla="*/ 2339941 h 6377102"/>
              <a:gd name="connsiteX1270" fmla="*/ 3366890 w 6423456"/>
              <a:gd name="connsiteY1270" fmla="*/ 2249439 h 6377102"/>
              <a:gd name="connsiteX1271" fmla="*/ 3350601 w 6423456"/>
              <a:gd name="connsiteY1271" fmla="*/ 2233151 h 6377102"/>
              <a:gd name="connsiteX1272" fmla="*/ 3334312 w 6423456"/>
              <a:gd name="connsiteY1272" fmla="*/ 2249439 h 6377102"/>
              <a:gd name="connsiteX1273" fmla="*/ 3350601 w 6423456"/>
              <a:gd name="connsiteY1273" fmla="*/ 2265728 h 6377102"/>
              <a:gd name="connsiteX1274" fmla="*/ 3366890 w 6423456"/>
              <a:gd name="connsiteY1274" fmla="*/ 2249439 h 6377102"/>
              <a:gd name="connsiteX1275" fmla="*/ 3216029 w 6423456"/>
              <a:gd name="connsiteY1275" fmla="*/ 2170051 h 6377102"/>
              <a:gd name="connsiteX1276" fmla="*/ 3200273 w 6423456"/>
              <a:gd name="connsiteY1276" fmla="*/ 2154295 h 6377102"/>
              <a:gd name="connsiteX1277" fmla="*/ 3184517 w 6423456"/>
              <a:gd name="connsiteY1277" fmla="*/ 2170051 h 6377102"/>
              <a:gd name="connsiteX1278" fmla="*/ 3200273 w 6423456"/>
              <a:gd name="connsiteY1278" fmla="*/ 2185807 h 6377102"/>
              <a:gd name="connsiteX1279" fmla="*/ 3216029 w 6423456"/>
              <a:gd name="connsiteY1279" fmla="*/ 2170051 h 6377102"/>
              <a:gd name="connsiteX1280" fmla="*/ 3059687 w 6423456"/>
              <a:gd name="connsiteY1280" fmla="*/ 2102080 h 6377102"/>
              <a:gd name="connsiteX1281" fmla="*/ 3044464 w 6423456"/>
              <a:gd name="connsiteY1281" fmla="*/ 2086857 h 6377102"/>
              <a:gd name="connsiteX1282" fmla="*/ 3029241 w 6423456"/>
              <a:gd name="connsiteY1282" fmla="*/ 2102080 h 6377102"/>
              <a:gd name="connsiteX1283" fmla="*/ 3044464 w 6423456"/>
              <a:gd name="connsiteY1283" fmla="*/ 2117303 h 6377102"/>
              <a:gd name="connsiteX1284" fmla="*/ 3059687 w 6423456"/>
              <a:gd name="connsiteY1284" fmla="*/ 2102080 h 6377102"/>
              <a:gd name="connsiteX1285" fmla="*/ 2898247 w 6423456"/>
              <a:gd name="connsiteY1285" fmla="*/ 2045907 h 6377102"/>
              <a:gd name="connsiteX1286" fmla="*/ 2884089 w 6423456"/>
              <a:gd name="connsiteY1286" fmla="*/ 2031749 h 6377102"/>
              <a:gd name="connsiteX1287" fmla="*/ 2869932 w 6423456"/>
              <a:gd name="connsiteY1287" fmla="*/ 2045907 h 6377102"/>
              <a:gd name="connsiteX1288" fmla="*/ 2884089 w 6423456"/>
              <a:gd name="connsiteY1288" fmla="*/ 2060064 h 6377102"/>
              <a:gd name="connsiteX1289" fmla="*/ 2898247 w 6423456"/>
              <a:gd name="connsiteY1289" fmla="*/ 2045907 h 6377102"/>
              <a:gd name="connsiteX1290" fmla="*/ 2732924 w 6423456"/>
              <a:gd name="connsiteY1290" fmla="*/ 2001912 h 6377102"/>
              <a:gd name="connsiteX1291" fmla="*/ 2719833 w 6423456"/>
              <a:gd name="connsiteY1291" fmla="*/ 1988744 h 6377102"/>
              <a:gd name="connsiteX1292" fmla="*/ 2706664 w 6423456"/>
              <a:gd name="connsiteY1292" fmla="*/ 2001912 h 6377102"/>
              <a:gd name="connsiteX1293" fmla="*/ 2719833 w 6423456"/>
              <a:gd name="connsiteY1293" fmla="*/ 2015004 h 6377102"/>
              <a:gd name="connsiteX1294" fmla="*/ 2732924 w 6423456"/>
              <a:gd name="connsiteY1294" fmla="*/ 2001912 h 6377102"/>
              <a:gd name="connsiteX1295" fmla="*/ 2564862 w 6423456"/>
              <a:gd name="connsiteY1295" fmla="*/ 1970324 h 6377102"/>
              <a:gd name="connsiteX1296" fmla="*/ 2552759 w 6423456"/>
              <a:gd name="connsiteY1296" fmla="*/ 1958222 h 6377102"/>
              <a:gd name="connsiteX1297" fmla="*/ 2540657 w 6423456"/>
              <a:gd name="connsiteY1297" fmla="*/ 1970324 h 6377102"/>
              <a:gd name="connsiteX1298" fmla="*/ 2552759 w 6423456"/>
              <a:gd name="connsiteY1298" fmla="*/ 1982426 h 6377102"/>
              <a:gd name="connsiteX1299" fmla="*/ 2564862 w 6423456"/>
              <a:gd name="connsiteY1299" fmla="*/ 1970324 h 6377102"/>
              <a:gd name="connsiteX1300" fmla="*/ 2394363 w 6423456"/>
              <a:gd name="connsiteY1300" fmla="*/ 1951295 h 6377102"/>
              <a:gd name="connsiteX1301" fmla="*/ 2383859 w 6423456"/>
              <a:gd name="connsiteY1301" fmla="*/ 1940791 h 6377102"/>
              <a:gd name="connsiteX1302" fmla="*/ 2373355 w 6423456"/>
              <a:gd name="connsiteY1302" fmla="*/ 1951295 h 6377102"/>
              <a:gd name="connsiteX1303" fmla="*/ 2383859 w 6423456"/>
              <a:gd name="connsiteY1303" fmla="*/ 1961799 h 6377102"/>
              <a:gd name="connsiteX1304" fmla="*/ 2394363 w 6423456"/>
              <a:gd name="connsiteY1304" fmla="*/ 1951295 h 6377102"/>
              <a:gd name="connsiteX1305" fmla="*/ 2223483 w 6423456"/>
              <a:gd name="connsiteY1305" fmla="*/ 1944901 h 6377102"/>
              <a:gd name="connsiteX1306" fmla="*/ 2214045 w 6423456"/>
              <a:gd name="connsiteY1306" fmla="*/ 1935463 h 6377102"/>
              <a:gd name="connsiteX1307" fmla="*/ 2204607 w 6423456"/>
              <a:gd name="connsiteY1307" fmla="*/ 1944901 h 6377102"/>
              <a:gd name="connsiteX1308" fmla="*/ 2214045 w 6423456"/>
              <a:gd name="connsiteY1308" fmla="*/ 1954340 h 6377102"/>
              <a:gd name="connsiteX1309" fmla="*/ 2223483 w 6423456"/>
              <a:gd name="connsiteY1309" fmla="*/ 1944901 h 6377102"/>
              <a:gd name="connsiteX1310" fmla="*/ 2052528 w 6423456"/>
              <a:gd name="connsiteY1310" fmla="*/ 1951295 h 6377102"/>
              <a:gd name="connsiteX1311" fmla="*/ 2044156 w 6423456"/>
              <a:gd name="connsiteY1311" fmla="*/ 1942922 h 6377102"/>
              <a:gd name="connsiteX1312" fmla="*/ 2035707 w 6423456"/>
              <a:gd name="connsiteY1312" fmla="*/ 1951295 h 6377102"/>
              <a:gd name="connsiteX1313" fmla="*/ 2044156 w 6423456"/>
              <a:gd name="connsiteY1313" fmla="*/ 1959668 h 6377102"/>
              <a:gd name="connsiteX1314" fmla="*/ 2052528 w 6423456"/>
              <a:gd name="connsiteY1314" fmla="*/ 1951295 h 6377102"/>
              <a:gd name="connsiteX1315" fmla="*/ 1882030 w 6423456"/>
              <a:gd name="connsiteY1315" fmla="*/ 1970324 h 6377102"/>
              <a:gd name="connsiteX1316" fmla="*/ 1875180 w 6423456"/>
              <a:gd name="connsiteY1316" fmla="*/ 1963474 h 6377102"/>
              <a:gd name="connsiteX1317" fmla="*/ 1868329 w 6423456"/>
              <a:gd name="connsiteY1317" fmla="*/ 1970324 h 6377102"/>
              <a:gd name="connsiteX1318" fmla="*/ 1875180 w 6423456"/>
              <a:gd name="connsiteY1318" fmla="*/ 1977174 h 6377102"/>
              <a:gd name="connsiteX1319" fmla="*/ 1882030 w 6423456"/>
              <a:gd name="connsiteY1319" fmla="*/ 1970324 h 6377102"/>
              <a:gd name="connsiteX1320" fmla="*/ 1713967 w 6423456"/>
              <a:gd name="connsiteY1320" fmla="*/ 2001912 h 6377102"/>
              <a:gd name="connsiteX1321" fmla="*/ 1708182 w 6423456"/>
              <a:gd name="connsiteY1321" fmla="*/ 1996127 h 6377102"/>
              <a:gd name="connsiteX1322" fmla="*/ 1702397 w 6423456"/>
              <a:gd name="connsiteY1322" fmla="*/ 2001912 h 6377102"/>
              <a:gd name="connsiteX1323" fmla="*/ 1708182 w 6423456"/>
              <a:gd name="connsiteY1323" fmla="*/ 2007697 h 6377102"/>
              <a:gd name="connsiteX1324" fmla="*/ 1713967 w 6423456"/>
              <a:gd name="connsiteY1324" fmla="*/ 2001912 h 6377102"/>
              <a:gd name="connsiteX1325" fmla="*/ 1548720 w 6423456"/>
              <a:gd name="connsiteY1325" fmla="*/ 2045907 h 6377102"/>
              <a:gd name="connsiteX1326" fmla="*/ 1544001 w 6423456"/>
              <a:gd name="connsiteY1326" fmla="*/ 2041187 h 6377102"/>
              <a:gd name="connsiteX1327" fmla="*/ 1539282 w 6423456"/>
              <a:gd name="connsiteY1327" fmla="*/ 2045907 h 6377102"/>
              <a:gd name="connsiteX1328" fmla="*/ 1544001 w 6423456"/>
              <a:gd name="connsiteY1328" fmla="*/ 2050626 h 6377102"/>
              <a:gd name="connsiteX1329" fmla="*/ 1548720 w 6423456"/>
              <a:gd name="connsiteY1329" fmla="*/ 2045907 h 6377102"/>
              <a:gd name="connsiteX1330" fmla="*/ 1387204 w 6423456"/>
              <a:gd name="connsiteY1330" fmla="*/ 2102080 h 6377102"/>
              <a:gd name="connsiteX1331" fmla="*/ 1383550 w 6423456"/>
              <a:gd name="connsiteY1331" fmla="*/ 2098426 h 6377102"/>
              <a:gd name="connsiteX1332" fmla="*/ 1379896 w 6423456"/>
              <a:gd name="connsiteY1332" fmla="*/ 2102080 h 6377102"/>
              <a:gd name="connsiteX1333" fmla="*/ 1383550 w 6423456"/>
              <a:gd name="connsiteY1333" fmla="*/ 2105733 h 6377102"/>
              <a:gd name="connsiteX1334" fmla="*/ 1387204 w 6423456"/>
              <a:gd name="connsiteY1334" fmla="*/ 2102080 h 6377102"/>
              <a:gd name="connsiteX1335" fmla="*/ 1230329 w 6423456"/>
              <a:gd name="connsiteY1335" fmla="*/ 2170051 h 6377102"/>
              <a:gd name="connsiteX1336" fmla="*/ 1227742 w 6423456"/>
              <a:gd name="connsiteY1336" fmla="*/ 2167387 h 6377102"/>
              <a:gd name="connsiteX1337" fmla="*/ 1225077 w 6423456"/>
              <a:gd name="connsiteY1337" fmla="*/ 2170051 h 6377102"/>
              <a:gd name="connsiteX1338" fmla="*/ 1227742 w 6423456"/>
              <a:gd name="connsiteY1338" fmla="*/ 2172639 h 6377102"/>
              <a:gd name="connsiteX1339" fmla="*/ 1230329 w 6423456"/>
              <a:gd name="connsiteY1339" fmla="*/ 2170051 h 6377102"/>
              <a:gd name="connsiteX1340" fmla="*/ 1079545 w 6423456"/>
              <a:gd name="connsiteY1340" fmla="*/ 2249439 h 6377102"/>
              <a:gd name="connsiteX1341" fmla="*/ 1077414 w 6423456"/>
              <a:gd name="connsiteY1341" fmla="*/ 2247308 h 6377102"/>
              <a:gd name="connsiteX1342" fmla="*/ 1075282 w 6423456"/>
              <a:gd name="connsiteY1342" fmla="*/ 2249439 h 6377102"/>
              <a:gd name="connsiteX1343" fmla="*/ 1077414 w 6423456"/>
              <a:gd name="connsiteY1343" fmla="*/ 2251571 h 6377102"/>
              <a:gd name="connsiteX1344" fmla="*/ 1079545 w 6423456"/>
              <a:gd name="connsiteY1344" fmla="*/ 2249439 h 6377102"/>
              <a:gd name="connsiteX1345" fmla="*/ 934545 w 6423456"/>
              <a:gd name="connsiteY1345" fmla="*/ 2339941 h 6377102"/>
              <a:gd name="connsiteX1346" fmla="*/ 933479 w 6423456"/>
              <a:gd name="connsiteY1346" fmla="*/ 2338875 h 6377102"/>
              <a:gd name="connsiteX1347" fmla="*/ 932414 w 6423456"/>
              <a:gd name="connsiteY1347" fmla="*/ 2339941 h 6377102"/>
              <a:gd name="connsiteX1348" fmla="*/ 933479 w 6423456"/>
              <a:gd name="connsiteY1348" fmla="*/ 2341006 h 6377102"/>
              <a:gd name="connsiteX1349" fmla="*/ 934545 w 6423456"/>
              <a:gd name="connsiteY1349" fmla="*/ 2339941 h 6377102"/>
              <a:gd name="connsiteX1350" fmla="*/ 797766 w 6423456"/>
              <a:gd name="connsiteY1350" fmla="*/ 2440870 h 6377102"/>
              <a:gd name="connsiteX1351" fmla="*/ 796700 w 6423456"/>
              <a:gd name="connsiteY1351" fmla="*/ 2439804 h 6377102"/>
              <a:gd name="connsiteX1352" fmla="*/ 795634 w 6423456"/>
              <a:gd name="connsiteY1352" fmla="*/ 2440870 h 6377102"/>
              <a:gd name="connsiteX1353" fmla="*/ 796700 w 6423456"/>
              <a:gd name="connsiteY1353" fmla="*/ 2441935 h 6377102"/>
              <a:gd name="connsiteX1354" fmla="*/ 797766 w 6423456"/>
              <a:gd name="connsiteY1354" fmla="*/ 2440870 h 6377102"/>
              <a:gd name="connsiteX1355" fmla="*/ 668445 w 6423456"/>
              <a:gd name="connsiteY1355" fmla="*/ 2551694 h 6377102"/>
              <a:gd name="connsiteX1356" fmla="*/ 667913 w 6423456"/>
              <a:gd name="connsiteY1356" fmla="*/ 2551161 h 6377102"/>
              <a:gd name="connsiteX1357" fmla="*/ 667380 w 6423456"/>
              <a:gd name="connsiteY1357" fmla="*/ 2551694 h 6377102"/>
              <a:gd name="connsiteX1358" fmla="*/ 667913 w 6423456"/>
              <a:gd name="connsiteY1358" fmla="*/ 2552227 h 6377102"/>
              <a:gd name="connsiteX1359" fmla="*/ 668445 w 6423456"/>
              <a:gd name="connsiteY1359" fmla="*/ 2551694 h 6377102"/>
              <a:gd name="connsiteX1360" fmla="*/ 4029322 w 6423456"/>
              <a:gd name="connsiteY1360" fmla="*/ 5882581 h 6377102"/>
              <a:gd name="connsiteX1361" fmla="*/ 4028789 w 6423456"/>
              <a:gd name="connsiteY1361" fmla="*/ 5882048 h 6377102"/>
              <a:gd name="connsiteX1362" fmla="*/ 4028256 w 6423456"/>
              <a:gd name="connsiteY1362" fmla="*/ 5882581 h 6377102"/>
              <a:gd name="connsiteX1363" fmla="*/ 4028789 w 6423456"/>
              <a:gd name="connsiteY1363" fmla="*/ 5883114 h 6377102"/>
              <a:gd name="connsiteX1364" fmla="*/ 4029322 w 6423456"/>
              <a:gd name="connsiteY1364" fmla="*/ 5882581 h 6377102"/>
              <a:gd name="connsiteX1365" fmla="*/ 4140375 w 6423456"/>
              <a:gd name="connsiteY1365" fmla="*/ 5753413 h 6377102"/>
              <a:gd name="connsiteX1366" fmla="*/ 4139309 w 6423456"/>
              <a:gd name="connsiteY1366" fmla="*/ 5752348 h 6377102"/>
              <a:gd name="connsiteX1367" fmla="*/ 4138243 w 6423456"/>
              <a:gd name="connsiteY1367" fmla="*/ 5753413 h 6377102"/>
              <a:gd name="connsiteX1368" fmla="*/ 4139309 w 6423456"/>
              <a:gd name="connsiteY1368" fmla="*/ 5754479 h 6377102"/>
              <a:gd name="connsiteX1369" fmla="*/ 4140375 w 6423456"/>
              <a:gd name="connsiteY1369" fmla="*/ 5753413 h 6377102"/>
              <a:gd name="connsiteX1370" fmla="*/ 4241684 w 6423456"/>
              <a:gd name="connsiteY1370" fmla="*/ 5616938 h 6377102"/>
              <a:gd name="connsiteX1371" fmla="*/ 4240618 w 6423456"/>
              <a:gd name="connsiteY1371" fmla="*/ 5615873 h 6377102"/>
              <a:gd name="connsiteX1372" fmla="*/ 4239553 w 6423456"/>
              <a:gd name="connsiteY1372" fmla="*/ 5616938 h 6377102"/>
              <a:gd name="connsiteX1373" fmla="*/ 4240618 w 6423456"/>
              <a:gd name="connsiteY1373" fmla="*/ 5618004 h 6377102"/>
              <a:gd name="connsiteX1374" fmla="*/ 4241684 w 6423456"/>
              <a:gd name="connsiteY1374" fmla="*/ 5616938 h 6377102"/>
              <a:gd name="connsiteX1375" fmla="*/ 4334469 w 6423456"/>
              <a:gd name="connsiteY1375" fmla="*/ 5473765 h 6377102"/>
              <a:gd name="connsiteX1376" fmla="*/ 4332338 w 6423456"/>
              <a:gd name="connsiteY1376" fmla="*/ 5471634 h 6377102"/>
              <a:gd name="connsiteX1377" fmla="*/ 4330206 w 6423456"/>
              <a:gd name="connsiteY1377" fmla="*/ 5473765 h 6377102"/>
              <a:gd name="connsiteX1378" fmla="*/ 4332338 w 6423456"/>
              <a:gd name="connsiteY1378" fmla="*/ 5475896 h 6377102"/>
              <a:gd name="connsiteX1379" fmla="*/ 4334469 w 6423456"/>
              <a:gd name="connsiteY1379" fmla="*/ 5473765 h 6377102"/>
              <a:gd name="connsiteX1380" fmla="*/ 4417054 w 6423456"/>
              <a:gd name="connsiteY1380" fmla="*/ 5324655 h 6377102"/>
              <a:gd name="connsiteX1381" fmla="*/ 4413933 w 6423456"/>
              <a:gd name="connsiteY1381" fmla="*/ 5321534 h 6377102"/>
              <a:gd name="connsiteX1382" fmla="*/ 4410736 w 6423456"/>
              <a:gd name="connsiteY1382" fmla="*/ 5324655 h 6377102"/>
              <a:gd name="connsiteX1383" fmla="*/ 4413933 w 6423456"/>
              <a:gd name="connsiteY1383" fmla="*/ 5327775 h 6377102"/>
              <a:gd name="connsiteX1384" fmla="*/ 4417054 w 6423456"/>
              <a:gd name="connsiteY1384" fmla="*/ 5324655 h 6377102"/>
              <a:gd name="connsiteX1385" fmla="*/ 4489212 w 6423456"/>
              <a:gd name="connsiteY1385" fmla="*/ 5170217 h 6377102"/>
              <a:gd name="connsiteX1386" fmla="*/ 4485025 w 6423456"/>
              <a:gd name="connsiteY1386" fmla="*/ 5166030 h 6377102"/>
              <a:gd name="connsiteX1387" fmla="*/ 4480839 w 6423456"/>
              <a:gd name="connsiteY1387" fmla="*/ 5170217 h 6377102"/>
              <a:gd name="connsiteX1388" fmla="*/ 4485025 w 6423456"/>
              <a:gd name="connsiteY1388" fmla="*/ 5174403 h 6377102"/>
              <a:gd name="connsiteX1389" fmla="*/ 4489212 w 6423456"/>
              <a:gd name="connsiteY1389" fmla="*/ 5170217 h 6377102"/>
              <a:gd name="connsiteX1390" fmla="*/ 4550028 w 6423456"/>
              <a:gd name="connsiteY1390" fmla="*/ 5011288 h 6377102"/>
              <a:gd name="connsiteX1391" fmla="*/ 4545309 w 6423456"/>
              <a:gd name="connsiteY1391" fmla="*/ 5006569 h 6377102"/>
              <a:gd name="connsiteX1392" fmla="*/ 4540590 w 6423456"/>
              <a:gd name="connsiteY1392" fmla="*/ 5011288 h 6377102"/>
              <a:gd name="connsiteX1393" fmla="*/ 4545309 w 6423456"/>
              <a:gd name="connsiteY1393" fmla="*/ 5016007 h 6377102"/>
              <a:gd name="connsiteX1394" fmla="*/ 4550028 w 6423456"/>
              <a:gd name="connsiteY1394" fmla="*/ 5011288 h 6377102"/>
              <a:gd name="connsiteX1395" fmla="*/ 4600797 w 6423456"/>
              <a:gd name="connsiteY1395" fmla="*/ 4848553 h 6377102"/>
              <a:gd name="connsiteX1396" fmla="*/ 4594479 w 6423456"/>
              <a:gd name="connsiteY1396" fmla="*/ 4842235 h 6377102"/>
              <a:gd name="connsiteX1397" fmla="*/ 4588162 w 6423456"/>
              <a:gd name="connsiteY1397" fmla="*/ 4848553 h 6377102"/>
              <a:gd name="connsiteX1398" fmla="*/ 4594479 w 6423456"/>
              <a:gd name="connsiteY1398" fmla="*/ 4854871 h 6377102"/>
              <a:gd name="connsiteX1399" fmla="*/ 4600797 w 6423456"/>
              <a:gd name="connsiteY1399" fmla="*/ 4848553 h 6377102"/>
              <a:gd name="connsiteX1400" fmla="*/ 4639692 w 6423456"/>
              <a:gd name="connsiteY1400" fmla="*/ 4682850 h 6377102"/>
              <a:gd name="connsiteX1401" fmla="*/ 4632309 w 6423456"/>
              <a:gd name="connsiteY1401" fmla="*/ 4675467 h 6377102"/>
              <a:gd name="connsiteX1402" fmla="*/ 4624925 w 6423456"/>
              <a:gd name="connsiteY1402" fmla="*/ 4682850 h 6377102"/>
              <a:gd name="connsiteX1403" fmla="*/ 4632309 w 6423456"/>
              <a:gd name="connsiteY1403" fmla="*/ 4690233 h 6377102"/>
              <a:gd name="connsiteX1404" fmla="*/ 4639692 w 6423456"/>
              <a:gd name="connsiteY1404" fmla="*/ 4682850 h 6377102"/>
              <a:gd name="connsiteX1405" fmla="*/ 4667017 w 6423456"/>
              <a:gd name="connsiteY1405" fmla="*/ 4514863 h 6377102"/>
              <a:gd name="connsiteX1406" fmla="*/ 4658645 w 6423456"/>
              <a:gd name="connsiteY1406" fmla="*/ 4506490 h 6377102"/>
              <a:gd name="connsiteX1407" fmla="*/ 4650196 w 6423456"/>
              <a:gd name="connsiteY1407" fmla="*/ 4514863 h 6377102"/>
              <a:gd name="connsiteX1408" fmla="*/ 4658645 w 6423456"/>
              <a:gd name="connsiteY1408" fmla="*/ 4523236 h 6377102"/>
              <a:gd name="connsiteX1409" fmla="*/ 4667017 w 6423456"/>
              <a:gd name="connsiteY1409" fmla="*/ 4514863 h 6377102"/>
              <a:gd name="connsiteX1410" fmla="*/ 4683230 w 6423456"/>
              <a:gd name="connsiteY1410" fmla="*/ 4345506 h 6377102"/>
              <a:gd name="connsiteX1411" fmla="*/ 4673259 w 6423456"/>
              <a:gd name="connsiteY1411" fmla="*/ 4335535 h 6377102"/>
              <a:gd name="connsiteX1412" fmla="*/ 4663288 w 6423456"/>
              <a:gd name="connsiteY1412" fmla="*/ 4345506 h 6377102"/>
              <a:gd name="connsiteX1413" fmla="*/ 4673259 w 6423456"/>
              <a:gd name="connsiteY1413" fmla="*/ 4355477 h 6377102"/>
              <a:gd name="connsiteX1414" fmla="*/ 4683230 w 6423456"/>
              <a:gd name="connsiteY1414" fmla="*/ 4345506 h 6377102"/>
              <a:gd name="connsiteX1415" fmla="*/ 4687264 w 6423456"/>
              <a:gd name="connsiteY1415" fmla="*/ 4175540 h 6377102"/>
              <a:gd name="connsiteX1416" fmla="*/ 4676227 w 6423456"/>
              <a:gd name="connsiteY1416" fmla="*/ 4164504 h 6377102"/>
              <a:gd name="connsiteX1417" fmla="*/ 4665191 w 6423456"/>
              <a:gd name="connsiteY1417" fmla="*/ 4175540 h 6377102"/>
              <a:gd name="connsiteX1418" fmla="*/ 4676227 w 6423456"/>
              <a:gd name="connsiteY1418" fmla="*/ 4186577 h 6377102"/>
              <a:gd name="connsiteX1419" fmla="*/ 4687264 w 6423456"/>
              <a:gd name="connsiteY1419" fmla="*/ 4175540 h 6377102"/>
              <a:gd name="connsiteX1420" fmla="*/ 4680033 w 6423456"/>
              <a:gd name="connsiteY1420" fmla="*/ 4005803 h 6377102"/>
              <a:gd name="connsiteX1421" fmla="*/ 4667398 w 6423456"/>
              <a:gd name="connsiteY1421" fmla="*/ 3993168 h 6377102"/>
              <a:gd name="connsiteX1422" fmla="*/ 4654763 w 6423456"/>
              <a:gd name="connsiteY1422" fmla="*/ 4005803 h 6377102"/>
              <a:gd name="connsiteX1423" fmla="*/ 4667398 w 6423456"/>
              <a:gd name="connsiteY1423" fmla="*/ 4018438 h 6377102"/>
              <a:gd name="connsiteX1424" fmla="*/ 4680033 w 6423456"/>
              <a:gd name="connsiteY1424" fmla="*/ 4005803 h 6377102"/>
              <a:gd name="connsiteX1425" fmla="*/ 4660548 w 6423456"/>
              <a:gd name="connsiteY1425" fmla="*/ 3837055 h 6377102"/>
              <a:gd name="connsiteX1426" fmla="*/ 4646923 w 6423456"/>
              <a:gd name="connsiteY1426" fmla="*/ 3823354 h 6377102"/>
              <a:gd name="connsiteX1427" fmla="*/ 4633299 w 6423456"/>
              <a:gd name="connsiteY1427" fmla="*/ 3837055 h 6377102"/>
              <a:gd name="connsiteX1428" fmla="*/ 4646923 w 6423456"/>
              <a:gd name="connsiteY1428" fmla="*/ 3850680 h 6377102"/>
              <a:gd name="connsiteX1429" fmla="*/ 4660548 w 6423456"/>
              <a:gd name="connsiteY1429" fmla="*/ 3837055 h 6377102"/>
              <a:gd name="connsiteX1430" fmla="*/ 4630025 w 6423456"/>
              <a:gd name="connsiteY1430" fmla="*/ 3670058 h 6377102"/>
              <a:gd name="connsiteX1431" fmla="*/ 4614802 w 6423456"/>
              <a:gd name="connsiteY1431" fmla="*/ 3654835 h 6377102"/>
              <a:gd name="connsiteX1432" fmla="*/ 4599579 w 6423456"/>
              <a:gd name="connsiteY1432" fmla="*/ 3670058 h 6377102"/>
              <a:gd name="connsiteX1433" fmla="*/ 4614802 w 6423456"/>
              <a:gd name="connsiteY1433" fmla="*/ 3685281 h 6377102"/>
              <a:gd name="connsiteX1434" fmla="*/ 4630025 w 6423456"/>
              <a:gd name="connsiteY1434" fmla="*/ 3670058 h 6377102"/>
              <a:gd name="connsiteX1435" fmla="*/ 4587553 w 6423456"/>
              <a:gd name="connsiteY1435" fmla="*/ 3505724 h 6377102"/>
              <a:gd name="connsiteX1436" fmla="*/ 4571264 w 6423456"/>
              <a:gd name="connsiteY1436" fmla="*/ 3489436 h 6377102"/>
              <a:gd name="connsiteX1437" fmla="*/ 4554976 w 6423456"/>
              <a:gd name="connsiteY1437" fmla="*/ 3505724 h 6377102"/>
              <a:gd name="connsiteX1438" fmla="*/ 4571264 w 6423456"/>
              <a:gd name="connsiteY1438" fmla="*/ 3522013 h 6377102"/>
              <a:gd name="connsiteX1439" fmla="*/ 4587553 w 6423456"/>
              <a:gd name="connsiteY1439" fmla="*/ 3505724 h 6377102"/>
              <a:gd name="connsiteX1440" fmla="*/ 4533891 w 6423456"/>
              <a:gd name="connsiteY1440" fmla="*/ 3344817 h 6377102"/>
              <a:gd name="connsiteX1441" fmla="*/ 4516537 w 6423456"/>
              <a:gd name="connsiteY1441" fmla="*/ 3327462 h 6377102"/>
              <a:gd name="connsiteX1442" fmla="*/ 4499182 w 6423456"/>
              <a:gd name="connsiteY1442" fmla="*/ 3344817 h 6377102"/>
              <a:gd name="connsiteX1443" fmla="*/ 4516537 w 6423456"/>
              <a:gd name="connsiteY1443" fmla="*/ 3362171 h 6377102"/>
              <a:gd name="connsiteX1444" fmla="*/ 4533891 w 6423456"/>
              <a:gd name="connsiteY1444" fmla="*/ 3344817 h 6377102"/>
              <a:gd name="connsiteX1445" fmla="*/ 4469193 w 6423456"/>
              <a:gd name="connsiteY1445" fmla="*/ 3188019 h 6377102"/>
              <a:gd name="connsiteX1446" fmla="*/ 4450773 w 6423456"/>
              <a:gd name="connsiteY1446" fmla="*/ 3169599 h 6377102"/>
              <a:gd name="connsiteX1447" fmla="*/ 4432430 w 6423456"/>
              <a:gd name="connsiteY1447" fmla="*/ 3188019 h 6377102"/>
              <a:gd name="connsiteX1448" fmla="*/ 4450773 w 6423456"/>
              <a:gd name="connsiteY1448" fmla="*/ 3206439 h 6377102"/>
              <a:gd name="connsiteX1449" fmla="*/ 4469193 w 6423456"/>
              <a:gd name="connsiteY1449" fmla="*/ 3188019 h 6377102"/>
              <a:gd name="connsiteX1450" fmla="*/ 4393306 w 6423456"/>
              <a:gd name="connsiteY1450" fmla="*/ 3036168 h 6377102"/>
              <a:gd name="connsiteX1451" fmla="*/ 4374430 w 6423456"/>
              <a:gd name="connsiteY1451" fmla="*/ 3017292 h 6377102"/>
              <a:gd name="connsiteX1452" fmla="*/ 4355477 w 6423456"/>
              <a:gd name="connsiteY1452" fmla="*/ 3036168 h 6377102"/>
              <a:gd name="connsiteX1453" fmla="*/ 4374430 w 6423456"/>
              <a:gd name="connsiteY1453" fmla="*/ 3055045 h 6377102"/>
              <a:gd name="connsiteX1454" fmla="*/ 4393306 w 6423456"/>
              <a:gd name="connsiteY1454" fmla="*/ 3036168 h 6377102"/>
              <a:gd name="connsiteX1455" fmla="*/ 4307143 w 6423456"/>
              <a:gd name="connsiteY1455" fmla="*/ 2889951 h 6377102"/>
              <a:gd name="connsiteX1456" fmla="*/ 4287734 w 6423456"/>
              <a:gd name="connsiteY1456" fmla="*/ 2870541 h 6377102"/>
              <a:gd name="connsiteX1457" fmla="*/ 4268325 w 6423456"/>
              <a:gd name="connsiteY1457" fmla="*/ 2889951 h 6377102"/>
              <a:gd name="connsiteX1458" fmla="*/ 4287734 w 6423456"/>
              <a:gd name="connsiteY1458" fmla="*/ 2909360 h 6377102"/>
              <a:gd name="connsiteX1459" fmla="*/ 4307143 w 6423456"/>
              <a:gd name="connsiteY1459" fmla="*/ 2889951 h 6377102"/>
              <a:gd name="connsiteX1460" fmla="*/ 4211162 w 6423456"/>
              <a:gd name="connsiteY1460" fmla="*/ 2750050 h 6377102"/>
              <a:gd name="connsiteX1461" fmla="*/ 4191220 w 6423456"/>
              <a:gd name="connsiteY1461" fmla="*/ 2730108 h 6377102"/>
              <a:gd name="connsiteX1462" fmla="*/ 4171277 w 6423456"/>
              <a:gd name="connsiteY1462" fmla="*/ 2750050 h 6377102"/>
              <a:gd name="connsiteX1463" fmla="*/ 4191220 w 6423456"/>
              <a:gd name="connsiteY1463" fmla="*/ 2769993 h 6377102"/>
              <a:gd name="connsiteX1464" fmla="*/ 4211162 w 6423456"/>
              <a:gd name="connsiteY1464" fmla="*/ 2750050 h 6377102"/>
              <a:gd name="connsiteX1465" fmla="*/ 4105666 w 6423456"/>
              <a:gd name="connsiteY1465" fmla="*/ 2617153 h 6377102"/>
              <a:gd name="connsiteX1466" fmla="*/ 4085191 w 6423456"/>
              <a:gd name="connsiteY1466" fmla="*/ 2596678 h 6377102"/>
              <a:gd name="connsiteX1467" fmla="*/ 4064716 w 6423456"/>
              <a:gd name="connsiteY1467" fmla="*/ 2617153 h 6377102"/>
              <a:gd name="connsiteX1468" fmla="*/ 4085191 w 6423456"/>
              <a:gd name="connsiteY1468" fmla="*/ 2637628 h 6377102"/>
              <a:gd name="connsiteX1469" fmla="*/ 4105666 w 6423456"/>
              <a:gd name="connsiteY1469" fmla="*/ 2617153 h 6377102"/>
              <a:gd name="connsiteX1470" fmla="*/ 3990732 w 6423456"/>
              <a:gd name="connsiteY1470" fmla="*/ 2491867 h 6377102"/>
              <a:gd name="connsiteX1471" fmla="*/ 3970256 w 6423456"/>
              <a:gd name="connsiteY1471" fmla="*/ 2471392 h 6377102"/>
              <a:gd name="connsiteX1472" fmla="*/ 3949782 w 6423456"/>
              <a:gd name="connsiteY1472" fmla="*/ 2491867 h 6377102"/>
              <a:gd name="connsiteX1473" fmla="*/ 3970256 w 6423456"/>
              <a:gd name="connsiteY1473" fmla="*/ 2512342 h 6377102"/>
              <a:gd name="connsiteX1474" fmla="*/ 3990732 w 6423456"/>
              <a:gd name="connsiteY1474" fmla="*/ 2491867 h 6377102"/>
              <a:gd name="connsiteX1475" fmla="*/ 3867500 w 6423456"/>
              <a:gd name="connsiteY1475" fmla="*/ 2374802 h 6377102"/>
              <a:gd name="connsiteX1476" fmla="*/ 3847026 w 6423456"/>
              <a:gd name="connsiteY1476" fmla="*/ 2354326 h 6377102"/>
              <a:gd name="connsiteX1477" fmla="*/ 3826550 w 6423456"/>
              <a:gd name="connsiteY1477" fmla="*/ 2374802 h 6377102"/>
              <a:gd name="connsiteX1478" fmla="*/ 3847026 w 6423456"/>
              <a:gd name="connsiteY1478" fmla="*/ 2395277 h 6377102"/>
              <a:gd name="connsiteX1479" fmla="*/ 3867500 w 6423456"/>
              <a:gd name="connsiteY1479" fmla="*/ 2374802 h 6377102"/>
              <a:gd name="connsiteX1480" fmla="*/ 3735897 w 6423456"/>
              <a:gd name="connsiteY1480" fmla="*/ 2266565 h 6377102"/>
              <a:gd name="connsiteX1481" fmla="*/ 3715955 w 6423456"/>
              <a:gd name="connsiteY1481" fmla="*/ 2246623 h 6377102"/>
              <a:gd name="connsiteX1482" fmla="*/ 3696013 w 6423456"/>
              <a:gd name="connsiteY1482" fmla="*/ 2266565 h 6377102"/>
              <a:gd name="connsiteX1483" fmla="*/ 3715955 w 6423456"/>
              <a:gd name="connsiteY1483" fmla="*/ 2286508 h 6377102"/>
              <a:gd name="connsiteX1484" fmla="*/ 3735897 w 6423456"/>
              <a:gd name="connsiteY1484" fmla="*/ 2266565 h 6377102"/>
              <a:gd name="connsiteX1485" fmla="*/ 3597139 w 6423456"/>
              <a:gd name="connsiteY1485" fmla="*/ 2167539 h 6377102"/>
              <a:gd name="connsiteX1486" fmla="*/ 3577729 w 6423456"/>
              <a:gd name="connsiteY1486" fmla="*/ 2148130 h 6377102"/>
              <a:gd name="connsiteX1487" fmla="*/ 3558320 w 6423456"/>
              <a:gd name="connsiteY1487" fmla="*/ 2167539 h 6377102"/>
              <a:gd name="connsiteX1488" fmla="*/ 3577729 w 6423456"/>
              <a:gd name="connsiteY1488" fmla="*/ 2186948 h 6377102"/>
              <a:gd name="connsiteX1489" fmla="*/ 3597139 w 6423456"/>
              <a:gd name="connsiteY1489" fmla="*/ 2167539 h 6377102"/>
              <a:gd name="connsiteX1490" fmla="*/ 3451910 w 6423456"/>
              <a:gd name="connsiteY1490" fmla="*/ 2078332 h 6377102"/>
              <a:gd name="connsiteX1491" fmla="*/ 3433034 w 6423456"/>
              <a:gd name="connsiteY1491" fmla="*/ 2059455 h 6377102"/>
              <a:gd name="connsiteX1492" fmla="*/ 3414157 w 6423456"/>
              <a:gd name="connsiteY1492" fmla="*/ 2078332 h 6377102"/>
              <a:gd name="connsiteX1493" fmla="*/ 3433034 w 6423456"/>
              <a:gd name="connsiteY1493" fmla="*/ 2097285 h 6377102"/>
              <a:gd name="connsiteX1494" fmla="*/ 3451910 w 6423456"/>
              <a:gd name="connsiteY1494" fmla="*/ 2078332 h 6377102"/>
              <a:gd name="connsiteX1495" fmla="*/ 3300821 w 6423456"/>
              <a:gd name="connsiteY1495" fmla="*/ 1999324 h 6377102"/>
              <a:gd name="connsiteX1496" fmla="*/ 3282401 w 6423456"/>
              <a:gd name="connsiteY1496" fmla="*/ 1980904 h 6377102"/>
              <a:gd name="connsiteX1497" fmla="*/ 3264058 w 6423456"/>
              <a:gd name="connsiteY1497" fmla="*/ 1999324 h 6377102"/>
              <a:gd name="connsiteX1498" fmla="*/ 3282401 w 6423456"/>
              <a:gd name="connsiteY1498" fmla="*/ 2017744 h 6377102"/>
              <a:gd name="connsiteX1499" fmla="*/ 3300821 w 6423456"/>
              <a:gd name="connsiteY1499" fmla="*/ 1999324 h 6377102"/>
              <a:gd name="connsiteX1500" fmla="*/ 3144176 w 6423456"/>
              <a:gd name="connsiteY1500" fmla="*/ 1930972 h 6377102"/>
              <a:gd name="connsiteX1501" fmla="*/ 3126822 w 6423456"/>
              <a:gd name="connsiteY1501" fmla="*/ 1913618 h 6377102"/>
              <a:gd name="connsiteX1502" fmla="*/ 3109467 w 6423456"/>
              <a:gd name="connsiteY1502" fmla="*/ 1930972 h 6377102"/>
              <a:gd name="connsiteX1503" fmla="*/ 3126822 w 6423456"/>
              <a:gd name="connsiteY1503" fmla="*/ 1948327 h 6377102"/>
              <a:gd name="connsiteX1504" fmla="*/ 3144176 w 6423456"/>
              <a:gd name="connsiteY1504" fmla="*/ 1930972 h 6377102"/>
              <a:gd name="connsiteX1505" fmla="*/ 2983192 w 6423456"/>
              <a:gd name="connsiteY1505" fmla="*/ 1873429 h 6377102"/>
              <a:gd name="connsiteX1506" fmla="*/ 2966903 w 6423456"/>
              <a:gd name="connsiteY1506" fmla="*/ 1857140 h 6377102"/>
              <a:gd name="connsiteX1507" fmla="*/ 2950614 w 6423456"/>
              <a:gd name="connsiteY1507" fmla="*/ 1873429 h 6377102"/>
              <a:gd name="connsiteX1508" fmla="*/ 2966903 w 6423456"/>
              <a:gd name="connsiteY1508" fmla="*/ 1889718 h 6377102"/>
              <a:gd name="connsiteX1509" fmla="*/ 2983192 w 6423456"/>
              <a:gd name="connsiteY1509" fmla="*/ 1873429 h 6377102"/>
              <a:gd name="connsiteX1510" fmla="*/ 2818554 w 6423456"/>
              <a:gd name="connsiteY1510" fmla="*/ 1827075 h 6377102"/>
              <a:gd name="connsiteX1511" fmla="*/ 2803331 w 6423456"/>
              <a:gd name="connsiteY1511" fmla="*/ 1811852 h 6377102"/>
              <a:gd name="connsiteX1512" fmla="*/ 2788108 w 6423456"/>
              <a:gd name="connsiteY1512" fmla="*/ 1827075 h 6377102"/>
              <a:gd name="connsiteX1513" fmla="*/ 2803331 w 6423456"/>
              <a:gd name="connsiteY1513" fmla="*/ 1842298 h 6377102"/>
              <a:gd name="connsiteX1514" fmla="*/ 2818554 w 6423456"/>
              <a:gd name="connsiteY1514" fmla="*/ 1827075 h 6377102"/>
              <a:gd name="connsiteX1515" fmla="*/ 2651176 w 6423456"/>
              <a:gd name="connsiteY1515" fmla="*/ 1792062 h 6377102"/>
              <a:gd name="connsiteX1516" fmla="*/ 2637019 w 6423456"/>
              <a:gd name="connsiteY1516" fmla="*/ 1777904 h 6377102"/>
              <a:gd name="connsiteX1517" fmla="*/ 2622862 w 6423456"/>
              <a:gd name="connsiteY1517" fmla="*/ 1792062 h 6377102"/>
              <a:gd name="connsiteX1518" fmla="*/ 2637019 w 6423456"/>
              <a:gd name="connsiteY1518" fmla="*/ 1806219 h 6377102"/>
              <a:gd name="connsiteX1519" fmla="*/ 2651176 w 6423456"/>
              <a:gd name="connsiteY1519" fmla="*/ 1792062 h 6377102"/>
              <a:gd name="connsiteX1520" fmla="*/ 2481743 w 6423456"/>
              <a:gd name="connsiteY1520" fmla="*/ 1768694 h 6377102"/>
              <a:gd name="connsiteX1521" fmla="*/ 2468652 w 6423456"/>
              <a:gd name="connsiteY1521" fmla="*/ 1755602 h 6377102"/>
              <a:gd name="connsiteX1522" fmla="*/ 2455483 w 6423456"/>
              <a:gd name="connsiteY1522" fmla="*/ 1768694 h 6377102"/>
              <a:gd name="connsiteX1523" fmla="*/ 2468652 w 6423456"/>
              <a:gd name="connsiteY1523" fmla="*/ 1781862 h 6377102"/>
              <a:gd name="connsiteX1524" fmla="*/ 2481743 w 6423456"/>
              <a:gd name="connsiteY1524" fmla="*/ 1768694 h 6377102"/>
              <a:gd name="connsiteX1525" fmla="*/ 2310560 w 6423456"/>
              <a:gd name="connsiteY1525" fmla="*/ 1756972 h 6377102"/>
              <a:gd name="connsiteX1526" fmla="*/ 2298990 w 6423456"/>
              <a:gd name="connsiteY1526" fmla="*/ 1745403 h 6377102"/>
              <a:gd name="connsiteX1527" fmla="*/ 2287421 w 6423456"/>
              <a:gd name="connsiteY1527" fmla="*/ 1756972 h 6377102"/>
              <a:gd name="connsiteX1528" fmla="*/ 2298990 w 6423456"/>
              <a:gd name="connsiteY1528" fmla="*/ 1768542 h 6377102"/>
              <a:gd name="connsiteX1529" fmla="*/ 2310560 w 6423456"/>
              <a:gd name="connsiteY1529" fmla="*/ 1756972 h 6377102"/>
              <a:gd name="connsiteX1530" fmla="*/ 2138995 w 6423456"/>
              <a:gd name="connsiteY1530" fmla="*/ 1756972 h 6377102"/>
              <a:gd name="connsiteX1531" fmla="*/ 2129025 w 6423456"/>
              <a:gd name="connsiteY1531" fmla="*/ 1747001 h 6377102"/>
              <a:gd name="connsiteX1532" fmla="*/ 2119053 w 6423456"/>
              <a:gd name="connsiteY1532" fmla="*/ 1756972 h 6377102"/>
              <a:gd name="connsiteX1533" fmla="*/ 2129025 w 6423456"/>
              <a:gd name="connsiteY1533" fmla="*/ 1766944 h 6377102"/>
              <a:gd name="connsiteX1534" fmla="*/ 2138995 w 6423456"/>
              <a:gd name="connsiteY1534" fmla="*/ 1756972 h 6377102"/>
              <a:gd name="connsiteX1535" fmla="*/ 1968345 w 6423456"/>
              <a:gd name="connsiteY1535" fmla="*/ 1768694 h 6377102"/>
              <a:gd name="connsiteX1536" fmla="*/ 1959439 w 6423456"/>
              <a:gd name="connsiteY1536" fmla="*/ 1759789 h 6377102"/>
              <a:gd name="connsiteX1537" fmla="*/ 1950534 w 6423456"/>
              <a:gd name="connsiteY1537" fmla="*/ 1768694 h 6377102"/>
              <a:gd name="connsiteX1538" fmla="*/ 1959439 w 6423456"/>
              <a:gd name="connsiteY1538" fmla="*/ 1777600 h 6377102"/>
              <a:gd name="connsiteX1539" fmla="*/ 1968345 w 6423456"/>
              <a:gd name="connsiteY1539" fmla="*/ 1768694 h 6377102"/>
              <a:gd name="connsiteX1540" fmla="*/ 1798379 w 6423456"/>
              <a:gd name="connsiteY1540" fmla="*/ 1792062 h 6377102"/>
              <a:gd name="connsiteX1541" fmla="*/ 1790996 w 6423456"/>
              <a:gd name="connsiteY1541" fmla="*/ 1784678 h 6377102"/>
              <a:gd name="connsiteX1542" fmla="*/ 1783612 w 6423456"/>
              <a:gd name="connsiteY1542" fmla="*/ 1792062 h 6377102"/>
              <a:gd name="connsiteX1543" fmla="*/ 1790996 w 6423456"/>
              <a:gd name="connsiteY1543" fmla="*/ 1799445 h 6377102"/>
              <a:gd name="connsiteX1544" fmla="*/ 1798379 w 6423456"/>
              <a:gd name="connsiteY1544" fmla="*/ 1792062 h 6377102"/>
              <a:gd name="connsiteX1545" fmla="*/ 1631001 w 6423456"/>
              <a:gd name="connsiteY1545" fmla="*/ 1827075 h 6377102"/>
              <a:gd name="connsiteX1546" fmla="*/ 1624683 w 6423456"/>
              <a:gd name="connsiteY1546" fmla="*/ 1820757 h 6377102"/>
              <a:gd name="connsiteX1547" fmla="*/ 1618366 w 6423456"/>
              <a:gd name="connsiteY1547" fmla="*/ 1827075 h 6377102"/>
              <a:gd name="connsiteX1548" fmla="*/ 1624683 w 6423456"/>
              <a:gd name="connsiteY1548" fmla="*/ 1833392 h 6377102"/>
              <a:gd name="connsiteX1549" fmla="*/ 1631001 w 6423456"/>
              <a:gd name="connsiteY1549" fmla="*/ 1827075 h 6377102"/>
              <a:gd name="connsiteX1550" fmla="*/ 1466363 w 6423456"/>
              <a:gd name="connsiteY1550" fmla="*/ 1873429 h 6377102"/>
              <a:gd name="connsiteX1551" fmla="*/ 1461111 w 6423456"/>
              <a:gd name="connsiteY1551" fmla="*/ 1868177 h 6377102"/>
              <a:gd name="connsiteX1552" fmla="*/ 1455859 w 6423456"/>
              <a:gd name="connsiteY1552" fmla="*/ 1873429 h 6377102"/>
              <a:gd name="connsiteX1553" fmla="*/ 1461111 w 6423456"/>
              <a:gd name="connsiteY1553" fmla="*/ 1878681 h 6377102"/>
              <a:gd name="connsiteX1554" fmla="*/ 1466363 w 6423456"/>
              <a:gd name="connsiteY1554" fmla="*/ 1873429 h 6377102"/>
              <a:gd name="connsiteX1555" fmla="*/ 1305380 w 6423456"/>
              <a:gd name="connsiteY1555" fmla="*/ 1930972 h 6377102"/>
              <a:gd name="connsiteX1556" fmla="*/ 1301193 w 6423456"/>
              <a:gd name="connsiteY1556" fmla="*/ 1926786 h 6377102"/>
              <a:gd name="connsiteX1557" fmla="*/ 1297007 w 6423456"/>
              <a:gd name="connsiteY1557" fmla="*/ 1930972 h 6377102"/>
              <a:gd name="connsiteX1558" fmla="*/ 1301193 w 6423456"/>
              <a:gd name="connsiteY1558" fmla="*/ 1935159 h 6377102"/>
              <a:gd name="connsiteX1559" fmla="*/ 1305380 w 6423456"/>
              <a:gd name="connsiteY1559" fmla="*/ 1930972 h 6377102"/>
              <a:gd name="connsiteX1560" fmla="*/ 1148734 w 6423456"/>
              <a:gd name="connsiteY1560" fmla="*/ 1999324 h 6377102"/>
              <a:gd name="connsiteX1561" fmla="*/ 1145613 w 6423456"/>
              <a:gd name="connsiteY1561" fmla="*/ 1996203 h 6377102"/>
              <a:gd name="connsiteX1562" fmla="*/ 1142416 w 6423456"/>
              <a:gd name="connsiteY1562" fmla="*/ 1999324 h 6377102"/>
              <a:gd name="connsiteX1563" fmla="*/ 1145613 w 6423456"/>
              <a:gd name="connsiteY1563" fmla="*/ 2002445 h 6377102"/>
              <a:gd name="connsiteX1564" fmla="*/ 1148734 w 6423456"/>
              <a:gd name="connsiteY1564" fmla="*/ 1999324 h 6377102"/>
              <a:gd name="connsiteX1565" fmla="*/ 997112 w 6423456"/>
              <a:gd name="connsiteY1565" fmla="*/ 2078332 h 6377102"/>
              <a:gd name="connsiteX1566" fmla="*/ 994981 w 6423456"/>
              <a:gd name="connsiteY1566" fmla="*/ 2076201 h 6377102"/>
              <a:gd name="connsiteX1567" fmla="*/ 992850 w 6423456"/>
              <a:gd name="connsiteY1567" fmla="*/ 2078332 h 6377102"/>
              <a:gd name="connsiteX1568" fmla="*/ 994981 w 6423456"/>
              <a:gd name="connsiteY1568" fmla="*/ 2080463 h 6377102"/>
              <a:gd name="connsiteX1569" fmla="*/ 997112 w 6423456"/>
              <a:gd name="connsiteY1569" fmla="*/ 2078332 h 6377102"/>
              <a:gd name="connsiteX1570" fmla="*/ 851884 w 6423456"/>
              <a:gd name="connsiteY1570" fmla="*/ 2167539 h 6377102"/>
              <a:gd name="connsiteX1571" fmla="*/ 850285 w 6423456"/>
              <a:gd name="connsiteY1571" fmla="*/ 2165941 h 6377102"/>
              <a:gd name="connsiteX1572" fmla="*/ 848687 w 6423456"/>
              <a:gd name="connsiteY1572" fmla="*/ 2167539 h 6377102"/>
              <a:gd name="connsiteX1573" fmla="*/ 850285 w 6423456"/>
              <a:gd name="connsiteY1573" fmla="*/ 2169137 h 6377102"/>
              <a:gd name="connsiteX1574" fmla="*/ 851884 w 6423456"/>
              <a:gd name="connsiteY1574" fmla="*/ 2167539 h 6377102"/>
              <a:gd name="connsiteX1575" fmla="*/ 713125 w 6423456"/>
              <a:gd name="connsiteY1575" fmla="*/ 2266565 h 6377102"/>
              <a:gd name="connsiteX1576" fmla="*/ 712060 w 6423456"/>
              <a:gd name="connsiteY1576" fmla="*/ 2265500 h 6377102"/>
              <a:gd name="connsiteX1577" fmla="*/ 710994 w 6423456"/>
              <a:gd name="connsiteY1577" fmla="*/ 2266565 h 6377102"/>
              <a:gd name="connsiteX1578" fmla="*/ 712060 w 6423456"/>
              <a:gd name="connsiteY1578" fmla="*/ 2267631 h 6377102"/>
              <a:gd name="connsiteX1579" fmla="*/ 713125 w 6423456"/>
              <a:gd name="connsiteY1579" fmla="*/ 2266565 h 6377102"/>
              <a:gd name="connsiteX1580" fmla="*/ 581598 w 6423456"/>
              <a:gd name="connsiteY1580" fmla="*/ 2374802 h 6377102"/>
              <a:gd name="connsiteX1581" fmla="*/ 581065 w 6423456"/>
              <a:gd name="connsiteY1581" fmla="*/ 2374269 h 6377102"/>
              <a:gd name="connsiteX1582" fmla="*/ 580532 w 6423456"/>
              <a:gd name="connsiteY1582" fmla="*/ 2374802 h 6377102"/>
              <a:gd name="connsiteX1583" fmla="*/ 581065 w 6423456"/>
              <a:gd name="connsiteY1583" fmla="*/ 2375334 h 6377102"/>
              <a:gd name="connsiteX1584" fmla="*/ 581598 w 6423456"/>
              <a:gd name="connsiteY1584" fmla="*/ 2374802 h 6377102"/>
              <a:gd name="connsiteX1585" fmla="*/ 4177747 w 6423456"/>
              <a:gd name="connsiteY1585" fmla="*/ 6000940 h 6377102"/>
              <a:gd name="connsiteX1586" fmla="*/ 4177215 w 6423456"/>
              <a:gd name="connsiteY1586" fmla="*/ 6000408 h 6377102"/>
              <a:gd name="connsiteX1587" fmla="*/ 4176681 w 6423456"/>
              <a:gd name="connsiteY1587" fmla="*/ 6000940 h 6377102"/>
              <a:gd name="connsiteX1588" fmla="*/ 4177215 w 6423456"/>
              <a:gd name="connsiteY1588" fmla="*/ 6001473 h 6377102"/>
              <a:gd name="connsiteX1589" fmla="*/ 4177747 w 6423456"/>
              <a:gd name="connsiteY1589" fmla="*/ 6000940 h 6377102"/>
              <a:gd name="connsiteX1590" fmla="*/ 4288495 w 6423456"/>
              <a:gd name="connsiteY1590" fmla="*/ 5871544 h 6377102"/>
              <a:gd name="connsiteX1591" fmla="*/ 4287430 w 6423456"/>
              <a:gd name="connsiteY1591" fmla="*/ 5870479 h 6377102"/>
              <a:gd name="connsiteX1592" fmla="*/ 4286364 w 6423456"/>
              <a:gd name="connsiteY1592" fmla="*/ 5871544 h 6377102"/>
              <a:gd name="connsiteX1593" fmla="*/ 4287430 w 6423456"/>
              <a:gd name="connsiteY1593" fmla="*/ 5872610 h 6377102"/>
              <a:gd name="connsiteX1594" fmla="*/ 4288495 w 6423456"/>
              <a:gd name="connsiteY1594" fmla="*/ 5871544 h 6377102"/>
              <a:gd name="connsiteX1595" fmla="*/ 4390643 w 6423456"/>
              <a:gd name="connsiteY1595" fmla="*/ 5735298 h 6377102"/>
              <a:gd name="connsiteX1596" fmla="*/ 4389044 w 6423456"/>
              <a:gd name="connsiteY1596" fmla="*/ 5733699 h 6377102"/>
              <a:gd name="connsiteX1597" fmla="*/ 4387445 w 6423456"/>
              <a:gd name="connsiteY1597" fmla="*/ 5735298 h 6377102"/>
              <a:gd name="connsiteX1598" fmla="*/ 4389044 w 6423456"/>
              <a:gd name="connsiteY1598" fmla="*/ 5736896 h 6377102"/>
              <a:gd name="connsiteX1599" fmla="*/ 4390643 w 6423456"/>
              <a:gd name="connsiteY1599" fmla="*/ 5735298 h 6377102"/>
              <a:gd name="connsiteX1600" fmla="*/ 4483959 w 6423456"/>
              <a:gd name="connsiteY1600" fmla="*/ 5592809 h 6377102"/>
              <a:gd name="connsiteX1601" fmla="*/ 4481829 w 6423456"/>
              <a:gd name="connsiteY1601" fmla="*/ 5590678 h 6377102"/>
              <a:gd name="connsiteX1602" fmla="*/ 4479697 w 6423456"/>
              <a:gd name="connsiteY1602" fmla="*/ 5592809 h 6377102"/>
              <a:gd name="connsiteX1603" fmla="*/ 4481829 w 6423456"/>
              <a:gd name="connsiteY1603" fmla="*/ 5594941 h 6377102"/>
              <a:gd name="connsiteX1604" fmla="*/ 4483959 w 6423456"/>
              <a:gd name="connsiteY1604" fmla="*/ 5592809 h 6377102"/>
              <a:gd name="connsiteX1605" fmla="*/ 4568372 w 6423456"/>
              <a:gd name="connsiteY1605" fmla="*/ 5444689 h 6377102"/>
              <a:gd name="connsiteX1606" fmla="*/ 4565251 w 6423456"/>
              <a:gd name="connsiteY1606" fmla="*/ 5441568 h 6377102"/>
              <a:gd name="connsiteX1607" fmla="*/ 4562130 w 6423456"/>
              <a:gd name="connsiteY1607" fmla="*/ 5444689 h 6377102"/>
              <a:gd name="connsiteX1608" fmla="*/ 4565251 w 6423456"/>
              <a:gd name="connsiteY1608" fmla="*/ 5447810 h 6377102"/>
              <a:gd name="connsiteX1609" fmla="*/ 4568372 w 6423456"/>
              <a:gd name="connsiteY1609" fmla="*/ 5444689 h 6377102"/>
              <a:gd name="connsiteX1610" fmla="*/ 4643193 w 6423456"/>
              <a:gd name="connsiteY1610" fmla="*/ 5291545 h 6377102"/>
              <a:gd name="connsiteX1611" fmla="*/ 4639007 w 6423456"/>
              <a:gd name="connsiteY1611" fmla="*/ 5287358 h 6377102"/>
              <a:gd name="connsiteX1612" fmla="*/ 4634821 w 6423456"/>
              <a:gd name="connsiteY1612" fmla="*/ 5291545 h 6377102"/>
              <a:gd name="connsiteX1613" fmla="*/ 4639007 w 6423456"/>
              <a:gd name="connsiteY1613" fmla="*/ 5295731 h 6377102"/>
              <a:gd name="connsiteX1614" fmla="*/ 4643193 w 6423456"/>
              <a:gd name="connsiteY1614" fmla="*/ 5291545 h 6377102"/>
              <a:gd name="connsiteX1615" fmla="*/ 4708044 w 6423456"/>
              <a:gd name="connsiteY1615" fmla="*/ 5133986 h 6377102"/>
              <a:gd name="connsiteX1616" fmla="*/ 4702791 w 6423456"/>
              <a:gd name="connsiteY1616" fmla="*/ 5128734 h 6377102"/>
              <a:gd name="connsiteX1617" fmla="*/ 4697540 w 6423456"/>
              <a:gd name="connsiteY1617" fmla="*/ 5133986 h 6377102"/>
              <a:gd name="connsiteX1618" fmla="*/ 4702791 w 6423456"/>
              <a:gd name="connsiteY1618" fmla="*/ 5139238 h 6377102"/>
              <a:gd name="connsiteX1619" fmla="*/ 4708044 w 6423456"/>
              <a:gd name="connsiteY1619" fmla="*/ 5133986 h 6377102"/>
              <a:gd name="connsiteX1620" fmla="*/ 4762695 w 6423456"/>
              <a:gd name="connsiteY1620" fmla="*/ 4972621 h 6377102"/>
              <a:gd name="connsiteX1621" fmla="*/ 4756377 w 6423456"/>
              <a:gd name="connsiteY1621" fmla="*/ 4966303 h 6377102"/>
              <a:gd name="connsiteX1622" fmla="*/ 4750059 w 6423456"/>
              <a:gd name="connsiteY1622" fmla="*/ 4972621 h 6377102"/>
              <a:gd name="connsiteX1623" fmla="*/ 4756377 w 6423456"/>
              <a:gd name="connsiteY1623" fmla="*/ 4978939 h 6377102"/>
              <a:gd name="connsiteX1624" fmla="*/ 4762695 w 6423456"/>
              <a:gd name="connsiteY1624" fmla="*/ 4972621 h 6377102"/>
              <a:gd name="connsiteX1625" fmla="*/ 4806841 w 6423456"/>
              <a:gd name="connsiteY1625" fmla="*/ 4808136 h 6377102"/>
              <a:gd name="connsiteX1626" fmla="*/ 4799458 w 6423456"/>
              <a:gd name="connsiteY1626" fmla="*/ 4800752 h 6377102"/>
              <a:gd name="connsiteX1627" fmla="*/ 4792075 w 6423456"/>
              <a:gd name="connsiteY1627" fmla="*/ 4808136 h 6377102"/>
              <a:gd name="connsiteX1628" fmla="*/ 4799458 w 6423456"/>
              <a:gd name="connsiteY1628" fmla="*/ 4815519 h 6377102"/>
              <a:gd name="connsiteX1629" fmla="*/ 4806841 w 6423456"/>
              <a:gd name="connsiteY1629" fmla="*/ 4808136 h 6377102"/>
              <a:gd name="connsiteX1630" fmla="*/ 4840941 w 6423456"/>
              <a:gd name="connsiteY1630" fmla="*/ 4641291 h 6377102"/>
              <a:gd name="connsiteX1631" fmla="*/ 4832036 w 6423456"/>
              <a:gd name="connsiteY1631" fmla="*/ 4632385 h 6377102"/>
              <a:gd name="connsiteX1632" fmla="*/ 4823130 w 6423456"/>
              <a:gd name="connsiteY1632" fmla="*/ 4641291 h 6377102"/>
              <a:gd name="connsiteX1633" fmla="*/ 4832036 w 6423456"/>
              <a:gd name="connsiteY1633" fmla="*/ 4650196 h 6377102"/>
              <a:gd name="connsiteX1634" fmla="*/ 4840941 w 6423456"/>
              <a:gd name="connsiteY1634" fmla="*/ 4641291 h 6377102"/>
              <a:gd name="connsiteX1635" fmla="*/ 4864233 w 6423456"/>
              <a:gd name="connsiteY1635" fmla="*/ 4472695 h 6377102"/>
              <a:gd name="connsiteX1636" fmla="*/ 4853729 w 6423456"/>
              <a:gd name="connsiteY1636" fmla="*/ 4462191 h 6377102"/>
              <a:gd name="connsiteX1637" fmla="*/ 4843225 w 6423456"/>
              <a:gd name="connsiteY1637" fmla="*/ 4472695 h 6377102"/>
              <a:gd name="connsiteX1638" fmla="*/ 4853729 w 6423456"/>
              <a:gd name="connsiteY1638" fmla="*/ 4483199 h 6377102"/>
              <a:gd name="connsiteX1639" fmla="*/ 4864233 w 6423456"/>
              <a:gd name="connsiteY1639" fmla="*/ 4472695 h 6377102"/>
              <a:gd name="connsiteX1640" fmla="*/ 4876182 w 6423456"/>
              <a:gd name="connsiteY1640" fmla="*/ 4303034 h 6377102"/>
              <a:gd name="connsiteX1641" fmla="*/ 4864613 w 6423456"/>
              <a:gd name="connsiteY1641" fmla="*/ 4291464 h 6377102"/>
              <a:gd name="connsiteX1642" fmla="*/ 4853044 w 6423456"/>
              <a:gd name="connsiteY1642" fmla="*/ 4303034 h 6377102"/>
              <a:gd name="connsiteX1643" fmla="*/ 4864613 w 6423456"/>
              <a:gd name="connsiteY1643" fmla="*/ 4314603 h 6377102"/>
              <a:gd name="connsiteX1644" fmla="*/ 4876182 w 6423456"/>
              <a:gd name="connsiteY1644" fmla="*/ 4303034 h 6377102"/>
              <a:gd name="connsiteX1645" fmla="*/ 4877781 w 6423456"/>
              <a:gd name="connsiteY1645" fmla="*/ 4133068 h 6377102"/>
              <a:gd name="connsiteX1646" fmla="*/ 4864613 w 6423456"/>
              <a:gd name="connsiteY1646" fmla="*/ 4119976 h 6377102"/>
              <a:gd name="connsiteX1647" fmla="*/ 4851445 w 6423456"/>
              <a:gd name="connsiteY1647" fmla="*/ 4133068 h 6377102"/>
              <a:gd name="connsiteX1648" fmla="*/ 4864613 w 6423456"/>
              <a:gd name="connsiteY1648" fmla="*/ 4146160 h 6377102"/>
              <a:gd name="connsiteX1649" fmla="*/ 4877781 w 6423456"/>
              <a:gd name="connsiteY1649" fmla="*/ 4133068 h 6377102"/>
              <a:gd name="connsiteX1650" fmla="*/ 4868418 w 6423456"/>
              <a:gd name="connsiteY1650" fmla="*/ 3963406 h 6377102"/>
              <a:gd name="connsiteX1651" fmla="*/ 4853729 w 6423456"/>
              <a:gd name="connsiteY1651" fmla="*/ 3948716 h 6377102"/>
              <a:gd name="connsiteX1652" fmla="*/ 4839038 w 6423456"/>
              <a:gd name="connsiteY1652" fmla="*/ 3963406 h 6377102"/>
              <a:gd name="connsiteX1653" fmla="*/ 4853729 w 6423456"/>
              <a:gd name="connsiteY1653" fmla="*/ 3978097 h 6377102"/>
              <a:gd name="connsiteX1654" fmla="*/ 4868418 w 6423456"/>
              <a:gd name="connsiteY1654" fmla="*/ 3963406 h 6377102"/>
              <a:gd name="connsiteX1655" fmla="*/ 4847791 w 6423456"/>
              <a:gd name="connsiteY1655" fmla="*/ 3794811 h 6377102"/>
              <a:gd name="connsiteX1656" fmla="*/ 4832036 w 6423456"/>
              <a:gd name="connsiteY1656" fmla="*/ 3779055 h 6377102"/>
              <a:gd name="connsiteX1657" fmla="*/ 4816279 w 6423456"/>
              <a:gd name="connsiteY1657" fmla="*/ 3794811 h 6377102"/>
              <a:gd name="connsiteX1658" fmla="*/ 4832036 w 6423456"/>
              <a:gd name="connsiteY1658" fmla="*/ 3810567 h 6377102"/>
              <a:gd name="connsiteX1659" fmla="*/ 4847791 w 6423456"/>
              <a:gd name="connsiteY1659" fmla="*/ 3794811 h 6377102"/>
              <a:gd name="connsiteX1660" fmla="*/ 4816813 w 6423456"/>
              <a:gd name="connsiteY1660" fmla="*/ 3627890 h 6377102"/>
              <a:gd name="connsiteX1661" fmla="*/ 4799458 w 6423456"/>
              <a:gd name="connsiteY1661" fmla="*/ 3610535 h 6377102"/>
              <a:gd name="connsiteX1662" fmla="*/ 4782104 w 6423456"/>
              <a:gd name="connsiteY1662" fmla="*/ 3627890 h 6377102"/>
              <a:gd name="connsiteX1663" fmla="*/ 4799458 w 6423456"/>
              <a:gd name="connsiteY1663" fmla="*/ 3645244 h 6377102"/>
              <a:gd name="connsiteX1664" fmla="*/ 4816813 w 6423456"/>
              <a:gd name="connsiteY1664" fmla="*/ 3627890 h 6377102"/>
              <a:gd name="connsiteX1665" fmla="*/ 4774797 w 6423456"/>
              <a:gd name="connsiteY1665" fmla="*/ 3463480 h 6377102"/>
              <a:gd name="connsiteX1666" fmla="*/ 4756377 w 6423456"/>
              <a:gd name="connsiteY1666" fmla="*/ 3445060 h 6377102"/>
              <a:gd name="connsiteX1667" fmla="*/ 4738033 w 6423456"/>
              <a:gd name="connsiteY1667" fmla="*/ 3463480 h 6377102"/>
              <a:gd name="connsiteX1668" fmla="*/ 4756377 w 6423456"/>
              <a:gd name="connsiteY1668" fmla="*/ 3481900 h 6377102"/>
              <a:gd name="connsiteX1669" fmla="*/ 4774797 w 6423456"/>
              <a:gd name="connsiteY1669" fmla="*/ 3463480 h 6377102"/>
              <a:gd name="connsiteX1670" fmla="*/ 4722277 w 6423456"/>
              <a:gd name="connsiteY1670" fmla="*/ 3302116 h 6377102"/>
              <a:gd name="connsiteX1671" fmla="*/ 4702867 w 6423456"/>
              <a:gd name="connsiteY1671" fmla="*/ 3282706 h 6377102"/>
              <a:gd name="connsiteX1672" fmla="*/ 4683458 w 6423456"/>
              <a:gd name="connsiteY1672" fmla="*/ 3302116 h 6377102"/>
              <a:gd name="connsiteX1673" fmla="*/ 4702867 w 6423456"/>
              <a:gd name="connsiteY1673" fmla="*/ 3321525 h 6377102"/>
              <a:gd name="connsiteX1674" fmla="*/ 4722277 w 6423456"/>
              <a:gd name="connsiteY1674" fmla="*/ 3302116 h 6377102"/>
              <a:gd name="connsiteX1675" fmla="*/ 4659482 w 6423456"/>
              <a:gd name="connsiteY1675" fmla="*/ 3144557 h 6377102"/>
              <a:gd name="connsiteX1676" fmla="*/ 4639007 w 6423456"/>
              <a:gd name="connsiteY1676" fmla="*/ 3124082 h 6377102"/>
              <a:gd name="connsiteX1677" fmla="*/ 4618532 w 6423456"/>
              <a:gd name="connsiteY1677" fmla="*/ 3144557 h 6377102"/>
              <a:gd name="connsiteX1678" fmla="*/ 4639007 w 6423456"/>
              <a:gd name="connsiteY1678" fmla="*/ 3165032 h 6377102"/>
              <a:gd name="connsiteX1679" fmla="*/ 4659482 w 6423456"/>
              <a:gd name="connsiteY1679" fmla="*/ 3144557 h 6377102"/>
              <a:gd name="connsiteX1680" fmla="*/ 4586791 w 6423456"/>
              <a:gd name="connsiteY1680" fmla="*/ 2991412 h 6377102"/>
              <a:gd name="connsiteX1681" fmla="*/ 4565251 w 6423456"/>
              <a:gd name="connsiteY1681" fmla="*/ 2969872 h 6377102"/>
              <a:gd name="connsiteX1682" fmla="*/ 4543711 w 6423456"/>
              <a:gd name="connsiteY1682" fmla="*/ 2991412 h 6377102"/>
              <a:gd name="connsiteX1683" fmla="*/ 4565251 w 6423456"/>
              <a:gd name="connsiteY1683" fmla="*/ 3012953 h 6377102"/>
              <a:gd name="connsiteX1684" fmla="*/ 4586791 w 6423456"/>
              <a:gd name="connsiteY1684" fmla="*/ 2991412 h 6377102"/>
              <a:gd name="connsiteX1685" fmla="*/ 4503902 w 6423456"/>
              <a:gd name="connsiteY1685" fmla="*/ 2843292 h 6377102"/>
              <a:gd name="connsiteX1686" fmla="*/ 4481829 w 6423456"/>
              <a:gd name="connsiteY1686" fmla="*/ 2821218 h 6377102"/>
              <a:gd name="connsiteX1687" fmla="*/ 4459755 w 6423456"/>
              <a:gd name="connsiteY1687" fmla="*/ 2843292 h 6377102"/>
              <a:gd name="connsiteX1688" fmla="*/ 4481829 w 6423456"/>
              <a:gd name="connsiteY1688" fmla="*/ 2865365 h 6377102"/>
              <a:gd name="connsiteX1689" fmla="*/ 4503902 w 6423456"/>
              <a:gd name="connsiteY1689" fmla="*/ 2843292 h 6377102"/>
              <a:gd name="connsiteX1690" fmla="*/ 4411650 w 6423456"/>
              <a:gd name="connsiteY1690" fmla="*/ 2700804 h 6377102"/>
              <a:gd name="connsiteX1691" fmla="*/ 4389044 w 6423456"/>
              <a:gd name="connsiteY1691" fmla="*/ 2678198 h 6377102"/>
              <a:gd name="connsiteX1692" fmla="*/ 4366438 w 6423456"/>
              <a:gd name="connsiteY1692" fmla="*/ 2700804 h 6377102"/>
              <a:gd name="connsiteX1693" fmla="*/ 4389044 w 6423456"/>
              <a:gd name="connsiteY1693" fmla="*/ 2723410 h 6377102"/>
              <a:gd name="connsiteX1694" fmla="*/ 4411650 w 6423456"/>
              <a:gd name="connsiteY1694" fmla="*/ 2700804 h 6377102"/>
              <a:gd name="connsiteX1695" fmla="*/ 4310493 w 6423456"/>
              <a:gd name="connsiteY1695" fmla="*/ 2564557 h 6377102"/>
              <a:gd name="connsiteX1696" fmla="*/ 4287353 w 6423456"/>
              <a:gd name="connsiteY1696" fmla="*/ 2541418 h 6377102"/>
              <a:gd name="connsiteX1697" fmla="*/ 4264214 w 6423456"/>
              <a:gd name="connsiteY1697" fmla="*/ 2564557 h 6377102"/>
              <a:gd name="connsiteX1698" fmla="*/ 4287353 w 6423456"/>
              <a:gd name="connsiteY1698" fmla="*/ 2587696 h 6377102"/>
              <a:gd name="connsiteX1699" fmla="*/ 4310493 w 6423456"/>
              <a:gd name="connsiteY1699" fmla="*/ 2564557 h 6377102"/>
              <a:gd name="connsiteX1700" fmla="*/ 4200886 w 6423456"/>
              <a:gd name="connsiteY1700" fmla="*/ 2435085 h 6377102"/>
              <a:gd name="connsiteX1701" fmla="*/ 4177215 w 6423456"/>
              <a:gd name="connsiteY1701" fmla="*/ 2411413 h 6377102"/>
              <a:gd name="connsiteX1702" fmla="*/ 4153619 w 6423456"/>
              <a:gd name="connsiteY1702" fmla="*/ 2435085 h 6377102"/>
              <a:gd name="connsiteX1703" fmla="*/ 4177215 w 6423456"/>
              <a:gd name="connsiteY1703" fmla="*/ 2458757 h 6377102"/>
              <a:gd name="connsiteX1704" fmla="*/ 4200886 w 6423456"/>
              <a:gd name="connsiteY1704" fmla="*/ 2435085 h 6377102"/>
              <a:gd name="connsiteX1705" fmla="*/ 4082603 w 6423456"/>
              <a:gd name="connsiteY1705" fmla="*/ 2312996 h 6377102"/>
              <a:gd name="connsiteX1706" fmla="*/ 4058931 w 6423456"/>
              <a:gd name="connsiteY1706" fmla="*/ 2289324 h 6377102"/>
              <a:gd name="connsiteX1707" fmla="*/ 4035335 w 6423456"/>
              <a:gd name="connsiteY1707" fmla="*/ 2312996 h 6377102"/>
              <a:gd name="connsiteX1708" fmla="*/ 4058931 w 6423456"/>
              <a:gd name="connsiteY1708" fmla="*/ 2336668 h 6377102"/>
              <a:gd name="connsiteX1709" fmla="*/ 4082603 w 6423456"/>
              <a:gd name="connsiteY1709" fmla="*/ 2312996 h 6377102"/>
              <a:gd name="connsiteX1710" fmla="*/ 3956175 w 6423456"/>
              <a:gd name="connsiteY1710" fmla="*/ 2198670 h 6377102"/>
              <a:gd name="connsiteX1711" fmla="*/ 3933037 w 6423456"/>
              <a:gd name="connsiteY1711" fmla="*/ 2175531 h 6377102"/>
              <a:gd name="connsiteX1712" fmla="*/ 3909897 w 6423456"/>
              <a:gd name="connsiteY1712" fmla="*/ 2198670 h 6377102"/>
              <a:gd name="connsiteX1713" fmla="*/ 3933037 w 6423456"/>
              <a:gd name="connsiteY1713" fmla="*/ 2221809 h 6377102"/>
              <a:gd name="connsiteX1714" fmla="*/ 3956175 w 6423456"/>
              <a:gd name="connsiteY1714" fmla="*/ 2198670 h 6377102"/>
              <a:gd name="connsiteX1715" fmla="*/ 3823278 w 6423456"/>
              <a:gd name="connsiteY1715" fmla="*/ 2092718 h 6377102"/>
              <a:gd name="connsiteX1716" fmla="*/ 3800138 w 6423456"/>
              <a:gd name="connsiteY1716" fmla="*/ 2069579 h 6377102"/>
              <a:gd name="connsiteX1717" fmla="*/ 3777000 w 6423456"/>
              <a:gd name="connsiteY1717" fmla="*/ 2092718 h 6377102"/>
              <a:gd name="connsiteX1718" fmla="*/ 3800138 w 6423456"/>
              <a:gd name="connsiteY1718" fmla="*/ 2115857 h 6377102"/>
              <a:gd name="connsiteX1719" fmla="*/ 3823278 w 6423456"/>
              <a:gd name="connsiteY1719" fmla="*/ 2092718 h 6377102"/>
              <a:gd name="connsiteX1720" fmla="*/ 3683378 w 6423456"/>
              <a:gd name="connsiteY1720" fmla="*/ 1995442 h 6377102"/>
              <a:gd name="connsiteX1721" fmla="*/ 3660772 w 6423456"/>
              <a:gd name="connsiteY1721" fmla="*/ 1972836 h 6377102"/>
              <a:gd name="connsiteX1722" fmla="*/ 3638165 w 6423456"/>
              <a:gd name="connsiteY1722" fmla="*/ 1995442 h 6377102"/>
              <a:gd name="connsiteX1723" fmla="*/ 3660772 w 6423456"/>
              <a:gd name="connsiteY1723" fmla="*/ 2018048 h 6377102"/>
              <a:gd name="connsiteX1724" fmla="*/ 3683378 w 6423456"/>
              <a:gd name="connsiteY1724" fmla="*/ 1995442 h 6377102"/>
              <a:gd name="connsiteX1725" fmla="*/ 3537464 w 6423456"/>
              <a:gd name="connsiteY1725" fmla="*/ 1907300 h 6377102"/>
              <a:gd name="connsiteX1726" fmla="*/ 3515390 w 6423456"/>
              <a:gd name="connsiteY1726" fmla="*/ 1885227 h 6377102"/>
              <a:gd name="connsiteX1727" fmla="*/ 3493318 w 6423456"/>
              <a:gd name="connsiteY1727" fmla="*/ 1907300 h 6377102"/>
              <a:gd name="connsiteX1728" fmla="*/ 3515390 w 6423456"/>
              <a:gd name="connsiteY1728" fmla="*/ 1929374 h 6377102"/>
              <a:gd name="connsiteX1729" fmla="*/ 3537464 w 6423456"/>
              <a:gd name="connsiteY1729" fmla="*/ 1907300 h 6377102"/>
              <a:gd name="connsiteX1730" fmla="*/ 3385690 w 6423456"/>
              <a:gd name="connsiteY1730" fmla="*/ 1828673 h 6377102"/>
              <a:gd name="connsiteX1731" fmla="*/ 3364682 w 6423456"/>
              <a:gd name="connsiteY1731" fmla="*/ 1807665 h 6377102"/>
              <a:gd name="connsiteX1732" fmla="*/ 3343674 w 6423456"/>
              <a:gd name="connsiteY1732" fmla="*/ 1828673 h 6377102"/>
              <a:gd name="connsiteX1733" fmla="*/ 3364682 w 6423456"/>
              <a:gd name="connsiteY1733" fmla="*/ 1849681 h 6377102"/>
              <a:gd name="connsiteX1734" fmla="*/ 3385690 w 6423456"/>
              <a:gd name="connsiteY1734" fmla="*/ 1828673 h 6377102"/>
              <a:gd name="connsiteX1735" fmla="*/ 3229197 w 6423456"/>
              <a:gd name="connsiteY1735" fmla="*/ 1759865 h 6377102"/>
              <a:gd name="connsiteX1736" fmla="*/ 3209254 w 6423456"/>
              <a:gd name="connsiteY1736" fmla="*/ 1739923 h 6377102"/>
              <a:gd name="connsiteX1737" fmla="*/ 3189312 w 6423456"/>
              <a:gd name="connsiteY1737" fmla="*/ 1759865 h 6377102"/>
              <a:gd name="connsiteX1738" fmla="*/ 3209254 w 6423456"/>
              <a:gd name="connsiteY1738" fmla="*/ 1779807 h 6377102"/>
              <a:gd name="connsiteX1739" fmla="*/ 3229197 w 6423456"/>
              <a:gd name="connsiteY1739" fmla="*/ 1759865 h 6377102"/>
              <a:gd name="connsiteX1740" fmla="*/ 3068593 w 6423456"/>
              <a:gd name="connsiteY1740" fmla="*/ 1701180 h 6377102"/>
              <a:gd name="connsiteX1741" fmla="*/ 3049717 w 6423456"/>
              <a:gd name="connsiteY1741" fmla="*/ 1682227 h 6377102"/>
              <a:gd name="connsiteX1742" fmla="*/ 3030840 w 6423456"/>
              <a:gd name="connsiteY1742" fmla="*/ 1701180 h 6377102"/>
              <a:gd name="connsiteX1743" fmla="*/ 3049717 w 6423456"/>
              <a:gd name="connsiteY1743" fmla="*/ 1720057 h 6377102"/>
              <a:gd name="connsiteX1744" fmla="*/ 3068593 w 6423456"/>
              <a:gd name="connsiteY1744" fmla="*/ 1701180 h 6377102"/>
              <a:gd name="connsiteX1745" fmla="*/ 2904564 w 6423456"/>
              <a:gd name="connsiteY1745" fmla="*/ 1652770 h 6377102"/>
              <a:gd name="connsiteX1746" fmla="*/ 2886677 w 6423456"/>
              <a:gd name="connsiteY1746" fmla="*/ 1634959 h 6377102"/>
              <a:gd name="connsiteX1747" fmla="*/ 2868790 w 6423456"/>
              <a:gd name="connsiteY1747" fmla="*/ 1652770 h 6377102"/>
              <a:gd name="connsiteX1748" fmla="*/ 2886677 w 6423456"/>
              <a:gd name="connsiteY1748" fmla="*/ 1670658 h 6377102"/>
              <a:gd name="connsiteX1749" fmla="*/ 2904564 w 6423456"/>
              <a:gd name="connsiteY1749" fmla="*/ 1652770 h 6377102"/>
              <a:gd name="connsiteX1750" fmla="*/ 2737796 w 6423456"/>
              <a:gd name="connsiteY1750" fmla="*/ 1614941 h 6377102"/>
              <a:gd name="connsiteX1751" fmla="*/ 2720974 w 6423456"/>
              <a:gd name="connsiteY1751" fmla="*/ 1598120 h 6377102"/>
              <a:gd name="connsiteX1752" fmla="*/ 2704153 w 6423456"/>
              <a:gd name="connsiteY1752" fmla="*/ 1614941 h 6377102"/>
              <a:gd name="connsiteX1753" fmla="*/ 2720974 w 6423456"/>
              <a:gd name="connsiteY1753" fmla="*/ 1631763 h 6377102"/>
              <a:gd name="connsiteX1754" fmla="*/ 2737796 w 6423456"/>
              <a:gd name="connsiteY1754" fmla="*/ 1614941 h 6377102"/>
              <a:gd name="connsiteX1755" fmla="*/ 2568363 w 6423456"/>
              <a:gd name="connsiteY1755" fmla="*/ 1587844 h 6377102"/>
              <a:gd name="connsiteX1756" fmla="*/ 2553140 w 6423456"/>
              <a:gd name="connsiteY1756" fmla="*/ 1572621 h 6377102"/>
              <a:gd name="connsiteX1757" fmla="*/ 2537917 w 6423456"/>
              <a:gd name="connsiteY1757" fmla="*/ 1587844 h 6377102"/>
              <a:gd name="connsiteX1758" fmla="*/ 2553140 w 6423456"/>
              <a:gd name="connsiteY1758" fmla="*/ 1603067 h 6377102"/>
              <a:gd name="connsiteX1759" fmla="*/ 2568363 w 6423456"/>
              <a:gd name="connsiteY1759" fmla="*/ 1587844 h 6377102"/>
              <a:gd name="connsiteX1760" fmla="*/ 2397559 w 6423456"/>
              <a:gd name="connsiteY1760" fmla="*/ 1571479 h 6377102"/>
              <a:gd name="connsiteX1761" fmla="*/ 2383859 w 6423456"/>
              <a:gd name="connsiteY1761" fmla="*/ 1557854 h 6377102"/>
              <a:gd name="connsiteX1762" fmla="*/ 2370234 w 6423456"/>
              <a:gd name="connsiteY1762" fmla="*/ 1571479 h 6377102"/>
              <a:gd name="connsiteX1763" fmla="*/ 2383859 w 6423456"/>
              <a:gd name="connsiteY1763" fmla="*/ 1585180 h 6377102"/>
              <a:gd name="connsiteX1764" fmla="*/ 2397559 w 6423456"/>
              <a:gd name="connsiteY1764" fmla="*/ 1571479 h 6377102"/>
              <a:gd name="connsiteX1765" fmla="*/ 2226604 w 6423456"/>
              <a:gd name="connsiteY1765" fmla="*/ 1566075 h 6377102"/>
              <a:gd name="connsiteX1766" fmla="*/ 2213969 w 6423456"/>
              <a:gd name="connsiteY1766" fmla="*/ 1553440 h 6377102"/>
              <a:gd name="connsiteX1767" fmla="*/ 2201334 w 6423456"/>
              <a:gd name="connsiteY1767" fmla="*/ 1566075 h 6377102"/>
              <a:gd name="connsiteX1768" fmla="*/ 2213969 w 6423456"/>
              <a:gd name="connsiteY1768" fmla="*/ 1578710 h 6377102"/>
              <a:gd name="connsiteX1769" fmla="*/ 2226604 w 6423456"/>
              <a:gd name="connsiteY1769" fmla="*/ 1566075 h 6377102"/>
              <a:gd name="connsiteX1770" fmla="*/ 2055116 w 6423456"/>
              <a:gd name="connsiteY1770" fmla="*/ 1571479 h 6377102"/>
              <a:gd name="connsiteX1771" fmla="*/ 2044080 w 6423456"/>
              <a:gd name="connsiteY1771" fmla="*/ 1560442 h 6377102"/>
              <a:gd name="connsiteX1772" fmla="*/ 2033043 w 6423456"/>
              <a:gd name="connsiteY1772" fmla="*/ 1571479 h 6377102"/>
              <a:gd name="connsiteX1773" fmla="*/ 2044080 w 6423456"/>
              <a:gd name="connsiteY1773" fmla="*/ 1582516 h 6377102"/>
              <a:gd name="connsiteX1774" fmla="*/ 2055116 w 6423456"/>
              <a:gd name="connsiteY1774" fmla="*/ 1571479 h 6377102"/>
              <a:gd name="connsiteX1775" fmla="*/ 1884314 w 6423456"/>
              <a:gd name="connsiteY1775" fmla="*/ 1587844 h 6377102"/>
              <a:gd name="connsiteX1776" fmla="*/ 1874875 w 6423456"/>
              <a:gd name="connsiteY1776" fmla="*/ 1578406 h 6377102"/>
              <a:gd name="connsiteX1777" fmla="*/ 1865437 w 6423456"/>
              <a:gd name="connsiteY1777" fmla="*/ 1587844 h 6377102"/>
              <a:gd name="connsiteX1778" fmla="*/ 1874875 w 6423456"/>
              <a:gd name="connsiteY1778" fmla="*/ 1597282 h 6377102"/>
              <a:gd name="connsiteX1779" fmla="*/ 1884314 w 6423456"/>
              <a:gd name="connsiteY1779" fmla="*/ 1587844 h 6377102"/>
              <a:gd name="connsiteX1780" fmla="*/ 1715489 w 6423456"/>
              <a:gd name="connsiteY1780" fmla="*/ 1614941 h 6377102"/>
              <a:gd name="connsiteX1781" fmla="*/ 1707117 w 6423456"/>
              <a:gd name="connsiteY1781" fmla="*/ 1606568 h 6377102"/>
              <a:gd name="connsiteX1782" fmla="*/ 1698668 w 6423456"/>
              <a:gd name="connsiteY1782" fmla="*/ 1614941 h 6377102"/>
              <a:gd name="connsiteX1783" fmla="*/ 1707117 w 6423456"/>
              <a:gd name="connsiteY1783" fmla="*/ 1623314 h 6377102"/>
              <a:gd name="connsiteX1784" fmla="*/ 1715489 w 6423456"/>
              <a:gd name="connsiteY1784" fmla="*/ 1614941 h 6377102"/>
              <a:gd name="connsiteX1785" fmla="*/ 1548188 w 6423456"/>
              <a:gd name="connsiteY1785" fmla="*/ 1652770 h 6377102"/>
              <a:gd name="connsiteX1786" fmla="*/ 1541337 w 6423456"/>
              <a:gd name="connsiteY1786" fmla="*/ 1645920 h 6377102"/>
              <a:gd name="connsiteX1787" fmla="*/ 1534487 w 6423456"/>
              <a:gd name="connsiteY1787" fmla="*/ 1652770 h 6377102"/>
              <a:gd name="connsiteX1788" fmla="*/ 1541337 w 6423456"/>
              <a:gd name="connsiteY1788" fmla="*/ 1659621 h 6377102"/>
              <a:gd name="connsiteX1789" fmla="*/ 1548188 w 6423456"/>
              <a:gd name="connsiteY1789" fmla="*/ 1652770 h 6377102"/>
              <a:gd name="connsiteX1790" fmla="*/ 1384159 w 6423456"/>
              <a:gd name="connsiteY1790" fmla="*/ 1701180 h 6377102"/>
              <a:gd name="connsiteX1791" fmla="*/ 1378374 w 6423456"/>
              <a:gd name="connsiteY1791" fmla="*/ 1695395 h 6377102"/>
              <a:gd name="connsiteX1792" fmla="*/ 1372589 w 6423456"/>
              <a:gd name="connsiteY1792" fmla="*/ 1701180 h 6377102"/>
              <a:gd name="connsiteX1793" fmla="*/ 1378374 w 6423456"/>
              <a:gd name="connsiteY1793" fmla="*/ 1706965 h 6377102"/>
              <a:gd name="connsiteX1794" fmla="*/ 1384159 w 6423456"/>
              <a:gd name="connsiteY1794" fmla="*/ 1701180 h 6377102"/>
              <a:gd name="connsiteX1795" fmla="*/ 1223556 w 6423456"/>
              <a:gd name="connsiteY1795" fmla="*/ 1759865 h 6377102"/>
              <a:gd name="connsiteX1796" fmla="*/ 1218836 w 6423456"/>
              <a:gd name="connsiteY1796" fmla="*/ 1755146 h 6377102"/>
              <a:gd name="connsiteX1797" fmla="*/ 1214117 w 6423456"/>
              <a:gd name="connsiteY1797" fmla="*/ 1759865 h 6377102"/>
              <a:gd name="connsiteX1798" fmla="*/ 1218836 w 6423456"/>
              <a:gd name="connsiteY1798" fmla="*/ 1764584 h 6377102"/>
              <a:gd name="connsiteX1799" fmla="*/ 1223556 w 6423456"/>
              <a:gd name="connsiteY1799" fmla="*/ 1759865 h 6377102"/>
              <a:gd name="connsiteX1800" fmla="*/ 1067062 w 6423456"/>
              <a:gd name="connsiteY1800" fmla="*/ 1828673 h 6377102"/>
              <a:gd name="connsiteX1801" fmla="*/ 1063408 w 6423456"/>
              <a:gd name="connsiteY1801" fmla="*/ 1825020 h 6377102"/>
              <a:gd name="connsiteX1802" fmla="*/ 1059755 w 6423456"/>
              <a:gd name="connsiteY1802" fmla="*/ 1828673 h 6377102"/>
              <a:gd name="connsiteX1803" fmla="*/ 1063408 w 6423456"/>
              <a:gd name="connsiteY1803" fmla="*/ 1832327 h 6377102"/>
              <a:gd name="connsiteX1804" fmla="*/ 1067062 w 6423456"/>
              <a:gd name="connsiteY1804" fmla="*/ 1828673 h 6377102"/>
              <a:gd name="connsiteX1805" fmla="*/ 915288 w 6423456"/>
              <a:gd name="connsiteY1805" fmla="*/ 1907300 h 6377102"/>
              <a:gd name="connsiteX1806" fmla="*/ 912700 w 6423456"/>
              <a:gd name="connsiteY1806" fmla="*/ 1904636 h 6377102"/>
              <a:gd name="connsiteX1807" fmla="*/ 910036 w 6423456"/>
              <a:gd name="connsiteY1807" fmla="*/ 1907300 h 6377102"/>
              <a:gd name="connsiteX1808" fmla="*/ 912700 w 6423456"/>
              <a:gd name="connsiteY1808" fmla="*/ 1909888 h 6377102"/>
              <a:gd name="connsiteX1809" fmla="*/ 915288 w 6423456"/>
              <a:gd name="connsiteY1809" fmla="*/ 1907300 h 6377102"/>
              <a:gd name="connsiteX1810" fmla="*/ 768842 w 6423456"/>
              <a:gd name="connsiteY1810" fmla="*/ 1995442 h 6377102"/>
              <a:gd name="connsiteX1811" fmla="*/ 767243 w 6423456"/>
              <a:gd name="connsiteY1811" fmla="*/ 1993844 h 6377102"/>
              <a:gd name="connsiteX1812" fmla="*/ 765645 w 6423456"/>
              <a:gd name="connsiteY1812" fmla="*/ 1995442 h 6377102"/>
              <a:gd name="connsiteX1813" fmla="*/ 767243 w 6423456"/>
              <a:gd name="connsiteY1813" fmla="*/ 1997041 h 6377102"/>
              <a:gd name="connsiteX1814" fmla="*/ 768842 w 6423456"/>
              <a:gd name="connsiteY1814" fmla="*/ 1995442 h 6377102"/>
              <a:gd name="connsiteX1815" fmla="*/ 628866 w 6423456"/>
              <a:gd name="connsiteY1815" fmla="*/ 2092718 h 6377102"/>
              <a:gd name="connsiteX1816" fmla="*/ 627800 w 6423456"/>
              <a:gd name="connsiteY1816" fmla="*/ 2091652 h 6377102"/>
              <a:gd name="connsiteX1817" fmla="*/ 626734 w 6423456"/>
              <a:gd name="connsiteY1817" fmla="*/ 2092718 h 6377102"/>
              <a:gd name="connsiteX1818" fmla="*/ 627800 w 6423456"/>
              <a:gd name="connsiteY1818" fmla="*/ 2093783 h 6377102"/>
              <a:gd name="connsiteX1819" fmla="*/ 628866 w 6423456"/>
              <a:gd name="connsiteY1819" fmla="*/ 2092718 h 6377102"/>
              <a:gd name="connsiteX1820" fmla="*/ 495435 w 6423456"/>
              <a:gd name="connsiteY1820" fmla="*/ 2198670 h 6377102"/>
              <a:gd name="connsiteX1821" fmla="*/ 494902 w 6423456"/>
              <a:gd name="connsiteY1821" fmla="*/ 2198137 h 6377102"/>
              <a:gd name="connsiteX1822" fmla="*/ 494369 w 6423456"/>
              <a:gd name="connsiteY1822" fmla="*/ 2198670 h 6377102"/>
              <a:gd name="connsiteX1823" fmla="*/ 494902 w 6423456"/>
              <a:gd name="connsiteY1823" fmla="*/ 2199203 h 6377102"/>
              <a:gd name="connsiteX1824" fmla="*/ 495435 w 6423456"/>
              <a:gd name="connsiteY1824" fmla="*/ 2198670 h 6377102"/>
              <a:gd name="connsiteX1825" fmla="*/ 369617 w 6423456"/>
              <a:gd name="connsiteY1825" fmla="*/ 2312996 h 6377102"/>
              <a:gd name="connsiteX1826" fmla="*/ 369084 w 6423456"/>
              <a:gd name="connsiteY1826" fmla="*/ 2312463 h 6377102"/>
              <a:gd name="connsiteX1827" fmla="*/ 368551 w 6423456"/>
              <a:gd name="connsiteY1827" fmla="*/ 2312996 h 6377102"/>
              <a:gd name="connsiteX1828" fmla="*/ 369084 w 6423456"/>
              <a:gd name="connsiteY1828" fmla="*/ 2313528 h 6377102"/>
              <a:gd name="connsiteX1829" fmla="*/ 369617 w 6423456"/>
              <a:gd name="connsiteY1829" fmla="*/ 2312996 h 6377102"/>
              <a:gd name="connsiteX1830" fmla="*/ 4326096 w 6423456"/>
              <a:gd name="connsiteY1830" fmla="*/ 6119300 h 6377102"/>
              <a:gd name="connsiteX1831" fmla="*/ 4325564 w 6423456"/>
              <a:gd name="connsiteY1831" fmla="*/ 6118767 h 6377102"/>
              <a:gd name="connsiteX1832" fmla="*/ 4325031 w 6423456"/>
              <a:gd name="connsiteY1832" fmla="*/ 6119300 h 6377102"/>
              <a:gd name="connsiteX1833" fmla="*/ 4325564 w 6423456"/>
              <a:gd name="connsiteY1833" fmla="*/ 6119833 h 6377102"/>
              <a:gd name="connsiteX1834" fmla="*/ 4326096 w 6423456"/>
              <a:gd name="connsiteY1834" fmla="*/ 6119300 h 6377102"/>
              <a:gd name="connsiteX1835" fmla="*/ 4436540 w 6423456"/>
              <a:gd name="connsiteY1835" fmla="*/ 5989599 h 6377102"/>
              <a:gd name="connsiteX1836" fmla="*/ 4435474 w 6423456"/>
              <a:gd name="connsiteY1836" fmla="*/ 5988534 h 6377102"/>
              <a:gd name="connsiteX1837" fmla="*/ 4434409 w 6423456"/>
              <a:gd name="connsiteY1837" fmla="*/ 5989599 h 6377102"/>
              <a:gd name="connsiteX1838" fmla="*/ 4435474 w 6423456"/>
              <a:gd name="connsiteY1838" fmla="*/ 5990665 h 6377102"/>
              <a:gd name="connsiteX1839" fmla="*/ 4436540 w 6423456"/>
              <a:gd name="connsiteY1839" fmla="*/ 5989599 h 6377102"/>
              <a:gd name="connsiteX1840" fmla="*/ 4539068 w 6423456"/>
              <a:gd name="connsiteY1840" fmla="*/ 5853581 h 6377102"/>
              <a:gd name="connsiteX1841" fmla="*/ 4537469 w 6423456"/>
              <a:gd name="connsiteY1841" fmla="*/ 5851983 h 6377102"/>
              <a:gd name="connsiteX1842" fmla="*/ 4535871 w 6423456"/>
              <a:gd name="connsiteY1842" fmla="*/ 5853581 h 6377102"/>
              <a:gd name="connsiteX1843" fmla="*/ 4537469 w 6423456"/>
              <a:gd name="connsiteY1843" fmla="*/ 5855180 h 6377102"/>
              <a:gd name="connsiteX1844" fmla="*/ 4539068 w 6423456"/>
              <a:gd name="connsiteY1844" fmla="*/ 5853581 h 6377102"/>
              <a:gd name="connsiteX1845" fmla="*/ 4633755 w 6423456"/>
              <a:gd name="connsiteY1845" fmla="*/ 5711702 h 6377102"/>
              <a:gd name="connsiteX1846" fmla="*/ 4631167 w 6423456"/>
              <a:gd name="connsiteY1846" fmla="*/ 5709114 h 6377102"/>
              <a:gd name="connsiteX1847" fmla="*/ 4628503 w 6423456"/>
              <a:gd name="connsiteY1847" fmla="*/ 5711702 h 6377102"/>
              <a:gd name="connsiteX1848" fmla="*/ 4631167 w 6423456"/>
              <a:gd name="connsiteY1848" fmla="*/ 5714366 h 6377102"/>
              <a:gd name="connsiteX1849" fmla="*/ 4633755 w 6423456"/>
              <a:gd name="connsiteY1849" fmla="*/ 5711702 h 6377102"/>
              <a:gd name="connsiteX1850" fmla="*/ 4719309 w 6423456"/>
              <a:gd name="connsiteY1850" fmla="*/ 5564495 h 6377102"/>
              <a:gd name="connsiteX1851" fmla="*/ 4716188 w 6423456"/>
              <a:gd name="connsiteY1851" fmla="*/ 5561374 h 6377102"/>
              <a:gd name="connsiteX1852" fmla="*/ 4712991 w 6423456"/>
              <a:gd name="connsiteY1852" fmla="*/ 5564495 h 6377102"/>
              <a:gd name="connsiteX1853" fmla="*/ 4716188 w 6423456"/>
              <a:gd name="connsiteY1853" fmla="*/ 5567615 h 6377102"/>
              <a:gd name="connsiteX1854" fmla="*/ 4719309 w 6423456"/>
              <a:gd name="connsiteY1854" fmla="*/ 5564495 h 6377102"/>
              <a:gd name="connsiteX1855" fmla="*/ 4796413 w 6423456"/>
              <a:gd name="connsiteY1855" fmla="*/ 5412492 h 6377102"/>
              <a:gd name="connsiteX1856" fmla="*/ 4792227 w 6423456"/>
              <a:gd name="connsiteY1856" fmla="*/ 5408306 h 6377102"/>
              <a:gd name="connsiteX1857" fmla="*/ 4788041 w 6423456"/>
              <a:gd name="connsiteY1857" fmla="*/ 5412492 h 6377102"/>
              <a:gd name="connsiteX1858" fmla="*/ 4792227 w 6423456"/>
              <a:gd name="connsiteY1858" fmla="*/ 5416679 h 6377102"/>
              <a:gd name="connsiteX1859" fmla="*/ 4796413 w 6423456"/>
              <a:gd name="connsiteY1859" fmla="*/ 5412492 h 6377102"/>
              <a:gd name="connsiteX1860" fmla="*/ 4864233 w 6423456"/>
              <a:gd name="connsiteY1860" fmla="*/ 5256151 h 6377102"/>
              <a:gd name="connsiteX1861" fmla="*/ 4858980 w 6423456"/>
              <a:gd name="connsiteY1861" fmla="*/ 5250899 h 6377102"/>
              <a:gd name="connsiteX1862" fmla="*/ 4853729 w 6423456"/>
              <a:gd name="connsiteY1862" fmla="*/ 5256151 h 6377102"/>
              <a:gd name="connsiteX1863" fmla="*/ 4858980 w 6423456"/>
              <a:gd name="connsiteY1863" fmla="*/ 5261403 h 6377102"/>
              <a:gd name="connsiteX1864" fmla="*/ 4864233 w 6423456"/>
              <a:gd name="connsiteY1864" fmla="*/ 5256151 h 6377102"/>
              <a:gd name="connsiteX1865" fmla="*/ 4923146 w 6423456"/>
              <a:gd name="connsiteY1865" fmla="*/ 5096081 h 6377102"/>
              <a:gd name="connsiteX1866" fmla="*/ 4916295 w 6423456"/>
              <a:gd name="connsiteY1866" fmla="*/ 5089230 h 6377102"/>
              <a:gd name="connsiteX1867" fmla="*/ 4909445 w 6423456"/>
              <a:gd name="connsiteY1867" fmla="*/ 5096081 h 6377102"/>
              <a:gd name="connsiteX1868" fmla="*/ 4916295 w 6423456"/>
              <a:gd name="connsiteY1868" fmla="*/ 5102931 h 6377102"/>
              <a:gd name="connsiteX1869" fmla="*/ 4923146 w 6423456"/>
              <a:gd name="connsiteY1869" fmla="*/ 5096081 h 6377102"/>
              <a:gd name="connsiteX1870" fmla="*/ 4971936 w 6423456"/>
              <a:gd name="connsiteY1870" fmla="*/ 4932889 h 6377102"/>
              <a:gd name="connsiteX1871" fmla="*/ 4964096 w 6423456"/>
              <a:gd name="connsiteY1871" fmla="*/ 4925049 h 6377102"/>
              <a:gd name="connsiteX1872" fmla="*/ 4956180 w 6423456"/>
              <a:gd name="connsiteY1872" fmla="*/ 4932889 h 6377102"/>
              <a:gd name="connsiteX1873" fmla="*/ 4964096 w 6423456"/>
              <a:gd name="connsiteY1873" fmla="*/ 4940805 h 6377102"/>
              <a:gd name="connsiteX1874" fmla="*/ 4971936 w 6423456"/>
              <a:gd name="connsiteY1874" fmla="*/ 4932889 h 6377102"/>
              <a:gd name="connsiteX1875" fmla="*/ 5011287 w 6423456"/>
              <a:gd name="connsiteY1875" fmla="*/ 4767186 h 6377102"/>
              <a:gd name="connsiteX1876" fmla="*/ 5001849 w 6423456"/>
              <a:gd name="connsiteY1876" fmla="*/ 4757747 h 6377102"/>
              <a:gd name="connsiteX1877" fmla="*/ 4992411 w 6423456"/>
              <a:gd name="connsiteY1877" fmla="*/ 4767186 h 6377102"/>
              <a:gd name="connsiteX1878" fmla="*/ 5001849 w 6423456"/>
              <a:gd name="connsiteY1878" fmla="*/ 4776624 h 6377102"/>
              <a:gd name="connsiteX1879" fmla="*/ 5011287 w 6423456"/>
              <a:gd name="connsiteY1879" fmla="*/ 4767186 h 6377102"/>
              <a:gd name="connsiteX1880" fmla="*/ 5040211 w 6423456"/>
              <a:gd name="connsiteY1880" fmla="*/ 4599427 h 6377102"/>
              <a:gd name="connsiteX1881" fmla="*/ 5029707 w 6423456"/>
              <a:gd name="connsiteY1881" fmla="*/ 4588923 h 6377102"/>
              <a:gd name="connsiteX1882" fmla="*/ 5019203 w 6423456"/>
              <a:gd name="connsiteY1882" fmla="*/ 4599427 h 6377102"/>
              <a:gd name="connsiteX1883" fmla="*/ 5029707 w 6423456"/>
              <a:gd name="connsiteY1883" fmla="*/ 4609931 h 6377102"/>
              <a:gd name="connsiteX1884" fmla="*/ 5040211 w 6423456"/>
              <a:gd name="connsiteY1884" fmla="*/ 4599427 h 6377102"/>
              <a:gd name="connsiteX1885" fmla="*/ 5059545 w 6423456"/>
              <a:gd name="connsiteY1885" fmla="*/ 4430375 h 6377102"/>
              <a:gd name="connsiteX1886" fmla="*/ 5047442 w 6423456"/>
              <a:gd name="connsiteY1886" fmla="*/ 4418272 h 6377102"/>
              <a:gd name="connsiteX1887" fmla="*/ 5035340 w 6423456"/>
              <a:gd name="connsiteY1887" fmla="*/ 4430375 h 6377102"/>
              <a:gd name="connsiteX1888" fmla="*/ 5047442 w 6423456"/>
              <a:gd name="connsiteY1888" fmla="*/ 4442477 h 6377102"/>
              <a:gd name="connsiteX1889" fmla="*/ 5059545 w 6423456"/>
              <a:gd name="connsiteY1889" fmla="*/ 4430375 h 6377102"/>
              <a:gd name="connsiteX1890" fmla="*/ 5068755 w 6423456"/>
              <a:gd name="connsiteY1890" fmla="*/ 4260561 h 6377102"/>
              <a:gd name="connsiteX1891" fmla="*/ 5055054 w 6423456"/>
              <a:gd name="connsiteY1891" fmla="*/ 4246936 h 6377102"/>
              <a:gd name="connsiteX1892" fmla="*/ 5041430 w 6423456"/>
              <a:gd name="connsiteY1892" fmla="*/ 4260561 h 6377102"/>
              <a:gd name="connsiteX1893" fmla="*/ 5055054 w 6423456"/>
              <a:gd name="connsiteY1893" fmla="*/ 4274186 h 6377102"/>
              <a:gd name="connsiteX1894" fmla="*/ 5068755 w 6423456"/>
              <a:gd name="connsiteY1894" fmla="*/ 4260561 h 6377102"/>
              <a:gd name="connsiteX1895" fmla="*/ 5067765 w 6423456"/>
              <a:gd name="connsiteY1895" fmla="*/ 4090595 h 6377102"/>
              <a:gd name="connsiteX1896" fmla="*/ 5052542 w 6423456"/>
              <a:gd name="connsiteY1896" fmla="*/ 4075372 h 6377102"/>
              <a:gd name="connsiteX1897" fmla="*/ 5037319 w 6423456"/>
              <a:gd name="connsiteY1897" fmla="*/ 4090595 h 6377102"/>
              <a:gd name="connsiteX1898" fmla="*/ 5052542 w 6423456"/>
              <a:gd name="connsiteY1898" fmla="*/ 4105818 h 6377102"/>
              <a:gd name="connsiteX1899" fmla="*/ 5067765 w 6423456"/>
              <a:gd name="connsiteY1899" fmla="*/ 4090595 h 6377102"/>
              <a:gd name="connsiteX1900" fmla="*/ 5056653 w 6423456"/>
              <a:gd name="connsiteY1900" fmla="*/ 3921010 h 6377102"/>
              <a:gd name="connsiteX1901" fmla="*/ 5039830 w 6423456"/>
              <a:gd name="connsiteY1901" fmla="*/ 3904189 h 6377102"/>
              <a:gd name="connsiteX1902" fmla="*/ 5023009 w 6423456"/>
              <a:gd name="connsiteY1902" fmla="*/ 3921010 h 6377102"/>
              <a:gd name="connsiteX1903" fmla="*/ 5039830 w 6423456"/>
              <a:gd name="connsiteY1903" fmla="*/ 3937832 h 6377102"/>
              <a:gd name="connsiteX1904" fmla="*/ 5056653 w 6423456"/>
              <a:gd name="connsiteY1904" fmla="*/ 3921010 h 6377102"/>
              <a:gd name="connsiteX1905" fmla="*/ 5035416 w 6423456"/>
              <a:gd name="connsiteY1905" fmla="*/ 3752567 h 6377102"/>
              <a:gd name="connsiteX1906" fmla="*/ 5016996 w 6423456"/>
              <a:gd name="connsiteY1906" fmla="*/ 3734147 h 6377102"/>
              <a:gd name="connsiteX1907" fmla="*/ 4998653 w 6423456"/>
              <a:gd name="connsiteY1907" fmla="*/ 3752567 h 6377102"/>
              <a:gd name="connsiteX1908" fmla="*/ 5016996 w 6423456"/>
              <a:gd name="connsiteY1908" fmla="*/ 3770987 h 6377102"/>
              <a:gd name="connsiteX1909" fmla="*/ 5035416 w 6423456"/>
              <a:gd name="connsiteY1909" fmla="*/ 3752567 h 6377102"/>
              <a:gd name="connsiteX1910" fmla="*/ 5003599 w 6423456"/>
              <a:gd name="connsiteY1910" fmla="*/ 3585798 h 6377102"/>
              <a:gd name="connsiteX1911" fmla="*/ 4984191 w 6423456"/>
              <a:gd name="connsiteY1911" fmla="*/ 3566388 h 6377102"/>
              <a:gd name="connsiteX1912" fmla="*/ 4964781 w 6423456"/>
              <a:gd name="connsiteY1912" fmla="*/ 3585798 h 6377102"/>
              <a:gd name="connsiteX1913" fmla="*/ 4984191 w 6423456"/>
              <a:gd name="connsiteY1913" fmla="*/ 3605207 h 6377102"/>
              <a:gd name="connsiteX1914" fmla="*/ 5003599 w 6423456"/>
              <a:gd name="connsiteY1914" fmla="*/ 3585798 h 6377102"/>
              <a:gd name="connsiteX1915" fmla="*/ 4962422 w 6423456"/>
              <a:gd name="connsiteY1915" fmla="*/ 3421236 h 6377102"/>
              <a:gd name="connsiteX1916" fmla="*/ 4941414 w 6423456"/>
              <a:gd name="connsiteY1916" fmla="*/ 3400229 h 6377102"/>
              <a:gd name="connsiteX1917" fmla="*/ 4920406 w 6423456"/>
              <a:gd name="connsiteY1917" fmla="*/ 3421236 h 6377102"/>
              <a:gd name="connsiteX1918" fmla="*/ 4941414 w 6423456"/>
              <a:gd name="connsiteY1918" fmla="*/ 3442244 h 6377102"/>
              <a:gd name="connsiteX1919" fmla="*/ 4962422 w 6423456"/>
              <a:gd name="connsiteY1919" fmla="*/ 3421236 h 6377102"/>
              <a:gd name="connsiteX1920" fmla="*/ 4910968 w 6423456"/>
              <a:gd name="connsiteY1920" fmla="*/ 3259567 h 6377102"/>
              <a:gd name="connsiteX1921" fmla="*/ 4888894 w 6423456"/>
              <a:gd name="connsiteY1921" fmla="*/ 3237494 h 6377102"/>
              <a:gd name="connsiteX1922" fmla="*/ 4866820 w 6423456"/>
              <a:gd name="connsiteY1922" fmla="*/ 3259567 h 6377102"/>
              <a:gd name="connsiteX1923" fmla="*/ 4888894 w 6423456"/>
              <a:gd name="connsiteY1923" fmla="*/ 3281641 h 6377102"/>
              <a:gd name="connsiteX1924" fmla="*/ 4910968 w 6423456"/>
              <a:gd name="connsiteY1924" fmla="*/ 3259567 h 6377102"/>
              <a:gd name="connsiteX1925" fmla="*/ 4849847 w 6423456"/>
              <a:gd name="connsiteY1925" fmla="*/ 3101323 h 6377102"/>
              <a:gd name="connsiteX1926" fmla="*/ 4826707 w 6423456"/>
              <a:gd name="connsiteY1926" fmla="*/ 3078184 h 6377102"/>
              <a:gd name="connsiteX1927" fmla="*/ 4803569 w 6423456"/>
              <a:gd name="connsiteY1927" fmla="*/ 3101323 h 6377102"/>
              <a:gd name="connsiteX1928" fmla="*/ 4826707 w 6423456"/>
              <a:gd name="connsiteY1928" fmla="*/ 3124462 h 6377102"/>
              <a:gd name="connsiteX1929" fmla="*/ 4849847 w 6423456"/>
              <a:gd name="connsiteY1929" fmla="*/ 3101323 h 6377102"/>
              <a:gd name="connsiteX1930" fmla="*/ 4779440 w 6423456"/>
              <a:gd name="connsiteY1930" fmla="*/ 2947037 h 6377102"/>
              <a:gd name="connsiteX1931" fmla="*/ 4755311 w 6423456"/>
              <a:gd name="connsiteY1931" fmla="*/ 2922909 h 6377102"/>
              <a:gd name="connsiteX1932" fmla="*/ 4731183 w 6423456"/>
              <a:gd name="connsiteY1932" fmla="*/ 2947037 h 6377102"/>
              <a:gd name="connsiteX1933" fmla="*/ 4755311 w 6423456"/>
              <a:gd name="connsiteY1933" fmla="*/ 2971166 h 6377102"/>
              <a:gd name="connsiteX1934" fmla="*/ 4779440 w 6423456"/>
              <a:gd name="connsiteY1934" fmla="*/ 2947037 h 6377102"/>
              <a:gd name="connsiteX1935" fmla="*/ 4699975 w 6423456"/>
              <a:gd name="connsiteY1935" fmla="*/ 2797318 h 6377102"/>
              <a:gd name="connsiteX1936" fmla="*/ 4674781 w 6423456"/>
              <a:gd name="connsiteY1936" fmla="*/ 2772124 h 6377102"/>
              <a:gd name="connsiteX1937" fmla="*/ 4649587 w 6423456"/>
              <a:gd name="connsiteY1937" fmla="*/ 2797318 h 6377102"/>
              <a:gd name="connsiteX1938" fmla="*/ 4674781 w 6423456"/>
              <a:gd name="connsiteY1938" fmla="*/ 2822512 h 6377102"/>
              <a:gd name="connsiteX1939" fmla="*/ 4699975 w 6423456"/>
              <a:gd name="connsiteY1939" fmla="*/ 2797318 h 6377102"/>
              <a:gd name="connsiteX1940" fmla="*/ 4611149 w 6423456"/>
              <a:gd name="connsiteY1940" fmla="*/ 2652699 h 6377102"/>
              <a:gd name="connsiteX1941" fmla="*/ 4585422 w 6423456"/>
              <a:gd name="connsiteY1941" fmla="*/ 2626972 h 6377102"/>
              <a:gd name="connsiteX1942" fmla="*/ 4559695 w 6423456"/>
              <a:gd name="connsiteY1942" fmla="*/ 2652699 h 6377102"/>
              <a:gd name="connsiteX1943" fmla="*/ 4585422 w 6423456"/>
              <a:gd name="connsiteY1943" fmla="*/ 2678426 h 6377102"/>
              <a:gd name="connsiteX1944" fmla="*/ 4611149 w 6423456"/>
              <a:gd name="connsiteY1944" fmla="*/ 2652699 h 6377102"/>
              <a:gd name="connsiteX1945" fmla="*/ 4513797 w 6423456"/>
              <a:gd name="connsiteY1945" fmla="*/ 2513712 h 6377102"/>
              <a:gd name="connsiteX1946" fmla="*/ 4487537 w 6423456"/>
              <a:gd name="connsiteY1946" fmla="*/ 2487452 h 6377102"/>
              <a:gd name="connsiteX1947" fmla="*/ 4461277 w 6423456"/>
              <a:gd name="connsiteY1947" fmla="*/ 2513712 h 6377102"/>
              <a:gd name="connsiteX1948" fmla="*/ 4487537 w 6423456"/>
              <a:gd name="connsiteY1948" fmla="*/ 2539972 h 6377102"/>
              <a:gd name="connsiteX1949" fmla="*/ 4513797 w 6423456"/>
              <a:gd name="connsiteY1949" fmla="*/ 2513712 h 6377102"/>
              <a:gd name="connsiteX1950" fmla="*/ 4407769 w 6423456"/>
              <a:gd name="connsiteY1950" fmla="*/ 2380814 h 6377102"/>
              <a:gd name="connsiteX1951" fmla="*/ 4381508 w 6423456"/>
              <a:gd name="connsiteY1951" fmla="*/ 2354555 h 6377102"/>
              <a:gd name="connsiteX1952" fmla="*/ 4355249 w 6423456"/>
              <a:gd name="connsiteY1952" fmla="*/ 2380814 h 6377102"/>
              <a:gd name="connsiteX1953" fmla="*/ 4381508 w 6423456"/>
              <a:gd name="connsiteY1953" fmla="*/ 2407074 h 6377102"/>
              <a:gd name="connsiteX1954" fmla="*/ 4407769 w 6423456"/>
              <a:gd name="connsiteY1954" fmla="*/ 2380814 h 6377102"/>
              <a:gd name="connsiteX1955" fmla="*/ 4294585 w 6423456"/>
              <a:gd name="connsiteY1955" fmla="*/ 2254463 h 6377102"/>
              <a:gd name="connsiteX1956" fmla="*/ 4267792 w 6423456"/>
              <a:gd name="connsiteY1956" fmla="*/ 2227670 h 6377102"/>
              <a:gd name="connsiteX1957" fmla="*/ 4240999 w 6423456"/>
              <a:gd name="connsiteY1957" fmla="*/ 2254463 h 6377102"/>
              <a:gd name="connsiteX1958" fmla="*/ 4267792 w 6423456"/>
              <a:gd name="connsiteY1958" fmla="*/ 2281256 h 6377102"/>
              <a:gd name="connsiteX1959" fmla="*/ 4294585 w 6423456"/>
              <a:gd name="connsiteY1959" fmla="*/ 2254463 h 6377102"/>
              <a:gd name="connsiteX1960" fmla="*/ 4173485 w 6423456"/>
              <a:gd name="connsiteY1960" fmla="*/ 2135114 h 6377102"/>
              <a:gd name="connsiteX1961" fmla="*/ 4146692 w 6423456"/>
              <a:gd name="connsiteY1961" fmla="*/ 2108321 h 6377102"/>
              <a:gd name="connsiteX1962" fmla="*/ 4119899 w 6423456"/>
              <a:gd name="connsiteY1962" fmla="*/ 2135114 h 6377102"/>
              <a:gd name="connsiteX1963" fmla="*/ 4146692 w 6423456"/>
              <a:gd name="connsiteY1963" fmla="*/ 2161907 h 6377102"/>
              <a:gd name="connsiteX1964" fmla="*/ 4173485 w 6423456"/>
              <a:gd name="connsiteY1964" fmla="*/ 2135114 h 6377102"/>
              <a:gd name="connsiteX1965" fmla="*/ 4044926 w 6423456"/>
              <a:gd name="connsiteY1965" fmla="*/ 2023300 h 6377102"/>
              <a:gd name="connsiteX1966" fmla="*/ 4018666 w 6423456"/>
              <a:gd name="connsiteY1966" fmla="*/ 1997041 h 6377102"/>
              <a:gd name="connsiteX1967" fmla="*/ 3992406 w 6423456"/>
              <a:gd name="connsiteY1967" fmla="*/ 2023300 h 6377102"/>
              <a:gd name="connsiteX1968" fmla="*/ 4018666 w 6423456"/>
              <a:gd name="connsiteY1968" fmla="*/ 2049560 h 6377102"/>
              <a:gd name="connsiteX1969" fmla="*/ 4044926 w 6423456"/>
              <a:gd name="connsiteY1969" fmla="*/ 2023300 h 6377102"/>
              <a:gd name="connsiteX1970" fmla="*/ 3910430 w 6423456"/>
              <a:gd name="connsiteY1970" fmla="*/ 1919327 h 6377102"/>
              <a:gd name="connsiteX1971" fmla="*/ 3884170 w 6423456"/>
              <a:gd name="connsiteY1971" fmla="*/ 1893067 h 6377102"/>
              <a:gd name="connsiteX1972" fmla="*/ 3857910 w 6423456"/>
              <a:gd name="connsiteY1972" fmla="*/ 1919327 h 6377102"/>
              <a:gd name="connsiteX1973" fmla="*/ 3884170 w 6423456"/>
              <a:gd name="connsiteY1973" fmla="*/ 1945586 h 6377102"/>
              <a:gd name="connsiteX1974" fmla="*/ 3910430 w 6423456"/>
              <a:gd name="connsiteY1974" fmla="*/ 1919327 h 6377102"/>
              <a:gd name="connsiteX1975" fmla="*/ 3769464 w 6423456"/>
              <a:gd name="connsiteY1975" fmla="*/ 1823497 h 6377102"/>
              <a:gd name="connsiteX1976" fmla="*/ 3743737 w 6423456"/>
              <a:gd name="connsiteY1976" fmla="*/ 1797770 h 6377102"/>
              <a:gd name="connsiteX1977" fmla="*/ 3718011 w 6423456"/>
              <a:gd name="connsiteY1977" fmla="*/ 1823497 h 6377102"/>
              <a:gd name="connsiteX1978" fmla="*/ 3743737 w 6423456"/>
              <a:gd name="connsiteY1978" fmla="*/ 1849224 h 6377102"/>
              <a:gd name="connsiteX1979" fmla="*/ 3769464 w 6423456"/>
              <a:gd name="connsiteY1979" fmla="*/ 1823497 h 6377102"/>
              <a:gd name="connsiteX1980" fmla="*/ 3622409 w 6423456"/>
              <a:gd name="connsiteY1980" fmla="*/ 1736345 h 6377102"/>
              <a:gd name="connsiteX1981" fmla="*/ 3597748 w 6423456"/>
              <a:gd name="connsiteY1981" fmla="*/ 1711684 h 6377102"/>
              <a:gd name="connsiteX1982" fmla="*/ 3573086 w 6423456"/>
              <a:gd name="connsiteY1982" fmla="*/ 1736345 h 6377102"/>
              <a:gd name="connsiteX1983" fmla="*/ 3597748 w 6423456"/>
              <a:gd name="connsiteY1983" fmla="*/ 1761007 h 6377102"/>
              <a:gd name="connsiteX1984" fmla="*/ 3622409 w 6423456"/>
              <a:gd name="connsiteY1984" fmla="*/ 1736345 h 6377102"/>
              <a:gd name="connsiteX1985" fmla="*/ 3471015 w 6423456"/>
              <a:gd name="connsiteY1985" fmla="*/ 1658022 h 6377102"/>
              <a:gd name="connsiteX1986" fmla="*/ 3446811 w 6423456"/>
              <a:gd name="connsiteY1986" fmla="*/ 1633818 h 6377102"/>
              <a:gd name="connsiteX1987" fmla="*/ 3422682 w 6423456"/>
              <a:gd name="connsiteY1987" fmla="*/ 1658022 h 6377102"/>
              <a:gd name="connsiteX1988" fmla="*/ 3446811 w 6423456"/>
              <a:gd name="connsiteY1988" fmla="*/ 1682151 h 6377102"/>
              <a:gd name="connsiteX1989" fmla="*/ 3471015 w 6423456"/>
              <a:gd name="connsiteY1989" fmla="*/ 1658022 h 6377102"/>
              <a:gd name="connsiteX1990" fmla="*/ 3314674 w 6423456"/>
              <a:gd name="connsiteY1990" fmla="*/ 1588910 h 6377102"/>
              <a:gd name="connsiteX1991" fmla="*/ 3291536 w 6423456"/>
              <a:gd name="connsiteY1991" fmla="*/ 1565771 h 6377102"/>
              <a:gd name="connsiteX1992" fmla="*/ 3268396 w 6423456"/>
              <a:gd name="connsiteY1992" fmla="*/ 1588910 h 6377102"/>
              <a:gd name="connsiteX1993" fmla="*/ 3291536 w 6423456"/>
              <a:gd name="connsiteY1993" fmla="*/ 1612049 h 6377102"/>
              <a:gd name="connsiteX1994" fmla="*/ 3314674 w 6423456"/>
              <a:gd name="connsiteY1994" fmla="*/ 1588910 h 6377102"/>
              <a:gd name="connsiteX1995" fmla="*/ 3154452 w 6423456"/>
              <a:gd name="connsiteY1995" fmla="*/ 1529159 h 6377102"/>
              <a:gd name="connsiteX1996" fmla="*/ 3132378 w 6423456"/>
              <a:gd name="connsiteY1996" fmla="*/ 1507085 h 6377102"/>
              <a:gd name="connsiteX1997" fmla="*/ 3110304 w 6423456"/>
              <a:gd name="connsiteY1997" fmla="*/ 1529159 h 6377102"/>
              <a:gd name="connsiteX1998" fmla="*/ 3132378 w 6423456"/>
              <a:gd name="connsiteY1998" fmla="*/ 1551232 h 6377102"/>
              <a:gd name="connsiteX1999" fmla="*/ 3154452 w 6423456"/>
              <a:gd name="connsiteY1999" fmla="*/ 1529159 h 6377102"/>
              <a:gd name="connsiteX2000" fmla="*/ 2990423 w 6423456"/>
              <a:gd name="connsiteY2000" fmla="*/ 1478999 h 6377102"/>
              <a:gd name="connsiteX2001" fmla="*/ 2969948 w 6423456"/>
              <a:gd name="connsiteY2001" fmla="*/ 1458524 h 6377102"/>
              <a:gd name="connsiteX2002" fmla="*/ 2949472 w 6423456"/>
              <a:gd name="connsiteY2002" fmla="*/ 1478999 h 6377102"/>
              <a:gd name="connsiteX2003" fmla="*/ 2969948 w 6423456"/>
              <a:gd name="connsiteY2003" fmla="*/ 1499474 h 6377102"/>
              <a:gd name="connsiteX2004" fmla="*/ 2990423 w 6423456"/>
              <a:gd name="connsiteY2004" fmla="*/ 1478999 h 6377102"/>
              <a:gd name="connsiteX2005" fmla="*/ 2824187 w 6423456"/>
              <a:gd name="connsiteY2005" fmla="*/ 1438734 h 6377102"/>
              <a:gd name="connsiteX2006" fmla="*/ 2804777 w 6423456"/>
              <a:gd name="connsiteY2006" fmla="*/ 1419324 h 6377102"/>
              <a:gd name="connsiteX2007" fmla="*/ 2785368 w 6423456"/>
              <a:gd name="connsiteY2007" fmla="*/ 1438734 h 6377102"/>
              <a:gd name="connsiteX2008" fmla="*/ 2804777 w 6423456"/>
              <a:gd name="connsiteY2008" fmla="*/ 1458143 h 6377102"/>
              <a:gd name="connsiteX2009" fmla="*/ 2824187 w 6423456"/>
              <a:gd name="connsiteY2009" fmla="*/ 1438734 h 6377102"/>
              <a:gd name="connsiteX2010" fmla="*/ 2655362 w 6423456"/>
              <a:gd name="connsiteY2010" fmla="*/ 1408364 h 6377102"/>
              <a:gd name="connsiteX2011" fmla="*/ 2637475 w 6423456"/>
              <a:gd name="connsiteY2011" fmla="*/ 1390477 h 6377102"/>
              <a:gd name="connsiteX2012" fmla="*/ 2619588 w 6423456"/>
              <a:gd name="connsiteY2012" fmla="*/ 1408364 h 6377102"/>
              <a:gd name="connsiteX2013" fmla="*/ 2637475 w 6423456"/>
              <a:gd name="connsiteY2013" fmla="*/ 1426251 h 6377102"/>
              <a:gd name="connsiteX2014" fmla="*/ 2655362 w 6423456"/>
              <a:gd name="connsiteY2014" fmla="*/ 1408364 h 6377102"/>
              <a:gd name="connsiteX2015" fmla="*/ 2485016 w 6423456"/>
              <a:gd name="connsiteY2015" fmla="*/ 1388041 h 6377102"/>
              <a:gd name="connsiteX2016" fmla="*/ 2468728 w 6423456"/>
              <a:gd name="connsiteY2016" fmla="*/ 1371752 h 6377102"/>
              <a:gd name="connsiteX2017" fmla="*/ 2452439 w 6423456"/>
              <a:gd name="connsiteY2017" fmla="*/ 1388041 h 6377102"/>
              <a:gd name="connsiteX2018" fmla="*/ 2468728 w 6423456"/>
              <a:gd name="connsiteY2018" fmla="*/ 1404330 h 6377102"/>
              <a:gd name="connsiteX2019" fmla="*/ 2485016 w 6423456"/>
              <a:gd name="connsiteY2019" fmla="*/ 1388041 h 6377102"/>
              <a:gd name="connsiteX2020" fmla="*/ 2313756 w 6423456"/>
              <a:gd name="connsiteY2020" fmla="*/ 1377918 h 6377102"/>
              <a:gd name="connsiteX2021" fmla="*/ 2299066 w 6423456"/>
              <a:gd name="connsiteY2021" fmla="*/ 1363227 h 6377102"/>
              <a:gd name="connsiteX2022" fmla="*/ 2284376 w 6423456"/>
              <a:gd name="connsiteY2022" fmla="*/ 1377918 h 6377102"/>
              <a:gd name="connsiteX2023" fmla="*/ 2299066 w 6423456"/>
              <a:gd name="connsiteY2023" fmla="*/ 1392608 h 6377102"/>
              <a:gd name="connsiteX2024" fmla="*/ 2313756 w 6423456"/>
              <a:gd name="connsiteY2024" fmla="*/ 1377918 h 6377102"/>
              <a:gd name="connsiteX2025" fmla="*/ 2142649 w 6423456"/>
              <a:gd name="connsiteY2025" fmla="*/ 1377918 h 6377102"/>
              <a:gd name="connsiteX2026" fmla="*/ 2129025 w 6423456"/>
              <a:gd name="connsiteY2026" fmla="*/ 1364217 h 6377102"/>
              <a:gd name="connsiteX2027" fmla="*/ 2115400 w 6423456"/>
              <a:gd name="connsiteY2027" fmla="*/ 1377918 h 6377102"/>
              <a:gd name="connsiteX2028" fmla="*/ 2129025 w 6423456"/>
              <a:gd name="connsiteY2028" fmla="*/ 1391542 h 6377102"/>
              <a:gd name="connsiteX2029" fmla="*/ 2142649 w 6423456"/>
              <a:gd name="connsiteY2029" fmla="*/ 1377918 h 6377102"/>
              <a:gd name="connsiteX2030" fmla="*/ 1971390 w 6423456"/>
              <a:gd name="connsiteY2030" fmla="*/ 1388041 h 6377102"/>
              <a:gd name="connsiteX2031" fmla="*/ 1959287 w 6423456"/>
              <a:gd name="connsiteY2031" fmla="*/ 1375939 h 6377102"/>
              <a:gd name="connsiteX2032" fmla="*/ 1947184 w 6423456"/>
              <a:gd name="connsiteY2032" fmla="*/ 1388041 h 6377102"/>
              <a:gd name="connsiteX2033" fmla="*/ 1959287 w 6423456"/>
              <a:gd name="connsiteY2033" fmla="*/ 1400143 h 6377102"/>
              <a:gd name="connsiteX2034" fmla="*/ 1971390 w 6423456"/>
              <a:gd name="connsiteY2034" fmla="*/ 1388041 h 6377102"/>
              <a:gd name="connsiteX2035" fmla="*/ 1801043 w 6423456"/>
              <a:gd name="connsiteY2035" fmla="*/ 1408364 h 6377102"/>
              <a:gd name="connsiteX2036" fmla="*/ 1790539 w 6423456"/>
              <a:gd name="connsiteY2036" fmla="*/ 1397860 h 6377102"/>
              <a:gd name="connsiteX2037" fmla="*/ 1780035 w 6423456"/>
              <a:gd name="connsiteY2037" fmla="*/ 1408364 h 6377102"/>
              <a:gd name="connsiteX2038" fmla="*/ 1790539 w 6423456"/>
              <a:gd name="connsiteY2038" fmla="*/ 1418868 h 6377102"/>
              <a:gd name="connsiteX2039" fmla="*/ 1801043 w 6423456"/>
              <a:gd name="connsiteY2039" fmla="*/ 1408364 h 6377102"/>
              <a:gd name="connsiteX2040" fmla="*/ 1632219 w 6423456"/>
              <a:gd name="connsiteY2040" fmla="*/ 1438734 h 6377102"/>
              <a:gd name="connsiteX2041" fmla="*/ 1623313 w 6423456"/>
              <a:gd name="connsiteY2041" fmla="*/ 1429828 h 6377102"/>
              <a:gd name="connsiteX2042" fmla="*/ 1614408 w 6423456"/>
              <a:gd name="connsiteY2042" fmla="*/ 1438734 h 6377102"/>
              <a:gd name="connsiteX2043" fmla="*/ 1623313 w 6423456"/>
              <a:gd name="connsiteY2043" fmla="*/ 1447639 h 6377102"/>
              <a:gd name="connsiteX2044" fmla="*/ 1632219 w 6423456"/>
              <a:gd name="connsiteY2044" fmla="*/ 1438734 h 6377102"/>
              <a:gd name="connsiteX2045" fmla="*/ 1465450 w 6423456"/>
              <a:gd name="connsiteY2045" fmla="*/ 1478999 h 6377102"/>
              <a:gd name="connsiteX2046" fmla="*/ 1458067 w 6423456"/>
              <a:gd name="connsiteY2046" fmla="*/ 1471616 h 6377102"/>
              <a:gd name="connsiteX2047" fmla="*/ 1450684 w 6423456"/>
              <a:gd name="connsiteY2047" fmla="*/ 1478999 h 6377102"/>
              <a:gd name="connsiteX2048" fmla="*/ 1458067 w 6423456"/>
              <a:gd name="connsiteY2048" fmla="*/ 1486382 h 6377102"/>
              <a:gd name="connsiteX2049" fmla="*/ 1465450 w 6423456"/>
              <a:gd name="connsiteY2049" fmla="*/ 1478999 h 6377102"/>
              <a:gd name="connsiteX2050" fmla="*/ 1301954 w 6423456"/>
              <a:gd name="connsiteY2050" fmla="*/ 1529159 h 6377102"/>
              <a:gd name="connsiteX2051" fmla="*/ 1295637 w 6423456"/>
              <a:gd name="connsiteY2051" fmla="*/ 1522841 h 6377102"/>
              <a:gd name="connsiteX2052" fmla="*/ 1289319 w 6423456"/>
              <a:gd name="connsiteY2052" fmla="*/ 1529159 h 6377102"/>
              <a:gd name="connsiteX2053" fmla="*/ 1295637 w 6423456"/>
              <a:gd name="connsiteY2053" fmla="*/ 1535477 h 6377102"/>
              <a:gd name="connsiteX2054" fmla="*/ 1301954 w 6423456"/>
              <a:gd name="connsiteY2054" fmla="*/ 1529159 h 6377102"/>
              <a:gd name="connsiteX2055" fmla="*/ 1141731 w 6423456"/>
              <a:gd name="connsiteY2055" fmla="*/ 1588910 h 6377102"/>
              <a:gd name="connsiteX2056" fmla="*/ 1136479 w 6423456"/>
              <a:gd name="connsiteY2056" fmla="*/ 1583658 h 6377102"/>
              <a:gd name="connsiteX2057" fmla="*/ 1131227 w 6423456"/>
              <a:gd name="connsiteY2057" fmla="*/ 1588910 h 6377102"/>
              <a:gd name="connsiteX2058" fmla="*/ 1136479 w 6423456"/>
              <a:gd name="connsiteY2058" fmla="*/ 1594162 h 6377102"/>
              <a:gd name="connsiteX2059" fmla="*/ 1141731 w 6423456"/>
              <a:gd name="connsiteY2059" fmla="*/ 1588910 h 6377102"/>
              <a:gd name="connsiteX2060" fmla="*/ 985390 w 6423456"/>
              <a:gd name="connsiteY2060" fmla="*/ 1658022 h 6377102"/>
              <a:gd name="connsiteX2061" fmla="*/ 981204 w 6423456"/>
              <a:gd name="connsiteY2061" fmla="*/ 1653836 h 6377102"/>
              <a:gd name="connsiteX2062" fmla="*/ 977018 w 6423456"/>
              <a:gd name="connsiteY2062" fmla="*/ 1658022 h 6377102"/>
              <a:gd name="connsiteX2063" fmla="*/ 981204 w 6423456"/>
              <a:gd name="connsiteY2063" fmla="*/ 1662209 h 6377102"/>
              <a:gd name="connsiteX2064" fmla="*/ 985390 w 6423456"/>
              <a:gd name="connsiteY2064" fmla="*/ 1658022 h 6377102"/>
              <a:gd name="connsiteX2065" fmla="*/ 833464 w 6423456"/>
              <a:gd name="connsiteY2065" fmla="*/ 1736345 h 6377102"/>
              <a:gd name="connsiteX2066" fmla="*/ 830343 w 6423456"/>
              <a:gd name="connsiteY2066" fmla="*/ 1733224 h 6377102"/>
              <a:gd name="connsiteX2067" fmla="*/ 827146 w 6423456"/>
              <a:gd name="connsiteY2067" fmla="*/ 1736345 h 6377102"/>
              <a:gd name="connsiteX2068" fmla="*/ 830343 w 6423456"/>
              <a:gd name="connsiteY2068" fmla="*/ 1739466 h 6377102"/>
              <a:gd name="connsiteX2069" fmla="*/ 833464 w 6423456"/>
              <a:gd name="connsiteY2069" fmla="*/ 1736345 h 6377102"/>
              <a:gd name="connsiteX2070" fmla="*/ 686409 w 6423456"/>
              <a:gd name="connsiteY2070" fmla="*/ 1823497 h 6377102"/>
              <a:gd name="connsiteX2071" fmla="*/ 684277 w 6423456"/>
              <a:gd name="connsiteY2071" fmla="*/ 1821366 h 6377102"/>
              <a:gd name="connsiteX2072" fmla="*/ 682146 w 6423456"/>
              <a:gd name="connsiteY2072" fmla="*/ 1823497 h 6377102"/>
              <a:gd name="connsiteX2073" fmla="*/ 684277 w 6423456"/>
              <a:gd name="connsiteY2073" fmla="*/ 1825629 h 6377102"/>
              <a:gd name="connsiteX2074" fmla="*/ 686409 w 6423456"/>
              <a:gd name="connsiteY2074" fmla="*/ 1823497 h 6377102"/>
              <a:gd name="connsiteX2075" fmla="*/ 544910 w 6423456"/>
              <a:gd name="connsiteY2075" fmla="*/ 1919327 h 6377102"/>
              <a:gd name="connsiteX2076" fmla="*/ 543844 w 6423456"/>
              <a:gd name="connsiteY2076" fmla="*/ 1918261 h 6377102"/>
              <a:gd name="connsiteX2077" fmla="*/ 542779 w 6423456"/>
              <a:gd name="connsiteY2077" fmla="*/ 1919327 h 6377102"/>
              <a:gd name="connsiteX2078" fmla="*/ 543844 w 6423456"/>
              <a:gd name="connsiteY2078" fmla="*/ 1920392 h 6377102"/>
              <a:gd name="connsiteX2079" fmla="*/ 544910 w 6423456"/>
              <a:gd name="connsiteY2079" fmla="*/ 1919327 h 6377102"/>
              <a:gd name="connsiteX2080" fmla="*/ 410414 w 6423456"/>
              <a:gd name="connsiteY2080" fmla="*/ 2023300 h 6377102"/>
              <a:gd name="connsiteX2081" fmla="*/ 409349 w 6423456"/>
              <a:gd name="connsiteY2081" fmla="*/ 2022235 h 6377102"/>
              <a:gd name="connsiteX2082" fmla="*/ 408283 w 6423456"/>
              <a:gd name="connsiteY2082" fmla="*/ 2023300 h 6377102"/>
              <a:gd name="connsiteX2083" fmla="*/ 409349 w 6423456"/>
              <a:gd name="connsiteY2083" fmla="*/ 2024366 h 6377102"/>
              <a:gd name="connsiteX2084" fmla="*/ 410414 w 6423456"/>
              <a:gd name="connsiteY2084" fmla="*/ 2023300 h 6377102"/>
              <a:gd name="connsiteX2085" fmla="*/ 281931 w 6423456"/>
              <a:gd name="connsiteY2085" fmla="*/ 2135114 h 6377102"/>
              <a:gd name="connsiteX2086" fmla="*/ 281399 w 6423456"/>
              <a:gd name="connsiteY2086" fmla="*/ 2134581 h 6377102"/>
              <a:gd name="connsiteX2087" fmla="*/ 280866 w 6423456"/>
              <a:gd name="connsiteY2087" fmla="*/ 2135114 h 6377102"/>
              <a:gd name="connsiteX2088" fmla="*/ 281399 w 6423456"/>
              <a:gd name="connsiteY2088" fmla="*/ 2135647 h 6377102"/>
              <a:gd name="connsiteX2089" fmla="*/ 281931 w 6423456"/>
              <a:gd name="connsiteY2089" fmla="*/ 2135114 h 6377102"/>
              <a:gd name="connsiteX2090" fmla="*/ 4474445 w 6423456"/>
              <a:gd name="connsiteY2090" fmla="*/ 6237660 h 6377102"/>
              <a:gd name="connsiteX2091" fmla="*/ 4473912 w 6423456"/>
              <a:gd name="connsiteY2091" fmla="*/ 6237127 h 6377102"/>
              <a:gd name="connsiteX2092" fmla="*/ 4473380 w 6423456"/>
              <a:gd name="connsiteY2092" fmla="*/ 6237660 h 6377102"/>
              <a:gd name="connsiteX2093" fmla="*/ 4473912 w 6423456"/>
              <a:gd name="connsiteY2093" fmla="*/ 6238192 h 6377102"/>
              <a:gd name="connsiteX2094" fmla="*/ 4474445 w 6423456"/>
              <a:gd name="connsiteY2094" fmla="*/ 6237660 h 6377102"/>
              <a:gd name="connsiteX2095" fmla="*/ 4584661 w 6423456"/>
              <a:gd name="connsiteY2095" fmla="*/ 6107731 h 6377102"/>
              <a:gd name="connsiteX2096" fmla="*/ 4583595 w 6423456"/>
              <a:gd name="connsiteY2096" fmla="*/ 6106665 h 6377102"/>
              <a:gd name="connsiteX2097" fmla="*/ 4582529 w 6423456"/>
              <a:gd name="connsiteY2097" fmla="*/ 6107731 h 6377102"/>
              <a:gd name="connsiteX2098" fmla="*/ 4583595 w 6423456"/>
              <a:gd name="connsiteY2098" fmla="*/ 6108796 h 6377102"/>
              <a:gd name="connsiteX2099" fmla="*/ 4584661 w 6423456"/>
              <a:gd name="connsiteY2099" fmla="*/ 6107731 h 6377102"/>
              <a:gd name="connsiteX2100" fmla="*/ 4687417 w 6423456"/>
              <a:gd name="connsiteY2100" fmla="*/ 5971940 h 6377102"/>
              <a:gd name="connsiteX2101" fmla="*/ 4685818 w 6423456"/>
              <a:gd name="connsiteY2101" fmla="*/ 5970342 h 6377102"/>
              <a:gd name="connsiteX2102" fmla="*/ 4684219 w 6423456"/>
              <a:gd name="connsiteY2102" fmla="*/ 5971940 h 6377102"/>
              <a:gd name="connsiteX2103" fmla="*/ 4685818 w 6423456"/>
              <a:gd name="connsiteY2103" fmla="*/ 5973539 h 6377102"/>
              <a:gd name="connsiteX2104" fmla="*/ 4687417 w 6423456"/>
              <a:gd name="connsiteY2104" fmla="*/ 5971940 h 6377102"/>
              <a:gd name="connsiteX2105" fmla="*/ 4782941 w 6423456"/>
              <a:gd name="connsiteY2105" fmla="*/ 5830518 h 6377102"/>
              <a:gd name="connsiteX2106" fmla="*/ 4780277 w 6423456"/>
              <a:gd name="connsiteY2106" fmla="*/ 5827854 h 6377102"/>
              <a:gd name="connsiteX2107" fmla="*/ 4777689 w 6423456"/>
              <a:gd name="connsiteY2107" fmla="*/ 5830518 h 6377102"/>
              <a:gd name="connsiteX2108" fmla="*/ 4780277 w 6423456"/>
              <a:gd name="connsiteY2108" fmla="*/ 5833106 h 6377102"/>
              <a:gd name="connsiteX2109" fmla="*/ 4782941 w 6423456"/>
              <a:gd name="connsiteY2109" fmla="*/ 5830518 h 6377102"/>
              <a:gd name="connsiteX2110" fmla="*/ 4869789 w 6423456"/>
              <a:gd name="connsiteY2110" fmla="*/ 5684148 h 6377102"/>
              <a:gd name="connsiteX2111" fmla="*/ 4866668 w 6423456"/>
              <a:gd name="connsiteY2111" fmla="*/ 5681027 h 6377102"/>
              <a:gd name="connsiteX2112" fmla="*/ 4863472 w 6423456"/>
              <a:gd name="connsiteY2112" fmla="*/ 5684148 h 6377102"/>
              <a:gd name="connsiteX2113" fmla="*/ 4866668 w 6423456"/>
              <a:gd name="connsiteY2113" fmla="*/ 5687269 h 6377102"/>
              <a:gd name="connsiteX2114" fmla="*/ 4869789 w 6423456"/>
              <a:gd name="connsiteY2114" fmla="*/ 5684148 h 6377102"/>
              <a:gd name="connsiteX2115" fmla="*/ 4948873 w 6423456"/>
              <a:gd name="connsiteY2115" fmla="*/ 5533059 h 6377102"/>
              <a:gd name="connsiteX2116" fmla="*/ 4944686 w 6423456"/>
              <a:gd name="connsiteY2116" fmla="*/ 5528873 h 6377102"/>
              <a:gd name="connsiteX2117" fmla="*/ 4940500 w 6423456"/>
              <a:gd name="connsiteY2117" fmla="*/ 5533059 h 6377102"/>
              <a:gd name="connsiteX2118" fmla="*/ 4944686 w 6423456"/>
              <a:gd name="connsiteY2118" fmla="*/ 5537245 h 6377102"/>
              <a:gd name="connsiteX2119" fmla="*/ 4948873 w 6423456"/>
              <a:gd name="connsiteY2119" fmla="*/ 5533059 h 6377102"/>
              <a:gd name="connsiteX2120" fmla="*/ 5019888 w 6423456"/>
              <a:gd name="connsiteY2120" fmla="*/ 5377860 h 6377102"/>
              <a:gd name="connsiteX2121" fmla="*/ 5014103 w 6423456"/>
              <a:gd name="connsiteY2121" fmla="*/ 5372075 h 6377102"/>
              <a:gd name="connsiteX2122" fmla="*/ 5008319 w 6423456"/>
              <a:gd name="connsiteY2122" fmla="*/ 5377860 h 6377102"/>
              <a:gd name="connsiteX2123" fmla="*/ 5014103 w 6423456"/>
              <a:gd name="connsiteY2123" fmla="*/ 5383644 h 6377102"/>
              <a:gd name="connsiteX2124" fmla="*/ 5019888 w 6423456"/>
              <a:gd name="connsiteY2124" fmla="*/ 5377860 h 6377102"/>
              <a:gd name="connsiteX2125" fmla="*/ 5081618 w 6423456"/>
              <a:gd name="connsiteY2125" fmla="*/ 5219083 h 6377102"/>
              <a:gd name="connsiteX2126" fmla="*/ 5074768 w 6423456"/>
              <a:gd name="connsiteY2126" fmla="*/ 5212232 h 6377102"/>
              <a:gd name="connsiteX2127" fmla="*/ 5067918 w 6423456"/>
              <a:gd name="connsiteY2127" fmla="*/ 5219083 h 6377102"/>
              <a:gd name="connsiteX2128" fmla="*/ 5074768 w 6423456"/>
              <a:gd name="connsiteY2128" fmla="*/ 5225933 h 6377102"/>
              <a:gd name="connsiteX2129" fmla="*/ 5081618 w 6423456"/>
              <a:gd name="connsiteY2129" fmla="*/ 5219083 h 6377102"/>
              <a:gd name="connsiteX2130" fmla="*/ 5134290 w 6423456"/>
              <a:gd name="connsiteY2130" fmla="*/ 5057109 h 6377102"/>
              <a:gd name="connsiteX2131" fmla="*/ 5126450 w 6423456"/>
              <a:gd name="connsiteY2131" fmla="*/ 5049193 h 6377102"/>
              <a:gd name="connsiteX2132" fmla="*/ 5118534 w 6423456"/>
              <a:gd name="connsiteY2132" fmla="*/ 5057109 h 6377102"/>
              <a:gd name="connsiteX2133" fmla="*/ 5126450 w 6423456"/>
              <a:gd name="connsiteY2133" fmla="*/ 5064949 h 6377102"/>
              <a:gd name="connsiteX2134" fmla="*/ 5134290 w 6423456"/>
              <a:gd name="connsiteY2134" fmla="*/ 5057109 h 6377102"/>
              <a:gd name="connsiteX2135" fmla="*/ 5178285 w 6423456"/>
              <a:gd name="connsiteY2135" fmla="*/ 4892472 h 6377102"/>
              <a:gd name="connsiteX2136" fmla="*/ 5168847 w 6423456"/>
              <a:gd name="connsiteY2136" fmla="*/ 4883033 h 6377102"/>
              <a:gd name="connsiteX2137" fmla="*/ 5159408 w 6423456"/>
              <a:gd name="connsiteY2137" fmla="*/ 4892472 h 6377102"/>
              <a:gd name="connsiteX2138" fmla="*/ 5168847 w 6423456"/>
              <a:gd name="connsiteY2138" fmla="*/ 4901910 h 6377102"/>
              <a:gd name="connsiteX2139" fmla="*/ 5178285 w 6423456"/>
              <a:gd name="connsiteY2139" fmla="*/ 4892472 h 6377102"/>
              <a:gd name="connsiteX2140" fmla="*/ 5213069 w 6423456"/>
              <a:gd name="connsiteY2140" fmla="*/ 4725703 h 6377102"/>
              <a:gd name="connsiteX2141" fmla="*/ 5202033 w 6423456"/>
              <a:gd name="connsiteY2141" fmla="*/ 4714666 h 6377102"/>
              <a:gd name="connsiteX2142" fmla="*/ 5190996 w 6423456"/>
              <a:gd name="connsiteY2142" fmla="*/ 4725703 h 6377102"/>
              <a:gd name="connsiteX2143" fmla="*/ 5202033 w 6423456"/>
              <a:gd name="connsiteY2143" fmla="*/ 4736739 h 6377102"/>
              <a:gd name="connsiteX2144" fmla="*/ 5213069 w 6423456"/>
              <a:gd name="connsiteY2144" fmla="*/ 4725703 h 6377102"/>
              <a:gd name="connsiteX2145" fmla="*/ 5238416 w 6423456"/>
              <a:gd name="connsiteY2145" fmla="*/ 4557412 h 6377102"/>
              <a:gd name="connsiteX2146" fmla="*/ 5225781 w 6423456"/>
              <a:gd name="connsiteY2146" fmla="*/ 4544776 h 6377102"/>
              <a:gd name="connsiteX2147" fmla="*/ 5213145 w 6423456"/>
              <a:gd name="connsiteY2147" fmla="*/ 4557412 h 6377102"/>
              <a:gd name="connsiteX2148" fmla="*/ 5225781 w 6423456"/>
              <a:gd name="connsiteY2148" fmla="*/ 4570046 h 6377102"/>
              <a:gd name="connsiteX2149" fmla="*/ 5238416 w 6423456"/>
              <a:gd name="connsiteY2149" fmla="*/ 4557412 h 6377102"/>
              <a:gd name="connsiteX2150" fmla="*/ 5254248 w 6423456"/>
              <a:gd name="connsiteY2150" fmla="*/ 4387979 h 6377102"/>
              <a:gd name="connsiteX2151" fmla="*/ 5240091 w 6423456"/>
              <a:gd name="connsiteY2151" fmla="*/ 4373821 h 6377102"/>
              <a:gd name="connsiteX2152" fmla="*/ 5225933 w 6423456"/>
              <a:gd name="connsiteY2152" fmla="*/ 4387979 h 6377102"/>
              <a:gd name="connsiteX2153" fmla="*/ 5240091 w 6423456"/>
              <a:gd name="connsiteY2153" fmla="*/ 4402136 h 6377102"/>
              <a:gd name="connsiteX2154" fmla="*/ 5254248 w 6423456"/>
              <a:gd name="connsiteY2154" fmla="*/ 4387979 h 6377102"/>
              <a:gd name="connsiteX2155" fmla="*/ 5260641 w 6423456"/>
              <a:gd name="connsiteY2155" fmla="*/ 4218013 h 6377102"/>
              <a:gd name="connsiteX2156" fmla="*/ 5244886 w 6423456"/>
              <a:gd name="connsiteY2156" fmla="*/ 4202257 h 6377102"/>
              <a:gd name="connsiteX2157" fmla="*/ 5229129 w 6423456"/>
              <a:gd name="connsiteY2157" fmla="*/ 4218013 h 6377102"/>
              <a:gd name="connsiteX2158" fmla="*/ 5244886 w 6423456"/>
              <a:gd name="connsiteY2158" fmla="*/ 4233769 h 6377102"/>
              <a:gd name="connsiteX2159" fmla="*/ 5260641 w 6423456"/>
              <a:gd name="connsiteY2159" fmla="*/ 4218013 h 6377102"/>
              <a:gd name="connsiteX2160" fmla="*/ 5257445 w 6423456"/>
              <a:gd name="connsiteY2160" fmla="*/ 4048123 h 6377102"/>
              <a:gd name="connsiteX2161" fmla="*/ 5240091 w 6423456"/>
              <a:gd name="connsiteY2161" fmla="*/ 4030769 h 6377102"/>
              <a:gd name="connsiteX2162" fmla="*/ 5222736 w 6423456"/>
              <a:gd name="connsiteY2162" fmla="*/ 4048123 h 6377102"/>
              <a:gd name="connsiteX2163" fmla="*/ 5240091 w 6423456"/>
              <a:gd name="connsiteY2163" fmla="*/ 4065477 h 6377102"/>
              <a:gd name="connsiteX2164" fmla="*/ 5257445 w 6423456"/>
              <a:gd name="connsiteY2164" fmla="*/ 4048123 h 6377102"/>
              <a:gd name="connsiteX2165" fmla="*/ 5244734 w 6423456"/>
              <a:gd name="connsiteY2165" fmla="*/ 3878690 h 6377102"/>
              <a:gd name="connsiteX2166" fmla="*/ 5225781 w 6423456"/>
              <a:gd name="connsiteY2166" fmla="*/ 3859813 h 6377102"/>
              <a:gd name="connsiteX2167" fmla="*/ 5206904 w 6423456"/>
              <a:gd name="connsiteY2167" fmla="*/ 3878690 h 6377102"/>
              <a:gd name="connsiteX2168" fmla="*/ 5225781 w 6423456"/>
              <a:gd name="connsiteY2168" fmla="*/ 3897567 h 6377102"/>
              <a:gd name="connsiteX2169" fmla="*/ 5244734 w 6423456"/>
              <a:gd name="connsiteY2169" fmla="*/ 3878690 h 6377102"/>
              <a:gd name="connsiteX2170" fmla="*/ 5222507 w 6423456"/>
              <a:gd name="connsiteY2170" fmla="*/ 3710323 h 6377102"/>
              <a:gd name="connsiteX2171" fmla="*/ 5202033 w 6423456"/>
              <a:gd name="connsiteY2171" fmla="*/ 3689848 h 6377102"/>
              <a:gd name="connsiteX2172" fmla="*/ 5181557 w 6423456"/>
              <a:gd name="connsiteY2172" fmla="*/ 3710323 h 6377102"/>
              <a:gd name="connsiteX2173" fmla="*/ 5202033 w 6423456"/>
              <a:gd name="connsiteY2173" fmla="*/ 3730798 h 6377102"/>
              <a:gd name="connsiteX2174" fmla="*/ 5222507 w 6423456"/>
              <a:gd name="connsiteY2174" fmla="*/ 3710323 h 6377102"/>
              <a:gd name="connsiteX2175" fmla="*/ 5190919 w 6423456"/>
              <a:gd name="connsiteY2175" fmla="*/ 3543630 h 6377102"/>
              <a:gd name="connsiteX2176" fmla="*/ 5168847 w 6423456"/>
              <a:gd name="connsiteY2176" fmla="*/ 3521557 h 6377102"/>
              <a:gd name="connsiteX2177" fmla="*/ 5146773 w 6423456"/>
              <a:gd name="connsiteY2177" fmla="*/ 3543630 h 6377102"/>
              <a:gd name="connsiteX2178" fmla="*/ 5168847 w 6423456"/>
              <a:gd name="connsiteY2178" fmla="*/ 3565703 h 6377102"/>
              <a:gd name="connsiteX2179" fmla="*/ 5190919 w 6423456"/>
              <a:gd name="connsiteY2179" fmla="*/ 3543630 h 6377102"/>
              <a:gd name="connsiteX2180" fmla="*/ 5150045 w 6423456"/>
              <a:gd name="connsiteY2180" fmla="*/ 3378992 h 6377102"/>
              <a:gd name="connsiteX2181" fmla="*/ 5126374 w 6423456"/>
              <a:gd name="connsiteY2181" fmla="*/ 3355320 h 6377102"/>
              <a:gd name="connsiteX2182" fmla="*/ 5102778 w 6423456"/>
              <a:gd name="connsiteY2182" fmla="*/ 3378992 h 6377102"/>
              <a:gd name="connsiteX2183" fmla="*/ 5126374 w 6423456"/>
              <a:gd name="connsiteY2183" fmla="*/ 3402664 h 6377102"/>
              <a:gd name="connsiteX2184" fmla="*/ 5150045 w 6423456"/>
              <a:gd name="connsiteY2184" fmla="*/ 3378992 h 6377102"/>
              <a:gd name="connsiteX2185" fmla="*/ 5099429 w 6423456"/>
              <a:gd name="connsiteY2185" fmla="*/ 3217019 h 6377102"/>
              <a:gd name="connsiteX2186" fmla="*/ 5074768 w 6423456"/>
              <a:gd name="connsiteY2186" fmla="*/ 3192357 h 6377102"/>
              <a:gd name="connsiteX2187" fmla="*/ 5050106 w 6423456"/>
              <a:gd name="connsiteY2187" fmla="*/ 3217019 h 6377102"/>
              <a:gd name="connsiteX2188" fmla="*/ 5074768 w 6423456"/>
              <a:gd name="connsiteY2188" fmla="*/ 3241680 h 6377102"/>
              <a:gd name="connsiteX2189" fmla="*/ 5099429 w 6423456"/>
              <a:gd name="connsiteY2189" fmla="*/ 3217019 h 6377102"/>
              <a:gd name="connsiteX2190" fmla="*/ 5039907 w 6423456"/>
              <a:gd name="connsiteY2190" fmla="*/ 3058166 h 6377102"/>
              <a:gd name="connsiteX2191" fmla="*/ 5014180 w 6423456"/>
              <a:gd name="connsiteY2191" fmla="*/ 3032439 h 6377102"/>
              <a:gd name="connsiteX2192" fmla="*/ 4988453 w 6423456"/>
              <a:gd name="connsiteY2192" fmla="*/ 3058166 h 6377102"/>
              <a:gd name="connsiteX2193" fmla="*/ 5014180 w 6423456"/>
              <a:gd name="connsiteY2193" fmla="*/ 3083893 h 6377102"/>
              <a:gd name="connsiteX2194" fmla="*/ 5039907 w 6423456"/>
              <a:gd name="connsiteY2194" fmla="*/ 3058166 h 6377102"/>
              <a:gd name="connsiteX2195" fmla="*/ 4971479 w 6423456"/>
              <a:gd name="connsiteY2195" fmla="*/ 2903043 h 6377102"/>
              <a:gd name="connsiteX2196" fmla="*/ 4944686 w 6423456"/>
              <a:gd name="connsiteY2196" fmla="*/ 2876250 h 6377102"/>
              <a:gd name="connsiteX2197" fmla="*/ 4917893 w 6423456"/>
              <a:gd name="connsiteY2197" fmla="*/ 2903043 h 6377102"/>
              <a:gd name="connsiteX2198" fmla="*/ 4944686 w 6423456"/>
              <a:gd name="connsiteY2198" fmla="*/ 2929835 h 6377102"/>
              <a:gd name="connsiteX2199" fmla="*/ 4971479 w 6423456"/>
              <a:gd name="connsiteY2199" fmla="*/ 2903043 h 6377102"/>
              <a:gd name="connsiteX2200" fmla="*/ 4894526 w 6423456"/>
              <a:gd name="connsiteY2200" fmla="*/ 2751953 h 6377102"/>
              <a:gd name="connsiteX2201" fmla="*/ 4866668 w 6423456"/>
              <a:gd name="connsiteY2201" fmla="*/ 2724095 h 6377102"/>
              <a:gd name="connsiteX2202" fmla="*/ 4838810 w 6423456"/>
              <a:gd name="connsiteY2202" fmla="*/ 2751953 h 6377102"/>
              <a:gd name="connsiteX2203" fmla="*/ 4866668 w 6423456"/>
              <a:gd name="connsiteY2203" fmla="*/ 2779812 h 6377102"/>
              <a:gd name="connsiteX2204" fmla="*/ 4894526 w 6423456"/>
              <a:gd name="connsiteY2204" fmla="*/ 2751953 h 6377102"/>
              <a:gd name="connsiteX2205" fmla="*/ 4809201 w 6423456"/>
              <a:gd name="connsiteY2205" fmla="*/ 2605507 h 6377102"/>
              <a:gd name="connsiteX2206" fmla="*/ 4780277 w 6423456"/>
              <a:gd name="connsiteY2206" fmla="*/ 2576583 h 6377102"/>
              <a:gd name="connsiteX2207" fmla="*/ 4751353 w 6423456"/>
              <a:gd name="connsiteY2207" fmla="*/ 2605507 h 6377102"/>
              <a:gd name="connsiteX2208" fmla="*/ 4780277 w 6423456"/>
              <a:gd name="connsiteY2208" fmla="*/ 2634431 h 6377102"/>
              <a:gd name="connsiteX2209" fmla="*/ 4809201 w 6423456"/>
              <a:gd name="connsiteY2209" fmla="*/ 2605507 h 6377102"/>
              <a:gd name="connsiteX2210" fmla="*/ 4715274 w 6423456"/>
              <a:gd name="connsiteY2210" fmla="*/ 2464161 h 6377102"/>
              <a:gd name="connsiteX2211" fmla="*/ 4685894 w 6423456"/>
              <a:gd name="connsiteY2211" fmla="*/ 2434781 h 6377102"/>
              <a:gd name="connsiteX2212" fmla="*/ 4656513 w 6423456"/>
              <a:gd name="connsiteY2212" fmla="*/ 2464161 h 6377102"/>
              <a:gd name="connsiteX2213" fmla="*/ 4685894 w 6423456"/>
              <a:gd name="connsiteY2213" fmla="*/ 2493541 h 6377102"/>
              <a:gd name="connsiteX2214" fmla="*/ 4715274 w 6423456"/>
              <a:gd name="connsiteY2214" fmla="*/ 2464161 h 6377102"/>
              <a:gd name="connsiteX2215" fmla="*/ 4613584 w 6423456"/>
              <a:gd name="connsiteY2215" fmla="*/ 2328371 h 6377102"/>
              <a:gd name="connsiteX2216" fmla="*/ 4583671 w 6423456"/>
              <a:gd name="connsiteY2216" fmla="*/ 2298458 h 6377102"/>
              <a:gd name="connsiteX2217" fmla="*/ 4553757 w 6423456"/>
              <a:gd name="connsiteY2217" fmla="*/ 2328371 h 6377102"/>
              <a:gd name="connsiteX2218" fmla="*/ 4583671 w 6423456"/>
              <a:gd name="connsiteY2218" fmla="*/ 2358284 h 6377102"/>
              <a:gd name="connsiteX2219" fmla="*/ 4613584 w 6423456"/>
              <a:gd name="connsiteY2219" fmla="*/ 2328371 h 6377102"/>
              <a:gd name="connsiteX2220" fmla="*/ 4503902 w 6423456"/>
              <a:gd name="connsiteY2220" fmla="*/ 2198442 h 6377102"/>
              <a:gd name="connsiteX2221" fmla="*/ 4473989 w 6423456"/>
              <a:gd name="connsiteY2221" fmla="*/ 2168529 h 6377102"/>
              <a:gd name="connsiteX2222" fmla="*/ 4444075 w 6423456"/>
              <a:gd name="connsiteY2222" fmla="*/ 2198442 h 6377102"/>
              <a:gd name="connsiteX2223" fmla="*/ 4473989 w 6423456"/>
              <a:gd name="connsiteY2223" fmla="*/ 2228355 h 6377102"/>
              <a:gd name="connsiteX2224" fmla="*/ 4503902 w 6423456"/>
              <a:gd name="connsiteY2224" fmla="*/ 2198442 h 6377102"/>
              <a:gd name="connsiteX2225" fmla="*/ 4387064 w 6423456"/>
              <a:gd name="connsiteY2225" fmla="*/ 2074906 h 6377102"/>
              <a:gd name="connsiteX2226" fmla="*/ 4357152 w 6423456"/>
              <a:gd name="connsiteY2226" fmla="*/ 2044993 h 6377102"/>
              <a:gd name="connsiteX2227" fmla="*/ 4327238 w 6423456"/>
              <a:gd name="connsiteY2227" fmla="*/ 2074906 h 6377102"/>
              <a:gd name="connsiteX2228" fmla="*/ 4357152 w 6423456"/>
              <a:gd name="connsiteY2228" fmla="*/ 2104820 h 6377102"/>
              <a:gd name="connsiteX2229" fmla="*/ 4387064 w 6423456"/>
              <a:gd name="connsiteY2229" fmla="*/ 2074906 h 6377102"/>
              <a:gd name="connsiteX2230" fmla="*/ 4263529 w 6423456"/>
              <a:gd name="connsiteY2230" fmla="*/ 1958145 h 6377102"/>
              <a:gd name="connsiteX2231" fmla="*/ 4233616 w 6423456"/>
              <a:gd name="connsiteY2231" fmla="*/ 1928232 h 6377102"/>
              <a:gd name="connsiteX2232" fmla="*/ 4203703 w 6423456"/>
              <a:gd name="connsiteY2232" fmla="*/ 1958145 h 6377102"/>
              <a:gd name="connsiteX2233" fmla="*/ 4233616 w 6423456"/>
              <a:gd name="connsiteY2233" fmla="*/ 1988059 h 6377102"/>
              <a:gd name="connsiteX2234" fmla="*/ 4263529 w 6423456"/>
              <a:gd name="connsiteY2234" fmla="*/ 1958145 h 6377102"/>
              <a:gd name="connsiteX2235" fmla="*/ 4133677 w 6423456"/>
              <a:gd name="connsiteY2235" fmla="*/ 1848463 h 6377102"/>
              <a:gd name="connsiteX2236" fmla="*/ 4103763 w 6423456"/>
              <a:gd name="connsiteY2236" fmla="*/ 1818550 h 6377102"/>
              <a:gd name="connsiteX2237" fmla="*/ 4073850 w 6423456"/>
              <a:gd name="connsiteY2237" fmla="*/ 1848463 h 6377102"/>
              <a:gd name="connsiteX2238" fmla="*/ 4103763 w 6423456"/>
              <a:gd name="connsiteY2238" fmla="*/ 1878377 h 6377102"/>
              <a:gd name="connsiteX2239" fmla="*/ 4133677 w 6423456"/>
              <a:gd name="connsiteY2239" fmla="*/ 1848463 h 6377102"/>
              <a:gd name="connsiteX2240" fmla="*/ 3997278 w 6423456"/>
              <a:gd name="connsiteY2240" fmla="*/ 1746240 h 6377102"/>
              <a:gd name="connsiteX2241" fmla="*/ 3967897 w 6423456"/>
              <a:gd name="connsiteY2241" fmla="*/ 1716860 h 6377102"/>
              <a:gd name="connsiteX2242" fmla="*/ 3938517 w 6423456"/>
              <a:gd name="connsiteY2242" fmla="*/ 1746240 h 6377102"/>
              <a:gd name="connsiteX2243" fmla="*/ 3967897 w 6423456"/>
              <a:gd name="connsiteY2243" fmla="*/ 1775621 h 6377102"/>
              <a:gd name="connsiteX2244" fmla="*/ 3997278 w 6423456"/>
              <a:gd name="connsiteY2244" fmla="*/ 1746240 h 6377102"/>
              <a:gd name="connsiteX2245" fmla="*/ 3855398 w 6423456"/>
              <a:gd name="connsiteY2245" fmla="*/ 1651781 h 6377102"/>
              <a:gd name="connsiteX2246" fmla="*/ 3826475 w 6423456"/>
              <a:gd name="connsiteY2246" fmla="*/ 1622857 h 6377102"/>
              <a:gd name="connsiteX2247" fmla="*/ 3797627 w 6423456"/>
              <a:gd name="connsiteY2247" fmla="*/ 1651781 h 6377102"/>
              <a:gd name="connsiteX2248" fmla="*/ 3826475 w 6423456"/>
              <a:gd name="connsiteY2248" fmla="*/ 1680705 h 6377102"/>
              <a:gd name="connsiteX2249" fmla="*/ 3855398 w 6423456"/>
              <a:gd name="connsiteY2249" fmla="*/ 1651781 h 6377102"/>
              <a:gd name="connsiteX2250" fmla="*/ 3707887 w 6423456"/>
              <a:gd name="connsiteY2250" fmla="*/ 1565390 h 6377102"/>
              <a:gd name="connsiteX2251" fmla="*/ 3680028 w 6423456"/>
              <a:gd name="connsiteY2251" fmla="*/ 1537532 h 6377102"/>
              <a:gd name="connsiteX2252" fmla="*/ 3652171 w 6423456"/>
              <a:gd name="connsiteY2252" fmla="*/ 1565390 h 6377102"/>
              <a:gd name="connsiteX2253" fmla="*/ 3680028 w 6423456"/>
              <a:gd name="connsiteY2253" fmla="*/ 1593248 h 6377102"/>
              <a:gd name="connsiteX2254" fmla="*/ 3707887 w 6423456"/>
              <a:gd name="connsiteY2254" fmla="*/ 1565390 h 6377102"/>
              <a:gd name="connsiteX2255" fmla="*/ 3555808 w 6423456"/>
              <a:gd name="connsiteY2255" fmla="*/ 1487372 h 6377102"/>
              <a:gd name="connsiteX2256" fmla="*/ 3529015 w 6423456"/>
              <a:gd name="connsiteY2256" fmla="*/ 1460579 h 6377102"/>
              <a:gd name="connsiteX2257" fmla="*/ 3502223 w 6423456"/>
              <a:gd name="connsiteY2257" fmla="*/ 1487372 h 6377102"/>
              <a:gd name="connsiteX2258" fmla="*/ 3529015 w 6423456"/>
              <a:gd name="connsiteY2258" fmla="*/ 1514164 h 6377102"/>
              <a:gd name="connsiteX2259" fmla="*/ 3555808 w 6423456"/>
              <a:gd name="connsiteY2259" fmla="*/ 1487372 h 6377102"/>
              <a:gd name="connsiteX2260" fmla="*/ 3399619 w 6423456"/>
              <a:gd name="connsiteY2260" fmla="*/ 1417954 h 6377102"/>
              <a:gd name="connsiteX2261" fmla="*/ 3373892 w 6423456"/>
              <a:gd name="connsiteY2261" fmla="*/ 1392227 h 6377102"/>
              <a:gd name="connsiteX2262" fmla="*/ 3348165 w 6423456"/>
              <a:gd name="connsiteY2262" fmla="*/ 1417954 h 6377102"/>
              <a:gd name="connsiteX2263" fmla="*/ 3373892 w 6423456"/>
              <a:gd name="connsiteY2263" fmla="*/ 1443681 h 6377102"/>
              <a:gd name="connsiteX2264" fmla="*/ 3399619 w 6423456"/>
              <a:gd name="connsiteY2264" fmla="*/ 1417954 h 6377102"/>
              <a:gd name="connsiteX2265" fmla="*/ 3239701 w 6423456"/>
              <a:gd name="connsiteY2265" fmla="*/ 1357290 h 6377102"/>
              <a:gd name="connsiteX2266" fmla="*/ 3215039 w 6423456"/>
              <a:gd name="connsiteY2266" fmla="*/ 1332629 h 6377102"/>
              <a:gd name="connsiteX2267" fmla="*/ 3190378 w 6423456"/>
              <a:gd name="connsiteY2267" fmla="*/ 1357290 h 6377102"/>
              <a:gd name="connsiteX2268" fmla="*/ 3215039 w 6423456"/>
              <a:gd name="connsiteY2268" fmla="*/ 1381952 h 6377102"/>
              <a:gd name="connsiteX2269" fmla="*/ 3239701 w 6423456"/>
              <a:gd name="connsiteY2269" fmla="*/ 1357290 h 6377102"/>
              <a:gd name="connsiteX2270" fmla="*/ 3076662 w 6423456"/>
              <a:gd name="connsiteY2270" fmla="*/ 1305684 h 6377102"/>
              <a:gd name="connsiteX2271" fmla="*/ 3052989 w 6423456"/>
              <a:gd name="connsiteY2271" fmla="*/ 1282012 h 6377102"/>
              <a:gd name="connsiteX2272" fmla="*/ 3029394 w 6423456"/>
              <a:gd name="connsiteY2272" fmla="*/ 1305684 h 6377102"/>
              <a:gd name="connsiteX2273" fmla="*/ 3052989 w 6423456"/>
              <a:gd name="connsiteY2273" fmla="*/ 1329356 h 6377102"/>
              <a:gd name="connsiteX2274" fmla="*/ 3076662 w 6423456"/>
              <a:gd name="connsiteY2274" fmla="*/ 1305684 h 6377102"/>
              <a:gd name="connsiteX2275" fmla="*/ 2910501 w 6423456"/>
              <a:gd name="connsiteY2275" fmla="*/ 1263212 h 6377102"/>
              <a:gd name="connsiteX2276" fmla="*/ 2888428 w 6423456"/>
              <a:gd name="connsiteY2276" fmla="*/ 1241138 h 6377102"/>
              <a:gd name="connsiteX2277" fmla="*/ 2866355 w 6423456"/>
              <a:gd name="connsiteY2277" fmla="*/ 1263212 h 6377102"/>
              <a:gd name="connsiteX2278" fmla="*/ 2888428 w 6423456"/>
              <a:gd name="connsiteY2278" fmla="*/ 1285285 h 6377102"/>
              <a:gd name="connsiteX2279" fmla="*/ 2910501 w 6423456"/>
              <a:gd name="connsiteY2279" fmla="*/ 1263212 h 6377102"/>
              <a:gd name="connsiteX2280" fmla="*/ 2742210 w 6423456"/>
              <a:gd name="connsiteY2280" fmla="*/ 1230025 h 6377102"/>
              <a:gd name="connsiteX2281" fmla="*/ 2721736 w 6423456"/>
              <a:gd name="connsiteY2281" fmla="*/ 1209550 h 6377102"/>
              <a:gd name="connsiteX2282" fmla="*/ 2701260 w 6423456"/>
              <a:gd name="connsiteY2282" fmla="*/ 1230025 h 6377102"/>
              <a:gd name="connsiteX2283" fmla="*/ 2721736 w 6423456"/>
              <a:gd name="connsiteY2283" fmla="*/ 1250500 h 6377102"/>
              <a:gd name="connsiteX2284" fmla="*/ 2742210 w 6423456"/>
              <a:gd name="connsiteY2284" fmla="*/ 1230025 h 6377102"/>
              <a:gd name="connsiteX2285" fmla="*/ 2572245 w 6423456"/>
              <a:gd name="connsiteY2285" fmla="*/ 1206277 h 6377102"/>
              <a:gd name="connsiteX2286" fmla="*/ 2553368 w 6423456"/>
              <a:gd name="connsiteY2286" fmla="*/ 1187401 h 6377102"/>
              <a:gd name="connsiteX2287" fmla="*/ 2534416 w 6423456"/>
              <a:gd name="connsiteY2287" fmla="*/ 1206277 h 6377102"/>
              <a:gd name="connsiteX2288" fmla="*/ 2553368 w 6423456"/>
              <a:gd name="connsiteY2288" fmla="*/ 1225230 h 6377102"/>
              <a:gd name="connsiteX2289" fmla="*/ 2572245 w 6423456"/>
              <a:gd name="connsiteY2289" fmla="*/ 1206277 h 6377102"/>
              <a:gd name="connsiteX2290" fmla="*/ 2401289 w 6423456"/>
              <a:gd name="connsiteY2290" fmla="*/ 1191968 h 6377102"/>
              <a:gd name="connsiteX2291" fmla="*/ 2383935 w 6423456"/>
              <a:gd name="connsiteY2291" fmla="*/ 1174613 h 6377102"/>
              <a:gd name="connsiteX2292" fmla="*/ 2366581 w 6423456"/>
              <a:gd name="connsiteY2292" fmla="*/ 1191968 h 6377102"/>
              <a:gd name="connsiteX2293" fmla="*/ 2383935 w 6423456"/>
              <a:gd name="connsiteY2293" fmla="*/ 1209322 h 6377102"/>
              <a:gd name="connsiteX2294" fmla="*/ 2401289 w 6423456"/>
              <a:gd name="connsiteY2294" fmla="*/ 1191968 h 6377102"/>
              <a:gd name="connsiteX2295" fmla="*/ 2229802 w 6423456"/>
              <a:gd name="connsiteY2295" fmla="*/ 1187172 h 6377102"/>
              <a:gd name="connsiteX2296" fmla="*/ 2214045 w 6423456"/>
              <a:gd name="connsiteY2296" fmla="*/ 1171417 h 6377102"/>
              <a:gd name="connsiteX2297" fmla="*/ 2198290 w 6423456"/>
              <a:gd name="connsiteY2297" fmla="*/ 1187172 h 6377102"/>
              <a:gd name="connsiteX2298" fmla="*/ 2214045 w 6423456"/>
              <a:gd name="connsiteY2298" fmla="*/ 1202928 h 6377102"/>
              <a:gd name="connsiteX2299" fmla="*/ 2229802 w 6423456"/>
              <a:gd name="connsiteY2299" fmla="*/ 1187172 h 6377102"/>
              <a:gd name="connsiteX2300" fmla="*/ 2058237 w 6423456"/>
              <a:gd name="connsiteY2300" fmla="*/ 1191968 h 6377102"/>
              <a:gd name="connsiteX2301" fmla="*/ 2044080 w 6423456"/>
              <a:gd name="connsiteY2301" fmla="*/ 1177810 h 6377102"/>
              <a:gd name="connsiteX2302" fmla="*/ 2029922 w 6423456"/>
              <a:gd name="connsiteY2302" fmla="*/ 1191968 h 6377102"/>
              <a:gd name="connsiteX2303" fmla="*/ 2044080 w 6423456"/>
              <a:gd name="connsiteY2303" fmla="*/ 1206125 h 6377102"/>
              <a:gd name="connsiteX2304" fmla="*/ 2058237 w 6423456"/>
              <a:gd name="connsiteY2304" fmla="*/ 1191968 h 6377102"/>
              <a:gd name="connsiteX2305" fmla="*/ 1887282 w 6423456"/>
              <a:gd name="connsiteY2305" fmla="*/ 1206277 h 6377102"/>
              <a:gd name="connsiteX2306" fmla="*/ 1874647 w 6423456"/>
              <a:gd name="connsiteY2306" fmla="*/ 1193642 h 6377102"/>
              <a:gd name="connsiteX2307" fmla="*/ 1862011 w 6423456"/>
              <a:gd name="connsiteY2307" fmla="*/ 1206277 h 6377102"/>
              <a:gd name="connsiteX2308" fmla="*/ 1874647 w 6423456"/>
              <a:gd name="connsiteY2308" fmla="*/ 1218912 h 6377102"/>
              <a:gd name="connsiteX2309" fmla="*/ 1887282 w 6423456"/>
              <a:gd name="connsiteY2309" fmla="*/ 1206277 h 6377102"/>
              <a:gd name="connsiteX2310" fmla="*/ 1717392 w 6423456"/>
              <a:gd name="connsiteY2310" fmla="*/ 1230025 h 6377102"/>
              <a:gd name="connsiteX2311" fmla="*/ 1706356 w 6423456"/>
              <a:gd name="connsiteY2311" fmla="*/ 1218989 h 6377102"/>
              <a:gd name="connsiteX2312" fmla="*/ 1695319 w 6423456"/>
              <a:gd name="connsiteY2312" fmla="*/ 1230025 h 6377102"/>
              <a:gd name="connsiteX2313" fmla="*/ 1706356 w 6423456"/>
              <a:gd name="connsiteY2313" fmla="*/ 1241062 h 6377102"/>
              <a:gd name="connsiteX2314" fmla="*/ 1717392 w 6423456"/>
              <a:gd name="connsiteY2314" fmla="*/ 1230025 h 6377102"/>
              <a:gd name="connsiteX2315" fmla="*/ 1549025 w 6423456"/>
              <a:gd name="connsiteY2315" fmla="*/ 1263212 h 6377102"/>
              <a:gd name="connsiteX2316" fmla="*/ 1539586 w 6423456"/>
              <a:gd name="connsiteY2316" fmla="*/ 1253773 h 6377102"/>
              <a:gd name="connsiteX2317" fmla="*/ 1530148 w 6423456"/>
              <a:gd name="connsiteY2317" fmla="*/ 1263212 h 6377102"/>
              <a:gd name="connsiteX2318" fmla="*/ 1539586 w 6423456"/>
              <a:gd name="connsiteY2318" fmla="*/ 1272650 h 6377102"/>
              <a:gd name="connsiteX2319" fmla="*/ 1549025 w 6423456"/>
              <a:gd name="connsiteY2319" fmla="*/ 1263212 h 6377102"/>
              <a:gd name="connsiteX2320" fmla="*/ 1382865 w 6423456"/>
              <a:gd name="connsiteY2320" fmla="*/ 1305684 h 6377102"/>
              <a:gd name="connsiteX2321" fmla="*/ 1375025 w 6423456"/>
              <a:gd name="connsiteY2321" fmla="*/ 1297768 h 6377102"/>
              <a:gd name="connsiteX2322" fmla="*/ 1367109 w 6423456"/>
              <a:gd name="connsiteY2322" fmla="*/ 1305684 h 6377102"/>
              <a:gd name="connsiteX2323" fmla="*/ 1375025 w 6423456"/>
              <a:gd name="connsiteY2323" fmla="*/ 1313524 h 6377102"/>
              <a:gd name="connsiteX2324" fmla="*/ 1382865 w 6423456"/>
              <a:gd name="connsiteY2324" fmla="*/ 1305684 h 6377102"/>
              <a:gd name="connsiteX2325" fmla="*/ 1219825 w 6423456"/>
              <a:gd name="connsiteY2325" fmla="*/ 1357290 h 6377102"/>
              <a:gd name="connsiteX2326" fmla="*/ 1212975 w 6423456"/>
              <a:gd name="connsiteY2326" fmla="*/ 1350440 h 6377102"/>
              <a:gd name="connsiteX2327" fmla="*/ 1206125 w 6423456"/>
              <a:gd name="connsiteY2327" fmla="*/ 1357290 h 6377102"/>
              <a:gd name="connsiteX2328" fmla="*/ 1212975 w 6423456"/>
              <a:gd name="connsiteY2328" fmla="*/ 1364141 h 6377102"/>
              <a:gd name="connsiteX2329" fmla="*/ 1219825 w 6423456"/>
              <a:gd name="connsiteY2329" fmla="*/ 1357290 h 6377102"/>
              <a:gd name="connsiteX2330" fmla="*/ 1059907 w 6423456"/>
              <a:gd name="connsiteY2330" fmla="*/ 1417954 h 6377102"/>
              <a:gd name="connsiteX2331" fmla="*/ 1054123 w 6423456"/>
              <a:gd name="connsiteY2331" fmla="*/ 1412170 h 6377102"/>
              <a:gd name="connsiteX2332" fmla="*/ 1048338 w 6423456"/>
              <a:gd name="connsiteY2332" fmla="*/ 1417954 h 6377102"/>
              <a:gd name="connsiteX2333" fmla="*/ 1054123 w 6423456"/>
              <a:gd name="connsiteY2333" fmla="*/ 1423739 h 6377102"/>
              <a:gd name="connsiteX2334" fmla="*/ 1059907 w 6423456"/>
              <a:gd name="connsiteY2334" fmla="*/ 1417954 h 6377102"/>
              <a:gd name="connsiteX2335" fmla="*/ 903185 w 6423456"/>
              <a:gd name="connsiteY2335" fmla="*/ 1487372 h 6377102"/>
              <a:gd name="connsiteX2336" fmla="*/ 898999 w 6423456"/>
              <a:gd name="connsiteY2336" fmla="*/ 1483185 h 6377102"/>
              <a:gd name="connsiteX2337" fmla="*/ 894813 w 6423456"/>
              <a:gd name="connsiteY2337" fmla="*/ 1487372 h 6377102"/>
              <a:gd name="connsiteX2338" fmla="*/ 898999 w 6423456"/>
              <a:gd name="connsiteY2338" fmla="*/ 1491558 h 6377102"/>
              <a:gd name="connsiteX2339" fmla="*/ 903185 w 6423456"/>
              <a:gd name="connsiteY2339" fmla="*/ 1487372 h 6377102"/>
              <a:gd name="connsiteX2340" fmla="*/ 751107 w 6423456"/>
              <a:gd name="connsiteY2340" fmla="*/ 1565390 h 6377102"/>
              <a:gd name="connsiteX2341" fmla="*/ 747986 w 6423456"/>
              <a:gd name="connsiteY2341" fmla="*/ 1562269 h 6377102"/>
              <a:gd name="connsiteX2342" fmla="*/ 744865 w 6423456"/>
              <a:gd name="connsiteY2342" fmla="*/ 1565390 h 6377102"/>
              <a:gd name="connsiteX2343" fmla="*/ 747986 w 6423456"/>
              <a:gd name="connsiteY2343" fmla="*/ 1568511 h 6377102"/>
              <a:gd name="connsiteX2344" fmla="*/ 751107 w 6423456"/>
              <a:gd name="connsiteY2344" fmla="*/ 1565390 h 6377102"/>
              <a:gd name="connsiteX2345" fmla="*/ 604128 w 6423456"/>
              <a:gd name="connsiteY2345" fmla="*/ 1651781 h 6377102"/>
              <a:gd name="connsiteX2346" fmla="*/ 601464 w 6423456"/>
              <a:gd name="connsiteY2346" fmla="*/ 1649117 h 6377102"/>
              <a:gd name="connsiteX2347" fmla="*/ 598876 w 6423456"/>
              <a:gd name="connsiteY2347" fmla="*/ 1651781 h 6377102"/>
              <a:gd name="connsiteX2348" fmla="*/ 601464 w 6423456"/>
              <a:gd name="connsiteY2348" fmla="*/ 1654369 h 6377102"/>
              <a:gd name="connsiteX2349" fmla="*/ 604128 w 6423456"/>
              <a:gd name="connsiteY2349" fmla="*/ 1651781 h 6377102"/>
              <a:gd name="connsiteX2350" fmla="*/ 461716 w 6423456"/>
              <a:gd name="connsiteY2350" fmla="*/ 1746240 h 6377102"/>
              <a:gd name="connsiteX2351" fmla="*/ 460117 w 6423456"/>
              <a:gd name="connsiteY2351" fmla="*/ 1744642 h 6377102"/>
              <a:gd name="connsiteX2352" fmla="*/ 458519 w 6423456"/>
              <a:gd name="connsiteY2352" fmla="*/ 1746240 h 6377102"/>
              <a:gd name="connsiteX2353" fmla="*/ 460117 w 6423456"/>
              <a:gd name="connsiteY2353" fmla="*/ 1747839 h 6377102"/>
              <a:gd name="connsiteX2354" fmla="*/ 461716 w 6423456"/>
              <a:gd name="connsiteY2354" fmla="*/ 1746240 h 6377102"/>
              <a:gd name="connsiteX2355" fmla="*/ 325393 w 6423456"/>
              <a:gd name="connsiteY2355" fmla="*/ 1848463 h 6377102"/>
              <a:gd name="connsiteX2356" fmla="*/ 324328 w 6423456"/>
              <a:gd name="connsiteY2356" fmla="*/ 1847398 h 6377102"/>
              <a:gd name="connsiteX2357" fmla="*/ 323262 w 6423456"/>
              <a:gd name="connsiteY2357" fmla="*/ 1848463 h 6377102"/>
              <a:gd name="connsiteX2358" fmla="*/ 324328 w 6423456"/>
              <a:gd name="connsiteY2358" fmla="*/ 1849529 h 6377102"/>
              <a:gd name="connsiteX2359" fmla="*/ 325393 w 6423456"/>
              <a:gd name="connsiteY2359" fmla="*/ 1848463 h 6377102"/>
              <a:gd name="connsiteX2360" fmla="*/ 194931 w 6423456"/>
              <a:gd name="connsiteY2360" fmla="*/ 1958145 h 6377102"/>
              <a:gd name="connsiteX2361" fmla="*/ 194399 w 6423456"/>
              <a:gd name="connsiteY2361" fmla="*/ 1957613 h 6377102"/>
              <a:gd name="connsiteX2362" fmla="*/ 193866 w 6423456"/>
              <a:gd name="connsiteY2362" fmla="*/ 1958145 h 6377102"/>
              <a:gd name="connsiteX2363" fmla="*/ 194399 w 6423456"/>
              <a:gd name="connsiteY2363" fmla="*/ 1958678 h 6377102"/>
              <a:gd name="connsiteX2364" fmla="*/ 194931 w 6423456"/>
              <a:gd name="connsiteY2364" fmla="*/ 1958145 h 6377102"/>
              <a:gd name="connsiteX2365" fmla="*/ 4622795 w 6423456"/>
              <a:gd name="connsiteY2365" fmla="*/ 6355943 h 6377102"/>
              <a:gd name="connsiteX2366" fmla="*/ 4622261 w 6423456"/>
              <a:gd name="connsiteY2366" fmla="*/ 6355410 h 6377102"/>
              <a:gd name="connsiteX2367" fmla="*/ 4621729 w 6423456"/>
              <a:gd name="connsiteY2367" fmla="*/ 6355943 h 6377102"/>
              <a:gd name="connsiteX2368" fmla="*/ 4622261 w 6423456"/>
              <a:gd name="connsiteY2368" fmla="*/ 6356476 h 6377102"/>
              <a:gd name="connsiteX2369" fmla="*/ 4622795 w 6423456"/>
              <a:gd name="connsiteY2369" fmla="*/ 6355943 h 6377102"/>
              <a:gd name="connsiteX2370" fmla="*/ 4732781 w 6423456"/>
              <a:gd name="connsiteY2370" fmla="*/ 6225862 h 6377102"/>
              <a:gd name="connsiteX2371" fmla="*/ 4731715 w 6423456"/>
              <a:gd name="connsiteY2371" fmla="*/ 6224796 h 6377102"/>
              <a:gd name="connsiteX2372" fmla="*/ 4730650 w 6423456"/>
              <a:gd name="connsiteY2372" fmla="*/ 6225862 h 6377102"/>
              <a:gd name="connsiteX2373" fmla="*/ 4731715 w 6423456"/>
              <a:gd name="connsiteY2373" fmla="*/ 6226927 h 6377102"/>
              <a:gd name="connsiteX2374" fmla="*/ 4732781 w 6423456"/>
              <a:gd name="connsiteY2374" fmla="*/ 6225862 h 6377102"/>
              <a:gd name="connsiteX2375" fmla="*/ 4835765 w 6423456"/>
              <a:gd name="connsiteY2375" fmla="*/ 6090148 h 6377102"/>
              <a:gd name="connsiteX2376" fmla="*/ 4834166 w 6423456"/>
              <a:gd name="connsiteY2376" fmla="*/ 6088549 h 6377102"/>
              <a:gd name="connsiteX2377" fmla="*/ 4832568 w 6423456"/>
              <a:gd name="connsiteY2377" fmla="*/ 6090148 h 6377102"/>
              <a:gd name="connsiteX2378" fmla="*/ 4834166 w 6423456"/>
              <a:gd name="connsiteY2378" fmla="*/ 6091746 h 6377102"/>
              <a:gd name="connsiteX2379" fmla="*/ 4835765 w 6423456"/>
              <a:gd name="connsiteY2379" fmla="*/ 6090148 h 6377102"/>
              <a:gd name="connsiteX2380" fmla="*/ 4931975 w 6423456"/>
              <a:gd name="connsiteY2380" fmla="*/ 5949258 h 6377102"/>
              <a:gd name="connsiteX2381" fmla="*/ 4929311 w 6423456"/>
              <a:gd name="connsiteY2381" fmla="*/ 5946670 h 6377102"/>
              <a:gd name="connsiteX2382" fmla="*/ 4926723 w 6423456"/>
              <a:gd name="connsiteY2382" fmla="*/ 5949258 h 6377102"/>
              <a:gd name="connsiteX2383" fmla="*/ 4929311 w 6423456"/>
              <a:gd name="connsiteY2383" fmla="*/ 5951922 h 6377102"/>
              <a:gd name="connsiteX2384" fmla="*/ 4931975 w 6423456"/>
              <a:gd name="connsiteY2384" fmla="*/ 5949258 h 6377102"/>
              <a:gd name="connsiteX2385" fmla="*/ 5020573 w 6423456"/>
              <a:gd name="connsiteY2385" fmla="*/ 5803573 h 6377102"/>
              <a:gd name="connsiteX2386" fmla="*/ 5016920 w 6423456"/>
              <a:gd name="connsiteY2386" fmla="*/ 5799920 h 6377102"/>
              <a:gd name="connsiteX2387" fmla="*/ 5013266 w 6423456"/>
              <a:gd name="connsiteY2387" fmla="*/ 5803573 h 6377102"/>
              <a:gd name="connsiteX2388" fmla="*/ 5016920 w 6423456"/>
              <a:gd name="connsiteY2388" fmla="*/ 5807227 h 6377102"/>
              <a:gd name="connsiteX2389" fmla="*/ 5020573 w 6423456"/>
              <a:gd name="connsiteY2389" fmla="*/ 5803573 h 6377102"/>
              <a:gd name="connsiteX2390" fmla="*/ 5101409 w 6423456"/>
              <a:gd name="connsiteY2390" fmla="*/ 5653474 h 6377102"/>
              <a:gd name="connsiteX2391" fmla="*/ 5096688 w 6423456"/>
              <a:gd name="connsiteY2391" fmla="*/ 5648755 h 6377102"/>
              <a:gd name="connsiteX2392" fmla="*/ 5091969 w 6423456"/>
              <a:gd name="connsiteY2392" fmla="*/ 5653474 h 6377102"/>
              <a:gd name="connsiteX2393" fmla="*/ 5096688 w 6423456"/>
              <a:gd name="connsiteY2393" fmla="*/ 5658193 h 6377102"/>
              <a:gd name="connsiteX2394" fmla="*/ 5101409 w 6423456"/>
              <a:gd name="connsiteY2394" fmla="*/ 5653474 h 6377102"/>
              <a:gd name="connsiteX2395" fmla="*/ 5174174 w 6423456"/>
              <a:gd name="connsiteY2395" fmla="*/ 5499340 h 6377102"/>
              <a:gd name="connsiteX2396" fmla="*/ 5168390 w 6423456"/>
              <a:gd name="connsiteY2396" fmla="*/ 5493555 h 6377102"/>
              <a:gd name="connsiteX2397" fmla="*/ 5162605 w 6423456"/>
              <a:gd name="connsiteY2397" fmla="*/ 5499340 h 6377102"/>
              <a:gd name="connsiteX2398" fmla="*/ 5168390 w 6423456"/>
              <a:gd name="connsiteY2398" fmla="*/ 5505125 h 6377102"/>
              <a:gd name="connsiteX2399" fmla="*/ 5174174 w 6423456"/>
              <a:gd name="connsiteY2399" fmla="*/ 5499340 h 6377102"/>
              <a:gd name="connsiteX2400" fmla="*/ 5238720 w 6423456"/>
              <a:gd name="connsiteY2400" fmla="*/ 5341629 h 6377102"/>
              <a:gd name="connsiteX2401" fmla="*/ 5231870 w 6423456"/>
              <a:gd name="connsiteY2401" fmla="*/ 5334778 h 6377102"/>
              <a:gd name="connsiteX2402" fmla="*/ 5225020 w 6423456"/>
              <a:gd name="connsiteY2402" fmla="*/ 5341629 h 6377102"/>
              <a:gd name="connsiteX2403" fmla="*/ 5231870 w 6423456"/>
              <a:gd name="connsiteY2403" fmla="*/ 5348479 h 6377102"/>
              <a:gd name="connsiteX2404" fmla="*/ 5238720 w 6423456"/>
              <a:gd name="connsiteY2404" fmla="*/ 5341629 h 6377102"/>
              <a:gd name="connsiteX2405" fmla="*/ 5295427 w 6423456"/>
              <a:gd name="connsiteY2405" fmla="*/ 5180797 h 6377102"/>
              <a:gd name="connsiteX2406" fmla="*/ 5287053 w 6423456"/>
              <a:gd name="connsiteY2406" fmla="*/ 5172424 h 6377102"/>
              <a:gd name="connsiteX2407" fmla="*/ 5278605 w 6423456"/>
              <a:gd name="connsiteY2407" fmla="*/ 5180797 h 6377102"/>
              <a:gd name="connsiteX2408" fmla="*/ 5287053 w 6423456"/>
              <a:gd name="connsiteY2408" fmla="*/ 5189170 h 6377102"/>
              <a:gd name="connsiteX2409" fmla="*/ 5295427 w 6423456"/>
              <a:gd name="connsiteY2409" fmla="*/ 5180797 h 6377102"/>
              <a:gd name="connsiteX2410" fmla="*/ 5343531 w 6423456"/>
              <a:gd name="connsiteY2410" fmla="*/ 5017225 h 6377102"/>
              <a:gd name="connsiteX2411" fmla="*/ 5333561 w 6423456"/>
              <a:gd name="connsiteY2411" fmla="*/ 5007254 h 6377102"/>
              <a:gd name="connsiteX2412" fmla="*/ 5323589 w 6423456"/>
              <a:gd name="connsiteY2412" fmla="*/ 5017225 h 6377102"/>
              <a:gd name="connsiteX2413" fmla="*/ 5333561 w 6423456"/>
              <a:gd name="connsiteY2413" fmla="*/ 5027196 h 6377102"/>
              <a:gd name="connsiteX2414" fmla="*/ 5343531 w 6423456"/>
              <a:gd name="connsiteY2414" fmla="*/ 5017225 h 6377102"/>
              <a:gd name="connsiteX2415" fmla="*/ 5382883 w 6423456"/>
              <a:gd name="connsiteY2415" fmla="*/ 4851522 h 6377102"/>
              <a:gd name="connsiteX2416" fmla="*/ 5371314 w 6423456"/>
              <a:gd name="connsiteY2416" fmla="*/ 4839952 h 6377102"/>
              <a:gd name="connsiteX2417" fmla="*/ 5359744 w 6423456"/>
              <a:gd name="connsiteY2417" fmla="*/ 4851522 h 6377102"/>
              <a:gd name="connsiteX2418" fmla="*/ 5371314 w 6423456"/>
              <a:gd name="connsiteY2418" fmla="*/ 4863091 h 6377102"/>
              <a:gd name="connsiteX2419" fmla="*/ 5382883 w 6423456"/>
              <a:gd name="connsiteY2419" fmla="*/ 4851522 h 6377102"/>
              <a:gd name="connsiteX2420" fmla="*/ 5413482 w 6423456"/>
              <a:gd name="connsiteY2420" fmla="*/ 4683992 h 6377102"/>
              <a:gd name="connsiteX2421" fmla="*/ 5400389 w 6423456"/>
              <a:gd name="connsiteY2421" fmla="*/ 4670899 h 6377102"/>
              <a:gd name="connsiteX2422" fmla="*/ 5387221 w 6423456"/>
              <a:gd name="connsiteY2422" fmla="*/ 4683992 h 6377102"/>
              <a:gd name="connsiteX2423" fmla="*/ 5400389 w 6423456"/>
              <a:gd name="connsiteY2423" fmla="*/ 4697159 h 6377102"/>
              <a:gd name="connsiteX2424" fmla="*/ 5413482 w 6423456"/>
              <a:gd name="connsiteY2424" fmla="*/ 4683992 h 6377102"/>
              <a:gd name="connsiteX2425" fmla="*/ 5435251 w 6423456"/>
              <a:gd name="connsiteY2425" fmla="*/ 4515168 h 6377102"/>
              <a:gd name="connsiteX2426" fmla="*/ 5420560 w 6423456"/>
              <a:gd name="connsiteY2426" fmla="*/ 4500477 h 6377102"/>
              <a:gd name="connsiteX2427" fmla="*/ 5405870 w 6423456"/>
              <a:gd name="connsiteY2427" fmla="*/ 4515168 h 6377102"/>
              <a:gd name="connsiteX2428" fmla="*/ 5420560 w 6423456"/>
              <a:gd name="connsiteY2428" fmla="*/ 4529858 h 6377102"/>
              <a:gd name="connsiteX2429" fmla="*/ 5435251 w 6423456"/>
              <a:gd name="connsiteY2429" fmla="*/ 4515168 h 6377102"/>
              <a:gd name="connsiteX2430" fmla="*/ 5448038 w 6423456"/>
              <a:gd name="connsiteY2430" fmla="*/ 4345506 h 6377102"/>
              <a:gd name="connsiteX2431" fmla="*/ 5431749 w 6423456"/>
              <a:gd name="connsiteY2431" fmla="*/ 4329218 h 6377102"/>
              <a:gd name="connsiteX2432" fmla="*/ 5415460 w 6423456"/>
              <a:gd name="connsiteY2432" fmla="*/ 4345506 h 6377102"/>
              <a:gd name="connsiteX2433" fmla="*/ 5431749 w 6423456"/>
              <a:gd name="connsiteY2433" fmla="*/ 4361795 h 6377102"/>
              <a:gd name="connsiteX2434" fmla="*/ 5448038 w 6423456"/>
              <a:gd name="connsiteY2434" fmla="*/ 4345506 h 6377102"/>
              <a:gd name="connsiteX2435" fmla="*/ 5451843 w 6423456"/>
              <a:gd name="connsiteY2435" fmla="*/ 4175540 h 6377102"/>
              <a:gd name="connsiteX2436" fmla="*/ 5433956 w 6423456"/>
              <a:gd name="connsiteY2436" fmla="*/ 4157653 h 6377102"/>
              <a:gd name="connsiteX2437" fmla="*/ 5416069 w 6423456"/>
              <a:gd name="connsiteY2437" fmla="*/ 4175540 h 6377102"/>
              <a:gd name="connsiteX2438" fmla="*/ 5433956 w 6423456"/>
              <a:gd name="connsiteY2438" fmla="*/ 4193427 h 6377102"/>
              <a:gd name="connsiteX2439" fmla="*/ 5451843 w 6423456"/>
              <a:gd name="connsiteY2439" fmla="*/ 4175540 h 6377102"/>
              <a:gd name="connsiteX2440" fmla="*/ 5447200 w 6423456"/>
              <a:gd name="connsiteY2440" fmla="*/ 4005651 h 6377102"/>
              <a:gd name="connsiteX2441" fmla="*/ 5427258 w 6423456"/>
              <a:gd name="connsiteY2441" fmla="*/ 3985709 h 6377102"/>
              <a:gd name="connsiteX2442" fmla="*/ 5407316 w 6423456"/>
              <a:gd name="connsiteY2442" fmla="*/ 4005651 h 6377102"/>
              <a:gd name="connsiteX2443" fmla="*/ 5427258 w 6423456"/>
              <a:gd name="connsiteY2443" fmla="*/ 4025593 h 6377102"/>
              <a:gd name="connsiteX2444" fmla="*/ 5447200 w 6423456"/>
              <a:gd name="connsiteY2444" fmla="*/ 4005651 h 6377102"/>
              <a:gd name="connsiteX2445" fmla="*/ 5433119 w 6423456"/>
              <a:gd name="connsiteY2445" fmla="*/ 3836370 h 6377102"/>
              <a:gd name="connsiteX2446" fmla="*/ 5411579 w 6423456"/>
              <a:gd name="connsiteY2446" fmla="*/ 3814829 h 6377102"/>
              <a:gd name="connsiteX2447" fmla="*/ 5390038 w 6423456"/>
              <a:gd name="connsiteY2447" fmla="*/ 3836370 h 6377102"/>
              <a:gd name="connsiteX2448" fmla="*/ 5411579 w 6423456"/>
              <a:gd name="connsiteY2448" fmla="*/ 3857910 h 6377102"/>
              <a:gd name="connsiteX2449" fmla="*/ 5433119 w 6423456"/>
              <a:gd name="connsiteY2449" fmla="*/ 3836370 h 6377102"/>
              <a:gd name="connsiteX2450" fmla="*/ 5410056 w 6423456"/>
              <a:gd name="connsiteY2450" fmla="*/ 3668155 h 6377102"/>
              <a:gd name="connsiteX2451" fmla="*/ 5386917 w 6423456"/>
              <a:gd name="connsiteY2451" fmla="*/ 3645016 h 6377102"/>
              <a:gd name="connsiteX2452" fmla="*/ 5363778 w 6423456"/>
              <a:gd name="connsiteY2452" fmla="*/ 3668155 h 6377102"/>
              <a:gd name="connsiteX2453" fmla="*/ 5386917 w 6423456"/>
              <a:gd name="connsiteY2453" fmla="*/ 3691294 h 6377102"/>
              <a:gd name="connsiteX2454" fmla="*/ 5410056 w 6423456"/>
              <a:gd name="connsiteY2454" fmla="*/ 3668155 h 6377102"/>
              <a:gd name="connsiteX2455" fmla="*/ 5378240 w 6423456"/>
              <a:gd name="connsiteY2455" fmla="*/ 3501462 h 6377102"/>
              <a:gd name="connsiteX2456" fmla="*/ 5353578 w 6423456"/>
              <a:gd name="connsiteY2456" fmla="*/ 3476801 h 6377102"/>
              <a:gd name="connsiteX2457" fmla="*/ 5328917 w 6423456"/>
              <a:gd name="connsiteY2457" fmla="*/ 3501462 h 6377102"/>
              <a:gd name="connsiteX2458" fmla="*/ 5353578 w 6423456"/>
              <a:gd name="connsiteY2458" fmla="*/ 3526123 h 6377102"/>
              <a:gd name="connsiteX2459" fmla="*/ 5378240 w 6423456"/>
              <a:gd name="connsiteY2459" fmla="*/ 3501462 h 6377102"/>
              <a:gd name="connsiteX2460" fmla="*/ 5337594 w 6423456"/>
              <a:gd name="connsiteY2460" fmla="*/ 3336748 h 6377102"/>
              <a:gd name="connsiteX2461" fmla="*/ 5311335 w 6423456"/>
              <a:gd name="connsiteY2461" fmla="*/ 3310488 h 6377102"/>
              <a:gd name="connsiteX2462" fmla="*/ 5285074 w 6423456"/>
              <a:gd name="connsiteY2462" fmla="*/ 3336748 h 6377102"/>
              <a:gd name="connsiteX2463" fmla="*/ 5311335 w 6423456"/>
              <a:gd name="connsiteY2463" fmla="*/ 3363008 h 6377102"/>
              <a:gd name="connsiteX2464" fmla="*/ 5337594 w 6423456"/>
              <a:gd name="connsiteY2464" fmla="*/ 3336748 h 6377102"/>
              <a:gd name="connsiteX2465" fmla="*/ 5287815 w 6423456"/>
              <a:gd name="connsiteY2465" fmla="*/ 3174546 h 6377102"/>
              <a:gd name="connsiteX2466" fmla="*/ 5260489 w 6423456"/>
              <a:gd name="connsiteY2466" fmla="*/ 3147221 h 6377102"/>
              <a:gd name="connsiteX2467" fmla="*/ 5233164 w 6423456"/>
              <a:gd name="connsiteY2467" fmla="*/ 3174546 h 6377102"/>
              <a:gd name="connsiteX2468" fmla="*/ 5260489 w 6423456"/>
              <a:gd name="connsiteY2468" fmla="*/ 3201872 h 6377102"/>
              <a:gd name="connsiteX2469" fmla="*/ 5287815 w 6423456"/>
              <a:gd name="connsiteY2469" fmla="*/ 3174546 h 6377102"/>
              <a:gd name="connsiteX2470" fmla="*/ 5230119 w 6423456"/>
              <a:gd name="connsiteY2470" fmla="*/ 3015237 h 6377102"/>
              <a:gd name="connsiteX2471" fmla="*/ 5201196 w 6423456"/>
              <a:gd name="connsiteY2471" fmla="*/ 2986313 h 6377102"/>
              <a:gd name="connsiteX2472" fmla="*/ 5172271 w 6423456"/>
              <a:gd name="connsiteY2472" fmla="*/ 3015237 h 6377102"/>
              <a:gd name="connsiteX2473" fmla="*/ 5201196 w 6423456"/>
              <a:gd name="connsiteY2473" fmla="*/ 3044084 h 6377102"/>
              <a:gd name="connsiteX2474" fmla="*/ 5230119 w 6423456"/>
              <a:gd name="connsiteY2474" fmla="*/ 3015237 h 6377102"/>
              <a:gd name="connsiteX2475" fmla="*/ 5163518 w 6423456"/>
              <a:gd name="connsiteY2475" fmla="*/ 2859276 h 6377102"/>
              <a:gd name="connsiteX2476" fmla="*/ 5133605 w 6423456"/>
              <a:gd name="connsiteY2476" fmla="*/ 2829363 h 6377102"/>
              <a:gd name="connsiteX2477" fmla="*/ 5103691 w 6423456"/>
              <a:gd name="connsiteY2477" fmla="*/ 2859276 h 6377102"/>
              <a:gd name="connsiteX2478" fmla="*/ 5133605 w 6423456"/>
              <a:gd name="connsiteY2478" fmla="*/ 2889189 h 6377102"/>
              <a:gd name="connsiteX2479" fmla="*/ 5163518 w 6423456"/>
              <a:gd name="connsiteY2479" fmla="*/ 2859276 h 6377102"/>
              <a:gd name="connsiteX2480" fmla="*/ 5088773 w 6423456"/>
              <a:gd name="connsiteY2480" fmla="*/ 2707045 h 6377102"/>
              <a:gd name="connsiteX2481" fmla="*/ 5057794 w 6423456"/>
              <a:gd name="connsiteY2481" fmla="*/ 2676066 h 6377102"/>
              <a:gd name="connsiteX2482" fmla="*/ 5026815 w 6423456"/>
              <a:gd name="connsiteY2482" fmla="*/ 2707045 h 6377102"/>
              <a:gd name="connsiteX2483" fmla="*/ 5057794 w 6423456"/>
              <a:gd name="connsiteY2483" fmla="*/ 2738024 h 6377102"/>
              <a:gd name="connsiteX2484" fmla="*/ 5088773 w 6423456"/>
              <a:gd name="connsiteY2484" fmla="*/ 2707045 h 6377102"/>
              <a:gd name="connsiteX2485" fmla="*/ 5006112 w 6423456"/>
              <a:gd name="connsiteY2485" fmla="*/ 2559077 h 6377102"/>
              <a:gd name="connsiteX2486" fmla="*/ 4974067 w 6423456"/>
              <a:gd name="connsiteY2486" fmla="*/ 2527032 h 6377102"/>
              <a:gd name="connsiteX2487" fmla="*/ 4942022 w 6423456"/>
              <a:gd name="connsiteY2487" fmla="*/ 2559077 h 6377102"/>
              <a:gd name="connsiteX2488" fmla="*/ 4974067 w 6423456"/>
              <a:gd name="connsiteY2488" fmla="*/ 2591121 h 6377102"/>
              <a:gd name="connsiteX2489" fmla="*/ 5006112 w 6423456"/>
              <a:gd name="connsiteY2489" fmla="*/ 2559077 h 6377102"/>
              <a:gd name="connsiteX2490" fmla="*/ 4915230 w 6423456"/>
              <a:gd name="connsiteY2490" fmla="*/ 2415752 h 6377102"/>
              <a:gd name="connsiteX2491" fmla="*/ 4882652 w 6423456"/>
              <a:gd name="connsiteY2491" fmla="*/ 2383174 h 6377102"/>
              <a:gd name="connsiteX2492" fmla="*/ 4850075 w 6423456"/>
              <a:gd name="connsiteY2492" fmla="*/ 2415752 h 6377102"/>
              <a:gd name="connsiteX2493" fmla="*/ 4882652 w 6423456"/>
              <a:gd name="connsiteY2493" fmla="*/ 2448329 h 6377102"/>
              <a:gd name="connsiteX2494" fmla="*/ 4915230 w 6423456"/>
              <a:gd name="connsiteY2494" fmla="*/ 2415752 h 6377102"/>
              <a:gd name="connsiteX2495" fmla="*/ 4816964 w 6423456"/>
              <a:gd name="connsiteY2495" fmla="*/ 2277374 h 6377102"/>
              <a:gd name="connsiteX2496" fmla="*/ 4783854 w 6423456"/>
              <a:gd name="connsiteY2496" fmla="*/ 2244263 h 6377102"/>
              <a:gd name="connsiteX2497" fmla="*/ 4750744 w 6423456"/>
              <a:gd name="connsiteY2497" fmla="*/ 2277374 h 6377102"/>
              <a:gd name="connsiteX2498" fmla="*/ 4783854 w 6423456"/>
              <a:gd name="connsiteY2498" fmla="*/ 2310484 h 6377102"/>
              <a:gd name="connsiteX2499" fmla="*/ 4816964 w 6423456"/>
              <a:gd name="connsiteY2499" fmla="*/ 2277374 h 6377102"/>
              <a:gd name="connsiteX2500" fmla="*/ 4711468 w 6423456"/>
              <a:gd name="connsiteY2500" fmla="*/ 2144476 h 6377102"/>
              <a:gd name="connsiteX2501" fmla="*/ 4677826 w 6423456"/>
              <a:gd name="connsiteY2501" fmla="*/ 2110833 h 6377102"/>
              <a:gd name="connsiteX2502" fmla="*/ 4644183 w 6423456"/>
              <a:gd name="connsiteY2502" fmla="*/ 2144476 h 6377102"/>
              <a:gd name="connsiteX2503" fmla="*/ 4677826 w 6423456"/>
              <a:gd name="connsiteY2503" fmla="*/ 2178119 h 6377102"/>
              <a:gd name="connsiteX2504" fmla="*/ 4711468 w 6423456"/>
              <a:gd name="connsiteY2504" fmla="*/ 2144476 h 6377102"/>
              <a:gd name="connsiteX2505" fmla="*/ 4599122 w 6423456"/>
              <a:gd name="connsiteY2505" fmla="*/ 2017363 h 6377102"/>
              <a:gd name="connsiteX2506" fmla="*/ 4564946 w 6423456"/>
              <a:gd name="connsiteY2506" fmla="*/ 1983264 h 6377102"/>
              <a:gd name="connsiteX2507" fmla="*/ 4530770 w 6423456"/>
              <a:gd name="connsiteY2507" fmla="*/ 2017363 h 6377102"/>
              <a:gd name="connsiteX2508" fmla="*/ 4564946 w 6423456"/>
              <a:gd name="connsiteY2508" fmla="*/ 2051539 h 6377102"/>
              <a:gd name="connsiteX2509" fmla="*/ 4599122 w 6423456"/>
              <a:gd name="connsiteY2509" fmla="*/ 2017363 h 6377102"/>
              <a:gd name="connsiteX2510" fmla="*/ 4479697 w 6423456"/>
              <a:gd name="connsiteY2510" fmla="*/ 1896340 h 6377102"/>
              <a:gd name="connsiteX2511" fmla="*/ 4445522 w 6423456"/>
              <a:gd name="connsiteY2511" fmla="*/ 1862164 h 6377102"/>
              <a:gd name="connsiteX2512" fmla="*/ 4411346 w 6423456"/>
              <a:gd name="connsiteY2512" fmla="*/ 1896340 h 6377102"/>
              <a:gd name="connsiteX2513" fmla="*/ 4445522 w 6423456"/>
              <a:gd name="connsiteY2513" fmla="*/ 1930516 h 6377102"/>
              <a:gd name="connsiteX2514" fmla="*/ 4479697 w 6423456"/>
              <a:gd name="connsiteY2514" fmla="*/ 1896340 h 6377102"/>
              <a:gd name="connsiteX2515" fmla="*/ 4353498 w 6423456"/>
              <a:gd name="connsiteY2515" fmla="*/ 1781786 h 6377102"/>
              <a:gd name="connsiteX2516" fmla="*/ 4319855 w 6423456"/>
              <a:gd name="connsiteY2516" fmla="*/ 1748143 h 6377102"/>
              <a:gd name="connsiteX2517" fmla="*/ 4286212 w 6423456"/>
              <a:gd name="connsiteY2517" fmla="*/ 1781786 h 6377102"/>
              <a:gd name="connsiteX2518" fmla="*/ 4319855 w 6423456"/>
              <a:gd name="connsiteY2518" fmla="*/ 1815429 h 6377102"/>
              <a:gd name="connsiteX2519" fmla="*/ 4353498 w 6423456"/>
              <a:gd name="connsiteY2519" fmla="*/ 1781786 h 6377102"/>
              <a:gd name="connsiteX2520" fmla="*/ 4222047 w 6423456"/>
              <a:gd name="connsiteY2520" fmla="*/ 1674083 h 6377102"/>
              <a:gd name="connsiteX2521" fmla="*/ 4188403 w 6423456"/>
              <a:gd name="connsiteY2521" fmla="*/ 1640440 h 6377102"/>
              <a:gd name="connsiteX2522" fmla="*/ 4154760 w 6423456"/>
              <a:gd name="connsiteY2522" fmla="*/ 1674083 h 6377102"/>
              <a:gd name="connsiteX2523" fmla="*/ 4188403 w 6423456"/>
              <a:gd name="connsiteY2523" fmla="*/ 1707726 h 6377102"/>
              <a:gd name="connsiteX2524" fmla="*/ 4222047 w 6423456"/>
              <a:gd name="connsiteY2524" fmla="*/ 1674083 h 6377102"/>
              <a:gd name="connsiteX2525" fmla="*/ 4084506 w 6423456"/>
              <a:gd name="connsiteY2525" fmla="*/ 1573382 h 6377102"/>
              <a:gd name="connsiteX2526" fmla="*/ 4051396 w 6423456"/>
              <a:gd name="connsiteY2526" fmla="*/ 1540272 h 6377102"/>
              <a:gd name="connsiteX2527" fmla="*/ 4018286 w 6423456"/>
              <a:gd name="connsiteY2527" fmla="*/ 1573382 h 6377102"/>
              <a:gd name="connsiteX2528" fmla="*/ 4051396 w 6423456"/>
              <a:gd name="connsiteY2528" fmla="*/ 1606492 h 6377102"/>
              <a:gd name="connsiteX2529" fmla="*/ 4084506 w 6423456"/>
              <a:gd name="connsiteY2529" fmla="*/ 1573382 h 6377102"/>
              <a:gd name="connsiteX2530" fmla="*/ 3941333 w 6423456"/>
              <a:gd name="connsiteY2530" fmla="*/ 1480141 h 6377102"/>
              <a:gd name="connsiteX2531" fmla="*/ 3909288 w 6423456"/>
              <a:gd name="connsiteY2531" fmla="*/ 1448096 h 6377102"/>
              <a:gd name="connsiteX2532" fmla="*/ 3877243 w 6423456"/>
              <a:gd name="connsiteY2532" fmla="*/ 1480141 h 6377102"/>
              <a:gd name="connsiteX2533" fmla="*/ 3909288 w 6423456"/>
              <a:gd name="connsiteY2533" fmla="*/ 1512185 h 6377102"/>
              <a:gd name="connsiteX2534" fmla="*/ 3941333 w 6423456"/>
              <a:gd name="connsiteY2534" fmla="*/ 1480141 h 6377102"/>
              <a:gd name="connsiteX2535" fmla="*/ 3793364 w 6423456"/>
              <a:gd name="connsiteY2535" fmla="*/ 1394511 h 6377102"/>
              <a:gd name="connsiteX2536" fmla="*/ 3762385 w 6423456"/>
              <a:gd name="connsiteY2536" fmla="*/ 1363532 h 6377102"/>
              <a:gd name="connsiteX2537" fmla="*/ 3731406 w 6423456"/>
              <a:gd name="connsiteY2537" fmla="*/ 1394511 h 6377102"/>
              <a:gd name="connsiteX2538" fmla="*/ 3762385 w 6423456"/>
              <a:gd name="connsiteY2538" fmla="*/ 1425490 h 6377102"/>
              <a:gd name="connsiteX2539" fmla="*/ 3793364 w 6423456"/>
              <a:gd name="connsiteY2539" fmla="*/ 1394511 h 6377102"/>
              <a:gd name="connsiteX2540" fmla="*/ 3641209 w 6423456"/>
              <a:gd name="connsiteY2540" fmla="*/ 1316721 h 6377102"/>
              <a:gd name="connsiteX2541" fmla="*/ 3611297 w 6423456"/>
              <a:gd name="connsiteY2541" fmla="*/ 1286808 h 6377102"/>
              <a:gd name="connsiteX2542" fmla="*/ 3581383 w 6423456"/>
              <a:gd name="connsiteY2542" fmla="*/ 1316721 h 6377102"/>
              <a:gd name="connsiteX2543" fmla="*/ 3611297 w 6423456"/>
              <a:gd name="connsiteY2543" fmla="*/ 1346634 h 6377102"/>
              <a:gd name="connsiteX2544" fmla="*/ 3641209 w 6423456"/>
              <a:gd name="connsiteY2544" fmla="*/ 1316721 h 6377102"/>
              <a:gd name="connsiteX2545" fmla="*/ 3485020 w 6423456"/>
              <a:gd name="connsiteY2545" fmla="*/ 1246999 h 6377102"/>
              <a:gd name="connsiteX2546" fmla="*/ 3456097 w 6423456"/>
              <a:gd name="connsiteY2546" fmla="*/ 1218075 h 6377102"/>
              <a:gd name="connsiteX2547" fmla="*/ 3427173 w 6423456"/>
              <a:gd name="connsiteY2547" fmla="*/ 1246999 h 6377102"/>
              <a:gd name="connsiteX2548" fmla="*/ 3456097 w 6423456"/>
              <a:gd name="connsiteY2548" fmla="*/ 1275923 h 6377102"/>
              <a:gd name="connsiteX2549" fmla="*/ 3485020 w 6423456"/>
              <a:gd name="connsiteY2549" fmla="*/ 1246999 h 6377102"/>
              <a:gd name="connsiteX2550" fmla="*/ 3325483 w 6423456"/>
              <a:gd name="connsiteY2550" fmla="*/ 1185574 h 6377102"/>
              <a:gd name="connsiteX2551" fmla="*/ 3297624 w 6423456"/>
              <a:gd name="connsiteY2551" fmla="*/ 1157716 h 6377102"/>
              <a:gd name="connsiteX2552" fmla="*/ 3269767 w 6423456"/>
              <a:gd name="connsiteY2552" fmla="*/ 1185574 h 6377102"/>
              <a:gd name="connsiteX2553" fmla="*/ 3297624 w 6423456"/>
              <a:gd name="connsiteY2553" fmla="*/ 1213432 h 6377102"/>
              <a:gd name="connsiteX2554" fmla="*/ 3325483 w 6423456"/>
              <a:gd name="connsiteY2554" fmla="*/ 1185574 h 6377102"/>
              <a:gd name="connsiteX2555" fmla="*/ 3162900 w 6423456"/>
              <a:gd name="connsiteY2555" fmla="*/ 1132598 h 6377102"/>
              <a:gd name="connsiteX2556" fmla="*/ 3136108 w 6423456"/>
              <a:gd name="connsiteY2556" fmla="*/ 1105805 h 6377102"/>
              <a:gd name="connsiteX2557" fmla="*/ 3109315 w 6423456"/>
              <a:gd name="connsiteY2557" fmla="*/ 1132598 h 6377102"/>
              <a:gd name="connsiteX2558" fmla="*/ 3136108 w 6423456"/>
              <a:gd name="connsiteY2558" fmla="*/ 1159390 h 6377102"/>
              <a:gd name="connsiteX2559" fmla="*/ 3162900 w 6423456"/>
              <a:gd name="connsiteY2559" fmla="*/ 1132598 h 6377102"/>
              <a:gd name="connsiteX2560" fmla="*/ 2997197 w 6423456"/>
              <a:gd name="connsiteY2560" fmla="*/ 1088222 h 6377102"/>
              <a:gd name="connsiteX2561" fmla="*/ 2972003 w 6423456"/>
              <a:gd name="connsiteY2561" fmla="*/ 1063028 h 6377102"/>
              <a:gd name="connsiteX2562" fmla="*/ 2946809 w 6423456"/>
              <a:gd name="connsiteY2562" fmla="*/ 1088222 h 6377102"/>
              <a:gd name="connsiteX2563" fmla="*/ 2972003 w 6423456"/>
              <a:gd name="connsiteY2563" fmla="*/ 1113416 h 6377102"/>
              <a:gd name="connsiteX2564" fmla="*/ 2997197 w 6423456"/>
              <a:gd name="connsiteY2564" fmla="*/ 1088222 h 6377102"/>
              <a:gd name="connsiteX2565" fmla="*/ 2829363 w 6423456"/>
              <a:gd name="connsiteY2565" fmla="*/ 1052600 h 6377102"/>
              <a:gd name="connsiteX2566" fmla="*/ 2805690 w 6423456"/>
              <a:gd name="connsiteY2566" fmla="*/ 1028928 h 6377102"/>
              <a:gd name="connsiteX2567" fmla="*/ 2782018 w 6423456"/>
              <a:gd name="connsiteY2567" fmla="*/ 1052600 h 6377102"/>
              <a:gd name="connsiteX2568" fmla="*/ 2805690 w 6423456"/>
              <a:gd name="connsiteY2568" fmla="*/ 1076272 h 6377102"/>
              <a:gd name="connsiteX2569" fmla="*/ 2829363 w 6423456"/>
              <a:gd name="connsiteY2569" fmla="*/ 1052600 h 6377102"/>
              <a:gd name="connsiteX2570" fmla="*/ 2659930 w 6423456"/>
              <a:gd name="connsiteY2570" fmla="*/ 1025808 h 6377102"/>
              <a:gd name="connsiteX2571" fmla="*/ 2637856 w 6423456"/>
              <a:gd name="connsiteY2571" fmla="*/ 1003734 h 6377102"/>
              <a:gd name="connsiteX2572" fmla="*/ 2615783 w 6423456"/>
              <a:gd name="connsiteY2572" fmla="*/ 1025808 h 6377102"/>
              <a:gd name="connsiteX2573" fmla="*/ 2637856 w 6423456"/>
              <a:gd name="connsiteY2573" fmla="*/ 1047881 h 6377102"/>
              <a:gd name="connsiteX2574" fmla="*/ 2659930 w 6423456"/>
              <a:gd name="connsiteY2574" fmla="*/ 1025808 h 6377102"/>
              <a:gd name="connsiteX2575" fmla="*/ 2489279 w 6423456"/>
              <a:gd name="connsiteY2575" fmla="*/ 1007844 h 6377102"/>
              <a:gd name="connsiteX2576" fmla="*/ 2468803 w 6423456"/>
              <a:gd name="connsiteY2576" fmla="*/ 987369 h 6377102"/>
              <a:gd name="connsiteX2577" fmla="*/ 2448329 w 6423456"/>
              <a:gd name="connsiteY2577" fmla="*/ 1007844 h 6377102"/>
              <a:gd name="connsiteX2578" fmla="*/ 2468803 w 6423456"/>
              <a:gd name="connsiteY2578" fmla="*/ 1028319 h 6377102"/>
              <a:gd name="connsiteX2579" fmla="*/ 2489279 w 6423456"/>
              <a:gd name="connsiteY2579" fmla="*/ 1007844 h 6377102"/>
              <a:gd name="connsiteX2580" fmla="*/ 2317411 w 6423456"/>
              <a:gd name="connsiteY2580" fmla="*/ 998939 h 6377102"/>
              <a:gd name="connsiteX2581" fmla="*/ 2298990 w 6423456"/>
              <a:gd name="connsiteY2581" fmla="*/ 980519 h 6377102"/>
              <a:gd name="connsiteX2582" fmla="*/ 2280646 w 6423456"/>
              <a:gd name="connsiteY2582" fmla="*/ 998939 h 6377102"/>
              <a:gd name="connsiteX2583" fmla="*/ 2298990 w 6423456"/>
              <a:gd name="connsiteY2583" fmla="*/ 1017359 h 6377102"/>
              <a:gd name="connsiteX2584" fmla="*/ 2317411 w 6423456"/>
              <a:gd name="connsiteY2584" fmla="*/ 998939 h 6377102"/>
              <a:gd name="connsiteX2585" fmla="*/ 2145846 w 6423456"/>
              <a:gd name="connsiteY2585" fmla="*/ 998939 h 6377102"/>
              <a:gd name="connsiteX2586" fmla="*/ 2129025 w 6423456"/>
              <a:gd name="connsiteY2586" fmla="*/ 982117 h 6377102"/>
              <a:gd name="connsiteX2587" fmla="*/ 2112203 w 6423456"/>
              <a:gd name="connsiteY2587" fmla="*/ 998939 h 6377102"/>
              <a:gd name="connsiteX2588" fmla="*/ 2129025 w 6423456"/>
              <a:gd name="connsiteY2588" fmla="*/ 1015760 h 6377102"/>
              <a:gd name="connsiteX2589" fmla="*/ 2145846 w 6423456"/>
              <a:gd name="connsiteY2589" fmla="*/ 998939 h 6377102"/>
              <a:gd name="connsiteX2590" fmla="*/ 1974434 w 6423456"/>
              <a:gd name="connsiteY2590" fmla="*/ 1007844 h 6377102"/>
              <a:gd name="connsiteX2591" fmla="*/ 1959211 w 6423456"/>
              <a:gd name="connsiteY2591" fmla="*/ 992621 h 6377102"/>
              <a:gd name="connsiteX2592" fmla="*/ 1943988 w 6423456"/>
              <a:gd name="connsiteY2592" fmla="*/ 1007844 h 6377102"/>
              <a:gd name="connsiteX2593" fmla="*/ 1959211 w 6423456"/>
              <a:gd name="connsiteY2593" fmla="*/ 1023067 h 6377102"/>
              <a:gd name="connsiteX2594" fmla="*/ 1974434 w 6423456"/>
              <a:gd name="connsiteY2594" fmla="*/ 1007844 h 6377102"/>
              <a:gd name="connsiteX2595" fmla="*/ 1803859 w 6423456"/>
              <a:gd name="connsiteY2595" fmla="*/ 1025808 h 6377102"/>
              <a:gd name="connsiteX2596" fmla="*/ 1790234 w 6423456"/>
              <a:gd name="connsiteY2596" fmla="*/ 1012107 h 6377102"/>
              <a:gd name="connsiteX2597" fmla="*/ 1776610 w 6423456"/>
              <a:gd name="connsiteY2597" fmla="*/ 1025808 h 6377102"/>
              <a:gd name="connsiteX2598" fmla="*/ 1790234 w 6423456"/>
              <a:gd name="connsiteY2598" fmla="*/ 1039432 h 6377102"/>
              <a:gd name="connsiteX2599" fmla="*/ 1803859 w 6423456"/>
              <a:gd name="connsiteY2599" fmla="*/ 1025808 h 6377102"/>
              <a:gd name="connsiteX2600" fmla="*/ 1633817 w 6423456"/>
              <a:gd name="connsiteY2600" fmla="*/ 1052600 h 6377102"/>
              <a:gd name="connsiteX2601" fmla="*/ 1622248 w 6423456"/>
              <a:gd name="connsiteY2601" fmla="*/ 1041031 h 6377102"/>
              <a:gd name="connsiteX2602" fmla="*/ 1610678 w 6423456"/>
              <a:gd name="connsiteY2602" fmla="*/ 1052600 h 6377102"/>
              <a:gd name="connsiteX2603" fmla="*/ 1622248 w 6423456"/>
              <a:gd name="connsiteY2603" fmla="*/ 1064170 h 6377102"/>
              <a:gd name="connsiteX2604" fmla="*/ 1633817 w 6423456"/>
              <a:gd name="connsiteY2604" fmla="*/ 1052600 h 6377102"/>
              <a:gd name="connsiteX2605" fmla="*/ 1466059 w 6423456"/>
              <a:gd name="connsiteY2605" fmla="*/ 1088222 h 6377102"/>
              <a:gd name="connsiteX2606" fmla="*/ 1456088 w 6423456"/>
              <a:gd name="connsiteY2606" fmla="*/ 1078251 h 6377102"/>
              <a:gd name="connsiteX2607" fmla="*/ 1446117 w 6423456"/>
              <a:gd name="connsiteY2607" fmla="*/ 1088222 h 6377102"/>
              <a:gd name="connsiteX2608" fmla="*/ 1456088 w 6423456"/>
              <a:gd name="connsiteY2608" fmla="*/ 1098193 h 6377102"/>
              <a:gd name="connsiteX2609" fmla="*/ 1466059 w 6423456"/>
              <a:gd name="connsiteY2609" fmla="*/ 1088222 h 6377102"/>
              <a:gd name="connsiteX2610" fmla="*/ 1300356 w 6423456"/>
              <a:gd name="connsiteY2610" fmla="*/ 1132598 h 6377102"/>
              <a:gd name="connsiteX2611" fmla="*/ 1291983 w 6423456"/>
              <a:gd name="connsiteY2611" fmla="*/ 1124225 h 6377102"/>
              <a:gd name="connsiteX2612" fmla="*/ 1283610 w 6423456"/>
              <a:gd name="connsiteY2612" fmla="*/ 1132598 h 6377102"/>
              <a:gd name="connsiteX2613" fmla="*/ 1291983 w 6423456"/>
              <a:gd name="connsiteY2613" fmla="*/ 1140970 h 6377102"/>
              <a:gd name="connsiteX2614" fmla="*/ 1300356 w 6423456"/>
              <a:gd name="connsiteY2614" fmla="*/ 1132598 h 6377102"/>
              <a:gd name="connsiteX2615" fmla="*/ 1137773 w 6423456"/>
              <a:gd name="connsiteY2615" fmla="*/ 1185574 h 6377102"/>
              <a:gd name="connsiteX2616" fmla="*/ 1130390 w 6423456"/>
              <a:gd name="connsiteY2616" fmla="*/ 1178191 h 6377102"/>
              <a:gd name="connsiteX2617" fmla="*/ 1123007 w 6423456"/>
              <a:gd name="connsiteY2617" fmla="*/ 1185574 h 6377102"/>
              <a:gd name="connsiteX2618" fmla="*/ 1130390 w 6423456"/>
              <a:gd name="connsiteY2618" fmla="*/ 1192957 h 6377102"/>
              <a:gd name="connsiteX2619" fmla="*/ 1137773 w 6423456"/>
              <a:gd name="connsiteY2619" fmla="*/ 1185574 h 6377102"/>
              <a:gd name="connsiteX2620" fmla="*/ 977627 w 6423456"/>
              <a:gd name="connsiteY2620" fmla="*/ 1246999 h 6377102"/>
              <a:gd name="connsiteX2621" fmla="*/ 971842 w 6423456"/>
              <a:gd name="connsiteY2621" fmla="*/ 1241214 h 6377102"/>
              <a:gd name="connsiteX2622" fmla="*/ 966057 w 6423456"/>
              <a:gd name="connsiteY2622" fmla="*/ 1246999 h 6377102"/>
              <a:gd name="connsiteX2623" fmla="*/ 971842 w 6423456"/>
              <a:gd name="connsiteY2623" fmla="*/ 1252784 h 6377102"/>
              <a:gd name="connsiteX2624" fmla="*/ 977627 w 6423456"/>
              <a:gd name="connsiteY2624" fmla="*/ 1246999 h 6377102"/>
              <a:gd name="connsiteX2625" fmla="*/ 821514 w 6423456"/>
              <a:gd name="connsiteY2625" fmla="*/ 1316721 h 6377102"/>
              <a:gd name="connsiteX2626" fmla="*/ 816795 w 6423456"/>
              <a:gd name="connsiteY2626" fmla="*/ 1312002 h 6377102"/>
              <a:gd name="connsiteX2627" fmla="*/ 812076 w 6423456"/>
              <a:gd name="connsiteY2627" fmla="*/ 1316721 h 6377102"/>
              <a:gd name="connsiteX2628" fmla="*/ 816795 w 6423456"/>
              <a:gd name="connsiteY2628" fmla="*/ 1321440 h 6377102"/>
              <a:gd name="connsiteX2629" fmla="*/ 821514 w 6423456"/>
              <a:gd name="connsiteY2629" fmla="*/ 1316721 h 6377102"/>
              <a:gd name="connsiteX2630" fmla="*/ 669283 w 6423456"/>
              <a:gd name="connsiteY2630" fmla="*/ 1394511 h 6377102"/>
              <a:gd name="connsiteX2631" fmla="*/ 665629 w 6423456"/>
              <a:gd name="connsiteY2631" fmla="*/ 1390857 h 6377102"/>
              <a:gd name="connsiteX2632" fmla="*/ 661976 w 6423456"/>
              <a:gd name="connsiteY2632" fmla="*/ 1394511 h 6377102"/>
              <a:gd name="connsiteX2633" fmla="*/ 665629 w 6423456"/>
              <a:gd name="connsiteY2633" fmla="*/ 1398164 h 6377102"/>
              <a:gd name="connsiteX2634" fmla="*/ 669283 w 6423456"/>
              <a:gd name="connsiteY2634" fmla="*/ 1394511 h 6377102"/>
              <a:gd name="connsiteX2635" fmla="*/ 521391 w 6423456"/>
              <a:gd name="connsiteY2635" fmla="*/ 1480141 h 6377102"/>
              <a:gd name="connsiteX2636" fmla="*/ 518803 w 6423456"/>
              <a:gd name="connsiteY2636" fmla="*/ 1477553 h 6377102"/>
              <a:gd name="connsiteX2637" fmla="*/ 516139 w 6423456"/>
              <a:gd name="connsiteY2637" fmla="*/ 1480141 h 6377102"/>
              <a:gd name="connsiteX2638" fmla="*/ 518803 w 6423456"/>
              <a:gd name="connsiteY2638" fmla="*/ 1482805 h 6377102"/>
              <a:gd name="connsiteX2639" fmla="*/ 521391 w 6423456"/>
              <a:gd name="connsiteY2639" fmla="*/ 1480141 h 6377102"/>
              <a:gd name="connsiteX2640" fmla="*/ 378750 w 6423456"/>
              <a:gd name="connsiteY2640" fmla="*/ 1573382 h 6377102"/>
              <a:gd name="connsiteX2641" fmla="*/ 376619 w 6423456"/>
              <a:gd name="connsiteY2641" fmla="*/ 1571251 h 6377102"/>
              <a:gd name="connsiteX2642" fmla="*/ 374488 w 6423456"/>
              <a:gd name="connsiteY2642" fmla="*/ 1573382 h 6377102"/>
              <a:gd name="connsiteX2643" fmla="*/ 376619 w 6423456"/>
              <a:gd name="connsiteY2643" fmla="*/ 1575513 h 6377102"/>
              <a:gd name="connsiteX2644" fmla="*/ 378750 w 6423456"/>
              <a:gd name="connsiteY2644" fmla="*/ 1573382 h 6377102"/>
              <a:gd name="connsiteX2645" fmla="*/ 240677 w 6423456"/>
              <a:gd name="connsiteY2645" fmla="*/ 1674083 h 6377102"/>
              <a:gd name="connsiteX2646" fmla="*/ 239611 w 6423456"/>
              <a:gd name="connsiteY2646" fmla="*/ 1673017 h 6377102"/>
              <a:gd name="connsiteX2647" fmla="*/ 238545 w 6423456"/>
              <a:gd name="connsiteY2647" fmla="*/ 1674083 h 6377102"/>
              <a:gd name="connsiteX2648" fmla="*/ 239611 w 6423456"/>
              <a:gd name="connsiteY2648" fmla="*/ 1675148 h 6377102"/>
              <a:gd name="connsiteX2649" fmla="*/ 240677 w 6423456"/>
              <a:gd name="connsiteY2649" fmla="*/ 1674083 h 6377102"/>
              <a:gd name="connsiteX2650" fmla="*/ 4880901 w 6423456"/>
              <a:gd name="connsiteY2650" fmla="*/ 6343916 h 6377102"/>
              <a:gd name="connsiteX2651" fmla="*/ 4879836 w 6423456"/>
              <a:gd name="connsiteY2651" fmla="*/ 6342851 h 6377102"/>
              <a:gd name="connsiteX2652" fmla="*/ 4878771 w 6423456"/>
              <a:gd name="connsiteY2652" fmla="*/ 6343916 h 6377102"/>
              <a:gd name="connsiteX2653" fmla="*/ 4879836 w 6423456"/>
              <a:gd name="connsiteY2653" fmla="*/ 6344982 h 6377102"/>
              <a:gd name="connsiteX2654" fmla="*/ 4880901 w 6423456"/>
              <a:gd name="connsiteY2654" fmla="*/ 6343916 h 6377102"/>
              <a:gd name="connsiteX2655" fmla="*/ 4984038 w 6423456"/>
              <a:gd name="connsiteY2655" fmla="*/ 6208431 h 6377102"/>
              <a:gd name="connsiteX2656" fmla="*/ 4982440 w 6423456"/>
              <a:gd name="connsiteY2656" fmla="*/ 6206833 h 6377102"/>
              <a:gd name="connsiteX2657" fmla="*/ 4980841 w 6423456"/>
              <a:gd name="connsiteY2657" fmla="*/ 6208431 h 6377102"/>
              <a:gd name="connsiteX2658" fmla="*/ 4982440 w 6423456"/>
              <a:gd name="connsiteY2658" fmla="*/ 6210030 h 6377102"/>
              <a:gd name="connsiteX2659" fmla="*/ 4984038 w 6423456"/>
              <a:gd name="connsiteY2659" fmla="*/ 6208431 h 6377102"/>
              <a:gd name="connsiteX2660" fmla="*/ 5080857 w 6423456"/>
              <a:gd name="connsiteY2660" fmla="*/ 6067998 h 6377102"/>
              <a:gd name="connsiteX2661" fmla="*/ 5078269 w 6423456"/>
              <a:gd name="connsiteY2661" fmla="*/ 6065334 h 6377102"/>
              <a:gd name="connsiteX2662" fmla="*/ 5075681 w 6423456"/>
              <a:gd name="connsiteY2662" fmla="*/ 6067998 h 6377102"/>
              <a:gd name="connsiteX2663" fmla="*/ 5078269 w 6423456"/>
              <a:gd name="connsiteY2663" fmla="*/ 6070586 h 6377102"/>
              <a:gd name="connsiteX2664" fmla="*/ 5080857 w 6423456"/>
              <a:gd name="connsiteY2664" fmla="*/ 6067998 h 6377102"/>
              <a:gd name="connsiteX2665" fmla="*/ 5170597 w 6423456"/>
              <a:gd name="connsiteY2665" fmla="*/ 5922922 h 6377102"/>
              <a:gd name="connsiteX2666" fmla="*/ 5166944 w 6423456"/>
              <a:gd name="connsiteY2666" fmla="*/ 5919269 h 6377102"/>
              <a:gd name="connsiteX2667" fmla="*/ 5163289 w 6423456"/>
              <a:gd name="connsiteY2667" fmla="*/ 5922922 h 6377102"/>
              <a:gd name="connsiteX2668" fmla="*/ 5166944 w 6423456"/>
              <a:gd name="connsiteY2668" fmla="*/ 5926576 h 6377102"/>
              <a:gd name="connsiteX2669" fmla="*/ 5170597 w 6423456"/>
              <a:gd name="connsiteY2669" fmla="*/ 5922922 h 6377102"/>
              <a:gd name="connsiteX2670" fmla="*/ 5252954 w 6423456"/>
              <a:gd name="connsiteY2670" fmla="*/ 5773584 h 6377102"/>
              <a:gd name="connsiteX2671" fmla="*/ 5248235 w 6423456"/>
              <a:gd name="connsiteY2671" fmla="*/ 5768864 h 6377102"/>
              <a:gd name="connsiteX2672" fmla="*/ 5243515 w 6423456"/>
              <a:gd name="connsiteY2672" fmla="*/ 5773584 h 6377102"/>
              <a:gd name="connsiteX2673" fmla="*/ 5248235 w 6423456"/>
              <a:gd name="connsiteY2673" fmla="*/ 5778303 h 6377102"/>
              <a:gd name="connsiteX2674" fmla="*/ 5252954 w 6423456"/>
              <a:gd name="connsiteY2674" fmla="*/ 5773584 h 6377102"/>
              <a:gd name="connsiteX2675" fmla="*/ 5327776 w 6423456"/>
              <a:gd name="connsiteY2675" fmla="*/ 5620439 h 6377102"/>
              <a:gd name="connsiteX2676" fmla="*/ 5321991 w 6423456"/>
              <a:gd name="connsiteY2676" fmla="*/ 5614655 h 6377102"/>
              <a:gd name="connsiteX2677" fmla="*/ 5316206 w 6423456"/>
              <a:gd name="connsiteY2677" fmla="*/ 5620439 h 6377102"/>
              <a:gd name="connsiteX2678" fmla="*/ 5321991 w 6423456"/>
              <a:gd name="connsiteY2678" fmla="*/ 5626224 h 6377102"/>
              <a:gd name="connsiteX2679" fmla="*/ 5327776 w 6423456"/>
              <a:gd name="connsiteY2679" fmla="*/ 5620439 h 6377102"/>
              <a:gd name="connsiteX2680" fmla="*/ 5395366 w 6423456"/>
              <a:gd name="connsiteY2680" fmla="*/ 5463718 h 6377102"/>
              <a:gd name="connsiteX2681" fmla="*/ 5387982 w 6423456"/>
              <a:gd name="connsiteY2681" fmla="*/ 5456335 h 6377102"/>
              <a:gd name="connsiteX2682" fmla="*/ 5380599 w 6423456"/>
              <a:gd name="connsiteY2682" fmla="*/ 5463718 h 6377102"/>
              <a:gd name="connsiteX2683" fmla="*/ 5387982 w 6423456"/>
              <a:gd name="connsiteY2683" fmla="*/ 5471101 h 6377102"/>
              <a:gd name="connsiteX2684" fmla="*/ 5395366 w 6423456"/>
              <a:gd name="connsiteY2684" fmla="*/ 5463718 h 6377102"/>
              <a:gd name="connsiteX2685" fmla="*/ 5454583 w 6423456"/>
              <a:gd name="connsiteY2685" fmla="*/ 5303952 h 6377102"/>
              <a:gd name="connsiteX2686" fmla="*/ 5446211 w 6423456"/>
              <a:gd name="connsiteY2686" fmla="*/ 5295579 h 6377102"/>
              <a:gd name="connsiteX2687" fmla="*/ 5437838 w 6423456"/>
              <a:gd name="connsiteY2687" fmla="*/ 5303952 h 6377102"/>
              <a:gd name="connsiteX2688" fmla="*/ 5446211 w 6423456"/>
              <a:gd name="connsiteY2688" fmla="*/ 5312324 h 6377102"/>
              <a:gd name="connsiteX2689" fmla="*/ 5454583 w 6423456"/>
              <a:gd name="connsiteY2689" fmla="*/ 5303952 h 6377102"/>
              <a:gd name="connsiteX2690" fmla="*/ 5506266 w 6423456"/>
              <a:gd name="connsiteY2690" fmla="*/ 5141521 h 6377102"/>
              <a:gd name="connsiteX2691" fmla="*/ 5496294 w 6423456"/>
              <a:gd name="connsiteY2691" fmla="*/ 5131550 h 6377102"/>
              <a:gd name="connsiteX2692" fmla="*/ 5486324 w 6423456"/>
              <a:gd name="connsiteY2692" fmla="*/ 5141521 h 6377102"/>
              <a:gd name="connsiteX2693" fmla="*/ 5496294 w 6423456"/>
              <a:gd name="connsiteY2693" fmla="*/ 5151492 h 6377102"/>
              <a:gd name="connsiteX2694" fmla="*/ 5506266 w 6423456"/>
              <a:gd name="connsiteY2694" fmla="*/ 5141521 h 6377102"/>
              <a:gd name="connsiteX2695" fmla="*/ 5549804 w 6423456"/>
              <a:gd name="connsiteY2695" fmla="*/ 4976807 h 6377102"/>
              <a:gd name="connsiteX2696" fmla="*/ 5538234 w 6423456"/>
              <a:gd name="connsiteY2696" fmla="*/ 4965238 h 6377102"/>
              <a:gd name="connsiteX2697" fmla="*/ 5526665 w 6423456"/>
              <a:gd name="connsiteY2697" fmla="*/ 4976807 h 6377102"/>
              <a:gd name="connsiteX2698" fmla="*/ 5538234 w 6423456"/>
              <a:gd name="connsiteY2698" fmla="*/ 4988377 h 6377102"/>
              <a:gd name="connsiteX2699" fmla="*/ 5549804 w 6423456"/>
              <a:gd name="connsiteY2699" fmla="*/ 4976807 h 6377102"/>
              <a:gd name="connsiteX2700" fmla="*/ 5585579 w 6423456"/>
              <a:gd name="connsiteY2700" fmla="*/ 4810115 h 6377102"/>
              <a:gd name="connsiteX2701" fmla="*/ 5571954 w 6423456"/>
              <a:gd name="connsiteY2701" fmla="*/ 4796490 h 6377102"/>
              <a:gd name="connsiteX2702" fmla="*/ 5558329 w 6423456"/>
              <a:gd name="connsiteY2702" fmla="*/ 4810115 h 6377102"/>
              <a:gd name="connsiteX2703" fmla="*/ 5571954 w 6423456"/>
              <a:gd name="connsiteY2703" fmla="*/ 4823739 h 6377102"/>
              <a:gd name="connsiteX2704" fmla="*/ 5585579 w 6423456"/>
              <a:gd name="connsiteY2704" fmla="*/ 4810115 h 6377102"/>
              <a:gd name="connsiteX2705" fmla="*/ 5612447 w 6423456"/>
              <a:gd name="connsiteY2705" fmla="*/ 4642052 h 6377102"/>
              <a:gd name="connsiteX2706" fmla="*/ 5597224 w 6423456"/>
              <a:gd name="connsiteY2706" fmla="*/ 4626829 h 6377102"/>
              <a:gd name="connsiteX2707" fmla="*/ 5582000 w 6423456"/>
              <a:gd name="connsiteY2707" fmla="*/ 4642052 h 6377102"/>
              <a:gd name="connsiteX2708" fmla="*/ 5597224 w 6423456"/>
              <a:gd name="connsiteY2708" fmla="*/ 4657275 h 6377102"/>
              <a:gd name="connsiteX2709" fmla="*/ 5612447 w 6423456"/>
              <a:gd name="connsiteY2709" fmla="*/ 4642052 h 6377102"/>
              <a:gd name="connsiteX2710" fmla="*/ 5630943 w 6423456"/>
              <a:gd name="connsiteY2710" fmla="*/ 4472847 h 6377102"/>
              <a:gd name="connsiteX2711" fmla="*/ 5614122 w 6423456"/>
              <a:gd name="connsiteY2711" fmla="*/ 4456026 h 6377102"/>
              <a:gd name="connsiteX2712" fmla="*/ 5597300 w 6423456"/>
              <a:gd name="connsiteY2712" fmla="*/ 4472847 h 6377102"/>
              <a:gd name="connsiteX2713" fmla="*/ 5614122 w 6423456"/>
              <a:gd name="connsiteY2713" fmla="*/ 4489669 h 6377102"/>
              <a:gd name="connsiteX2714" fmla="*/ 5630943 w 6423456"/>
              <a:gd name="connsiteY2714" fmla="*/ 4472847 h 6377102"/>
              <a:gd name="connsiteX2715" fmla="*/ 5641523 w 6423456"/>
              <a:gd name="connsiteY2715" fmla="*/ 4303034 h 6377102"/>
              <a:gd name="connsiteX2716" fmla="*/ 5622571 w 6423456"/>
              <a:gd name="connsiteY2716" fmla="*/ 4284157 h 6377102"/>
              <a:gd name="connsiteX2717" fmla="*/ 5603694 w 6423456"/>
              <a:gd name="connsiteY2717" fmla="*/ 4303034 h 6377102"/>
              <a:gd name="connsiteX2718" fmla="*/ 5622571 w 6423456"/>
              <a:gd name="connsiteY2718" fmla="*/ 4321987 h 6377102"/>
              <a:gd name="connsiteX2719" fmla="*/ 5641523 w 6423456"/>
              <a:gd name="connsiteY2719" fmla="*/ 4303034 h 6377102"/>
              <a:gd name="connsiteX2720" fmla="*/ 5643121 w 6423456"/>
              <a:gd name="connsiteY2720" fmla="*/ 4133068 h 6377102"/>
              <a:gd name="connsiteX2721" fmla="*/ 5622647 w 6423456"/>
              <a:gd name="connsiteY2721" fmla="*/ 4112593 h 6377102"/>
              <a:gd name="connsiteX2722" fmla="*/ 5602171 w 6423456"/>
              <a:gd name="connsiteY2722" fmla="*/ 4133068 h 6377102"/>
              <a:gd name="connsiteX2723" fmla="*/ 5622647 w 6423456"/>
              <a:gd name="connsiteY2723" fmla="*/ 4153543 h 6377102"/>
              <a:gd name="connsiteX2724" fmla="*/ 5643121 w 6423456"/>
              <a:gd name="connsiteY2724" fmla="*/ 4133068 h 6377102"/>
              <a:gd name="connsiteX2725" fmla="*/ 5636195 w 6423456"/>
              <a:gd name="connsiteY2725" fmla="*/ 3963254 h 6377102"/>
              <a:gd name="connsiteX2726" fmla="*/ 5614122 w 6423456"/>
              <a:gd name="connsiteY2726" fmla="*/ 3941181 h 6377102"/>
              <a:gd name="connsiteX2727" fmla="*/ 5592048 w 6423456"/>
              <a:gd name="connsiteY2727" fmla="*/ 3963254 h 6377102"/>
              <a:gd name="connsiteX2728" fmla="*/ 5614122 w 6423456"/>
              <a:gd name="connsiteY2728" fmla="*/ 3985328 h 6377102"/>
              <a:gd name="connsiteX2729" fmla="*/ 5636195 w 6423456"/>
              <a:gd name="connsiteY2729" fmla="*/ 3963254 h 6377102"/>
              <a:gd name="connsiteX2730" fmla="*/ 5621429 w 6423456"/>
              <a:gd name="connsiteY2730" fmla="*/ 3794050 h 6377102"/>
              <a:gd name="connsiteX2731" fmla="*/ 5597300 w 6423456"/>
              <a:gd name="connsiteY2731" fmla="*/ 3769921 h 6377102"/>
              <a:gd name="connsiteX2732" fmla="*/ 5573096 w 6423456"/>
              <a:gd name="connsiteY2732" fmla="*/ 3794050 h 6377102"/>
              <a:gd name="connsiteX2733" fmla="*/ 5597300 w 6423456"/>
              <a:gd name="connsiteY2733" fmla="*/ 3818178 h 6377102"/>
              <a:gd name="connsiteX2734" fmla="*/ 5621429 w 6423456"/>
              <a:gd name="connsiteY2734" fmla="*/ 3794050 h 6377102"/>
              <a:gd name="connsiteX2735" fmla="*/ 5597605 w 6423456"/>
              <a:gd name="connsiteY2735" fmla="*/ 3625987 h 6377102"/>
              <a:gd name="connsiteX2736" fmla="*/ 5571877 w 6423456"/>
              <a:gd name="connsiteY2736" fmla="*/ 3600260 h 6377102"/>
              <a:gd name="connsiteX2737" fmla="*/ 5546150 w 6423456"/>
              <a:gd name="connsiteY2737" fmla="*/ 3625987 h 6377102"/>
              <a:gd name="connsiteX2738" fmla="*/ 5571877 w 6423456"/>
              <a:gd name="connsiteY2738" fmla="*/ 3651714 h 6377102"/>
              <a:gd name="connsiteX2739" fmla="*/ 5597605 w 6423456"/>
              <a:gd name="connsiteY2739" fmla="*/ 3625987 h 6377102"/>
              <a:gd name="connsiteX2740" fmla="*/ 5565560 w 6423456"/>
              <a:gd name="connsiteY2740" fmla="*/ 3459294 h 6377102"/>
              <a:gd name="connsiteX2741" fmla="*/ 5538234 w 6423456"/>
              <a:gd name="connsiteY2741" fmla="*/ 3431969 h 6377102"/>
              <a:gd name="connsiteX2742" fmla="*/ 5510909 w 6423456"/>
              <a:gd name="connsiteY2742" fmla="*/ 3459294 h 6377102"/>
              <a:gd name="connsiteX2743" fmla="*/ 5538234 w 6423456"/>
              <a:gd name="connsiteY2743" fmla="*/ 3486619 h 6377102"/>
              <a:gd name="connsiteX2744" fmla="*/ 5565560 w 6423456"/>
              <a:gd name="connsiteY2744" fmla="*/ 3459294 h 6377102"/>
              <a:gd name="connsiteX2745" fmla="*/ 5525142 w 6423456"/>
              <a:gd name="connsiteY2745" fmla="*/ 3294580 h 6377102"/>
              <a:gd name="connsiteX2746" fmla="*/ 5496219 w 6423456"/>
              <a:gd name="connsiteY2746" fmla="*/ 3265656 h 6377102"/>
              <a:gd name="connsiteX2747" fmla="*/ 5467295 w 6423456"/>
              <a:gd name="connsiteY2747" fmla="*/ 3294580 h 6377102"/>
              <a:gd name="connsiteX2748" fmla="*/ 5496219 w 6423456"/>
              <a:gd name="connsiteY2748" fmla="*/ 3323504 h 6377102"/>
              <a:gd name="connsiteX2749" fmla="*/ 5525142 w 6423456"/>
              <a:gd name="connsiteY2749" fmla="*/ 3294580 h 6377102"/>
              <a:gd name="connsiteX2750" fmla="*/ 5476581 w 6423456"/>
              <a:gd name="connsiteY2750" fmla="*/ 3132074 h 6377102"/>
              <a:gd name="connsiteX2751" fmla="*/ 5446135 w 6423456"/>
              <a:gd name="connsiteY2751" fmla="*/ 3101628 h 6377102"/>
              <a:gd name="connsiteX2752" fmla="*/ 5415688 w 6423456"/>
              <a:gd name="connsiteY2752" fmla="*/ 3132074 h 6377102"/>
              <a:gd name="connsiteX2753" fmla="*/ 5446135 w 6423456"/>
              <a:gd name="connsiteY2753" fmla="*/ 3162520 h 6377102"/>
              <a:gd name="connsiteX2754" fmla="*/ 5476581 w 6423456"/>
              <a:gd name="connsiteY2754" fmla="*/ 3132074 h 6377102"/>
              <a:gd name="connsiteX2755" fmla="*/ 5420028 w 6423456"/>
              <a:gd name="connsiteY2755" fmla="*/ 2972384 h 6377102"/>
              <a:gd name="connsiteX2756" fmla="*/ 5387982 w 6423456"/>
              <a:gd name="connsiteY2756" fmla="*/ 2940339 h 6377102"/>
              <a:gd name="connsiteX2757" fmla="*/ 5355938 w 6423456"/>
              <a:gd name="connsiteY2757" fmla="*/ 2972384 h 6377102"/>
              <a:gd name="connsiteX2758" fmla="*/ 5387982 w 6423456"/>
              <a:gd name="connsiteY2758" fmla="*/ 3004428 h 6377102"/>
              <a:gd name="connsiteX2759" fmla="*/ 5420028 w 6423456"/>
              <a:gd name="connsiteY2759" fmla="*/ 2972384 h 6377102"/>
              <a:gd name="connsiteX2760" fmla="*/ 5355025 w 6423456"/>
              <a:gd name="connsiteY2760" fmla="*/ 2815662 h 6377102"/>
              <a:gd name="connsiteX2761" fmla="*/ 5321915 w 6423456"/>
              <a:gd name="connsiteY2761" fmla="*/ 2782552 h 6377102"/>
              <a:gd name="connsiteX2762" fmla="*/ 5288805 w 6423456"/>
              <a:gd name="connsiteY2762" fmla="*/ 2815662 h 6377102"/>
              <a:gd name="connsiteX2763" fmla="*/ 5321915 w 6423456"/>
              <a:gd name="connsiteY2763" fmla="*/ 2848772 h 6377102"/>
              <a:gd name="connsiteX2764" fmla="*/ 5355025 w 6423456"/>
              <a:gd name="connsiteY2764" fmla="*/ 2815662 h 6377102"/>
              <a:gd name="connsiteX2765" fmla="*/ 5282867 w 6423456"/>
              <a:gd name="connsiteY2765" fmla="*/ 2662518 h 6377102"/>
              <a:gd name="connsiteX2766" fmla="*/ 5248235 w 6423456"/>
              <a:gd name="connsiteY2766" fmla="*/ 2627885 h 6377102"/>
              <a:gd name="connsiteX2767" fmla="*/ 5213526 w 6423456"/>
              <a:gd name="connsiteY2767" fmla="*/ 2662518 h 6377102"/>
              <a:gd name="connsiteX2768" fmla="*/ 5248235 w 6423456"/>
              <a:gd name="connsiteY2768" fmla="*/ 2697150 h 6377102"/>
              <a:gd name="connsiteX2769" fmla="*/ 5282867 w 6423456"/>
              <a:gd name="connsiteY2769" fmla="*/ 2662518 h 6377102"/>
              <a:gd name="connsiteX2770" fmla="*/ 5202109 w 6423456"/>
              <a:gd name="connsiteY2770" fmla="*/ 2513179 h 6377102"/>
              <a:gd name="connsiteX2771" fmla="*/ 5166944 w 6423456"/>
              <a:gd name="connsiteY2771" fmla="*/ 2478014 h 6377102"/>
              <a:gd name="connsiteX2772" fmla="*/ 5131778 w 6423456"/>
              <a:gd name="connsiteY2772" fmla="*/ 2513179 h 6377102"/>
              <a:gd name="connsiteX2773" fmla="*/ 5166944 w 6423456"/>
              <a:gd name="connsiteY2773" fmla="*/ 2548345 h 6377102"/>
              <a:gd name="connsiteX2774" fmla="*/ 5202109 w 6423456"/>
              <a:gd name="connsiteY2774" fmla="*/ 2513179 h 6377102"/>
              <a:gd name="connsiteX2775" fmla="*/ 5114500 w 6423456"/>
              <a:gd name="connsiteY2775" fmla="*/ 2368103 h 6377102"/>
              <a:gd name="connsiteX2776" fmla="*/ 5078269 w 6423456"/>
              <a:gd name="connsiteY2776" fmla="*/ 2331872 h 6377102"/>
              <a:gd name="connsiteX2777" fmla="*/ 5042038 w 6423456"/>
              <a:gd name="connsiteY2777" fmla="*/ 2368103 h 6377102"/>
              <a:gd name="connsiteX2778" fmla="*/ 5078269 w 6423456"/>
              <a:gd name="connsiteY2778" fmla="*/ 2404334 h 6377102"/>
              <a:gd name="connsiteX2779" fmla="*/ 5114500 w 6423456"/>
              <a:gd name="connsiteY2779" fmla="*/ 2368103 h 6377102"/>
              <a:gd name="connsiteX2780" fmla="*/ 5019203 w 6423456"/>
              <a:gd name="connsiteY2780" fmla="*/ 2227670 h 6377102"/>
              <a:gd name="connsiteX2781" fmla="*/ 4982440 w 6423456"/>
              <a:gd name="connsiteY2781" fmla="*/ 2190907 h 6377102"/>
              <a:gd name="connsiteX2782" fmla="*/ 4945676 w 6423456"/>
              <a:gd name="connsiteY2782" fmla="*/ 2227670 h 6377102"/>
              <a:gd name="connsiteX2783" fmla="*/ 4982440 w 6423456"/>
              <a:gd name="connsiteY2783" fmla="*/ 2264434 h 6377102"/>
              <a:gd name="connsiteX2784" fmla="*/ 5019203 w 6423456"/>
              <a:gd name="connsiteY2784" fmla="*/ 2227670 h 6377102"/>
              <a:gd name="connsiteX2785" fmla="*/ 4917132 w 6423456"/>
              <a:gd name="connsiteY2785" fmla="*/ 2092109 h 6377102"/>
              <a:gd name="connsiteX2786" fmla="*/ 4879836 w 6423456"/>
              <a:gd name="connsiteY2786" fmla="*/ 2054812 h 6377102"/>
              <a:gd name="connsiteX2787" fmla="*/ 4842540 w 6423456"/>
              <a:gd name="connsiteY2787" fmla="*/ 2092109 h 6377102"/>
              <a:gd name="connsiteX2788" fmla="*/ 4879836 w 6423456"/>
              <a:gd name="connsiteY2788" fmla="*/ 2129405 h 6377102"/>
              <a:gd name="connsiteX2789" fmla="*/ 4917132 w 6423456"/>
              <a:gd name="connsiteY2789" fmla="*/ 2092109 h 6377102"/>
              <a:gd name="connsiteX2790" fmla="*/ 4808364 w 6423456"/>
              <a:gd name="connsiteY2790" fmla="*/ 1961875 h 6377102"/>
              <a:gd name="connsiteX2791" fmla="*/ 4770534 w 6423456"/>
              <a:gd name="connsiteY2791" fmla="*/ 1924046 h 6377102"/>
              <a:gd name="connsiteX2792" fmla="*/ 4732705 w 6423456"/>
              <a:gd name="connsiteY2792" fmla="*/ 1961875 h 6377102"/>
              <a:gd name="connsiteX2793" fmla="*/ 4770534 w 6423456"/>
              <a:gd name="connsiteY2793" fmla="*/ 1999705 h 6377102"/>
              <a:gd name="connsiteX2794" fmla="*/ 4808364 w 6423456"/>
              <a:gd name="connsiteY2794" fmla="*/ 1961875 h 6377102"/>
              <a:gd name="connsiteX2795" fmla="*/ 4692744 w 6423456"/>
              <a:gd name="connsiteY2795" fmla="*/ 1837274 h 6377102"/>
              <a:gd name="connsiteX2796" fmla="*/ 4654915 w 6423456"/>
              <a:gd name="connsiteY2796" fmla="*/ 1799445 h 6377102"/>
              <a:gd name="connsiteX2797" fmla="*/ 4617086 w 6423456"/>
              <a:gd name="connsiteY2797" fmla="*/ 1837274 h 6377102"/>
              <a:gd name="connsiteX2798" fmla="*/ 4654915 w 6423456"/>
              <a:gd name="connsiteY2798" fmla="*/ 1875104 h 6377102"/>
              <a:gd name="connsiteX2799" fmla="*/ 4692744 w 6423456"/>
              <a:gd name="connsiteY2799" fmla="*/ 1837274 h 6377102"/>
              <a:gd name="connsiteX2800" fmla="*/ 4571036 w 6423456"/>
              <a:gd name="connsiteY2800" fmla="*/ 1718534 h 6377102"/>
              <a:gd name="connsiteX2801" fmla="*/ 4533207 w 6423456"/>
              <a:gd name="connsiteY2801" fmla="*/ 1680705 h 6377102"/>
              <a:gd name="connsiteX2802" fmla="*/ 4495377 w 6423456"/>
              <a:gd name="connsiteY2802" fmla="*/ 1718534 h 6377102"/>
              <a:gd name="connsiteX2803" fmla="*/ 4533207 w 6423456"/>
              <a:gd name="connsiteY2803" fmla="*/ 1756364 h 6377102"/>
              <a:gd name="connsiteX2804" fmla="*/ 4571036 w 6423456"/>
              <a:gd name="connsiteY2804" fmla="*/ 1718534 h 6377102"/>
              <a:gd name="connsiteX2805" fmla="*/ 4443542 w 6423456"/>
              <a:gd name="connsiteY2805" fmla="*/ 1606112 h 6377102"/>
              <a:gd name="connsiteX2806" fmla="*/ 4405713 w 6423456"/>
              <a:gd name="connsiteY2806" fmla="*/ 1568282 h 6377102"/>
              <a:gd name="connsiteX2807" fmla="*/ 4367883 w 6423456"/>
              <a:gd name="connsiteY2807" fmla="*/ 1606112 h 6377102"/>
              <a:gd name="connsiteX2808" fmla="*/ 4405713 w 6423456"/>
              <a:gd name="connsiteY2808" fmla="*/ 1643941 h 6377102"/>
              <a:gd name="connsiteX2809" fmla="*/ 4443542 w 6423456"/>
              <a:gd name="connsiteY2809" fmla="*/ 1606112 h 6377102"/>
              <a:gd name="connsiteX2810" fmla="*/ 4310112 w 6423456"/>
              <a:gd name="connsiteY2810" fmla="*/ 1500083 h 6377102"/>
              <a:gd name="connsiteX2811" fmla="*/ 4272815 w 6423456"/>
              <a:gd name="connsiteY2811" fmla="*/ 1462786 h 6377102"/>
              <a:gd name="connsiteX2812" fmla="*/ 4235519 w 6423456"/>
              <a:gd name="connsiteY2812" fmla="*/ 1500083 h 6377102"/>
              <a:gd name="connsiteX2813" fmla="*/ 4272815 w 6423456"/>
              <a:gd name="connsiteY2813" fmla="*/ 1537380 h 6377102"/>
              <a:gd name="connsiteX2814" fmla="*/ 4310112 w 6423456"/>
              <a:gd name="connsiteY2814" fmla="*/ 1500083 h 6377102"/>
              <a:gd name="connsiteX2815" fmla="*/ 4171506 w 6423456"/>
              <a:gd name="connsiteY2815" fmla="*/ 1400828 h 6377102"/>
              <a:gd name="connsiteX2816" fmla="*/ 4134742 w 6423456"/>
              <a:gd name="connsiteY2816" fmla="*/ 1364065 h 6377102"/>
              <a:gd name="connsiteX2817" fmla="*/ 4097978 w 6423456"/>
              <a:gd name="connsiteY2817" fmla="*/ 1400828 h 6377102"/>
              <a:gd name="connsiteX2818" fmla="*/ 4134742 w 6423456"/>
              <a:gd name="connsiteY2818" fmla="*/ 1437592 h 6377102"/>
              <a:gd name="connsiteX2819" fmla="*/ 4171506 w 6423456"/>
              <a:gd name="connsiteY2819" fmla="*/ 1400828 h 6377102"/>
              <a:gd name="connsiteX2820" fmla="*/ 4027648 w 6423456"/>
              <a:gd name="connsiteY2820" fmla="*/ 1308576 h 6377102"/>
              <a:gd name="connsiteX2821" fmla="*/ 3991950 w 6423456"/>
              <a:gd name="connsiteY2821" fmla="*/ 1272878 h 6377102"/>
              <a:gd name="connsiteX2822" fmla="*/ 3956251 w 6423456"/>
              <a:gd name="connsiteY2822" fmla="*/ 1308576 h 6377102"/>
              <a:gd name="connsiteX2823" fmla="*/ 3991950 w 6423456"/>
              <a:gd name="connsiteY2823" fmla="*/ 1344275 h 6377102"/>
              <a:gd name="connsiteX2824" fmla="*/ 4027648 w 6423456"/>
              <a:gd name="connsiteY2824" fmla="*/ 1308576 h 6377102"/>
              <a:gd name="connsiteX2825" fmla="*/ 3879907 w 6423456"/>
              <a:gd name="connsiteY2825" fmla="*/ 1223556 h 6377102"/>
              <a:gd name="connsiteX2826" fmla="*/ 3844742 w 6423456"/>
              <a:gd name="connsiteY2826" fmla="*/ 1188390 h 6377102"/>
              <a:gd name="connsiteX2827" fmla="*/ 3809577 w 6423456"/>
              <a:gd name="connsiteY2827" fmla="*/ 1223556 h 6377102"/>
              <a:gd name="connsiteX2828" fmla="*/ 3844742 w 6423456"/>
              <a:gd name="connsiteY2828" fmla="*/ 1258721 h 6377102"/>
              <a:gd name="connsiteX2829" fmla="*/ 3879907 w 6423456"/>
              <a:gd name="connsiteY2829" fmla="*/ 1223556 h 6377102"/>
              <a:gd name="connsiteX2830" fmla="*/ 3727600 w 6423456"/>
              <a:gd name="connsiteY2830" fmla="*/ 1145994 h 6377102"/>
              <a:gd name="connsiteX2831" fmla="*/ 3693424 w 6423456"/>
              <a:gd name="connsiteY2831" fmla="*/ 1111818 h 6377102"/>
              <a:gd name="connsiteX2832" fmla="*/ 3659249 w 6423456"/>
              <a:gd name="connsiteY2832" fmla="*/ 1145994 h 6377102"/>
              <a:gd name="connsiteX2833" fmla="*/ 3693424 w 6423456"/>
              <a:gd name="connsiteY2833" fmla="*/ 1180170 h 6377102"/>
              <a:gd name="connsiteX2834" fmla="*/ 3727600 w 6423456"/>
              <a:gd name="connsiteY2834" fmla="*/ 1145994 h 6377102"/>
              <a:gd name="connsiteX2835" fmla="*/ 3571031 w 6423456"/>
              <a:gd name="connsiteY2835" fmla="*/ 1076120 h 6377102"/>
              <a:gd name="connsiteX2836" fmla="*/ 3538454 w 6423456"/>
              <a:gd name="connsiteY2836" fmla="*/ 1043543 h 6377102"/>
              <a:gd name="connsiteX2837" fmla="*/ 3505876 w 6423456"/>
              <a:gd name="connsiteY2837" fmla="*/ 1076120 h 6377102"/>
              <a:gd name="connsiteX2838" fmla="*/ 3538454 w 6423456"/>
              <a:gd name="connsiteY2838" fmla="*/ 1108697 h 6377102"/>
              <a:gd name="connsiteX2839" fmla="*/ 3571031 w 6423456"/>
              <a:gd name="connsiteY2839" fmla="*/ 1076120 h 6377102"/>
              <a:gd name="connsiteX2840" fmla="*/ 3411189 w 6423456"/>
              <a:gd name="connsiteY2840" fmla="*/ 1014010 h 6377102"/>
              <a:gd name="connsiteX2841" fmla="*/ 3380210 w 6423456"/>
              <a:gd name="connsiteY2841" fmla="*/ 983031 h 6377102"/>
              <a:gd name="connsiteX2842" fmla="*/ 3349231 w 6423456"/>
              <a:gd name="connsiteY2842" fmla="*/ 1014010 h 6377102"/>
              <a:gd name="connsiteX2843" fmla="*/ 3380210 w 6423456"/>
              <a:gd name="connsiteY2843" fmla="*/ 1044989 h 6377102"/>
              <a:gd name="connsiteX2844" fmla="*/ 3411189 w 6423456"/>
              <a:gd name="connsiteY2844" fmla="*/ 1014010 h 6377102"/>
              <a:gd name="connsiteX2845" fmla="*/ 3248986 w 6423456"/>
              <a:gd name="connsiteY2845" fmla="*/ 959816 h 6377102"/>
              <a:gd name="connsiteX2846" fmla="*/ 3219074 w 6423456"/>
              <a:gd name="connsiteY2846" fmla="*/ 929902 h 6377102"/>
              <a:gd name="connsiteX2847" fmla="*/ 3189160 w 6423456"/>
              <a:gd name="connsiteY2847" fmla="*/ 959816 h 6377102"/>
              <a:gd name="connsiteX2848" fmla="*/ 3219074 w 6423456"/>
              <a:gd name="connsiteY2848" fmla="*/ 989729 h 6377102"/>
              <a:gd name="connsiteX2849" fmla="*/ 3248986 w 6423456"/>
              <a:gd name="connsiteY2849" fmla="*/ 959816 h 6377102"/>
              <a:gd name="connsiteX2850" fmla="*/ 3083740 w 6423456"/>
              <a:gd name="connsiteY2850" fmla="*/ 913766 h 6377102"/>
              <a:gd name="connsiteX2851" fmla="*/ 3055349 w 6423456"/>
              <a:gd name="connsiteY2851" fmla="*/ 885375 h 6377102"/>
              <a:gd name="connsiteX2852" fmla="*/ 3027034 w 6423456"/>
              <a:gd name="connsiteY2852" fmla="*/ 913766 h 6377102"/>
              <a:gd name="connsiteX2853" fmla="*/ 3055349 w 6423456"/>
              <a:gd name="connsiteY2853" fmla="*/ 942157 h 6377102"/>
              <a:gd name="connsiteX2854" fmla="*/ 3083740 w 6423456"/>
              <a:gd name="connsiteY2854" fmla="*/ 913766 h 6377102"/>
              <a:gd name="connsiteX2855" fmla="*/ 2916439 w 6423456"/>
              <a:gd name="connsiteY2855" fmla="*/ 875936 h 6377102"/>
              <a:gd name="connsiteX2856" fmla="*/ 2889646 w 6423456"/>
              <a:gd name="connsiteY2856" fmla="*/ 849144 h 6377102"/>
              <a:gd name="connsiteX2857" fmla="*/ 2862853 w 6423456"/>
              <a:gd name="connsiteY2857" fmla="*/ 875936 h 6377102"/>
              <a:gd name="connsiteX2858" fmla="*/ 2889646 w 6423456"/>
              <a:gd name="connsiteY2858" fmla="*/ 902729 h 6377102"/>
              <a:gd name="connsiteX2859" fmla="*/ 2916439 w 6423456"/>
              <a:gd name="connsiteY2859" fmla="*/ 875936 h 6377102"/>
              <a:gd name="connsiteX2860" fmla="*/ 2747386 w 6423456"/>
              <a:gd name="connsiteY2860" fmla="*/ 846480 h 6377102"/>
              <a:gd name="connsiteX2861" fmla="*/ 2722192 w 6423456"/>
              <a:gd name="connsiteY2861" fmla="*/ 821286 h 6377102"/>
              <a:gd name="connsiteX2862" fmla="*/ 2696998 w 6423456"/>
              <a:gd name="connsiteY2862" fmla="*/ 846480 h 6377102"/>
              <a:gd name="connsiteX2863" fmla="*/ 2722192 w 6423456"/>
              <a:gd name="connsiteY2863" fmla="*/ 871674 h 6377102"/>
              <a:gd name="connsiteX2864" fmla="*/ 2747386 w 6423456"/>
              <a:gd name="connsiteY2864" fmla="*/ 846480 h 6377102"/>
              <a:gd name="connsiteX2865" fmla="*/ 2576583 w 6423456"/>
              <a:gd name="connsiteY2865" fmla="*/ 825320 h 6377102"/>
              <a:gd name="connsiteX2866" fmla="*/ 2553445 w 6423456"/>
              <a:gd name="connsiteY2866" fmla="*/ 802181 h 6377102"/>
              <a:gd name="connsiteX2867" fmla="*/ 2530305 w 6423456"/>
              <a:gd name="connsiteY2867" fmla="*/ 825320 h 6377102"/>
              <a:gd name="connsiteX2868" fmla="*/ 2553445 w 6423456"/>
              <a:gd name="connsiteY2868" fmla="*/ 848459 h 6377102"/>
              <a:gd name="connsiteX2869" fmla="*/ 2576583 w 6423456"/>
              <a:gd name="connsiteY2869" fmla="*/ 825320 h 6377102"/>
              <a:gd name="connsiteX2870" fmla="*/ 2405476 w 6423456"/>
              <a:gd name="connsiteY2870" fmla="*/ 812608 h 6377102"/>
              <a:gd name="connsiteX2871" fmla="*/ 2383935 w 6423456"/>
              <a:gd name="connsiteY2871" fmla="*/ 791068 h 6377102"/>
              <a:gd name="connsiteX2872" fmla="*/ 2362394 w 6423456"/>
              <a:gd name="connsiteY2872" fmla="*/ 812608 h 6377102"/>
              <a:gd name="connsiteX2873" fmla="*/ 2383935 w 6423456"/>
              <a:gd name="connsiteY2873" fmla="*/ 834149 h 6377102"/>
              <a:gd name="connsiteX2874" fmla="*/ 2405476 w 6423456"/>
              <a:gd name="connsiteY2874" fmla="*/ 812608 h 6377102"/>
              <a:gd name="connsiteX2875" fmla="*/ 2233455 w 6423456"/>
              <a:gd name="connsiteY2875" fmla="*/ 808346 h 6377102"/>
              <a:gd name="connsiteX2876" fmla="*/ 2214045 w 6423456"/>
              <a:gd name="connsiteY2876" fmla="*/ 788936 h 6377102"/>
              <a:gd name="connsiteX2877" fmla="*/ 2194636 w 6423456"/>
              <a:gd name="connsiteY2877" fmla="*/ 808346 h 6377102"/>
              <a:gd name="connsiteX2878" fmla="*/ 2214045 w 6423456"/>
              <a:gd name="connsiteY2878" fmla="*/ 827755 h 6377102"/>
              <a:gd name="connsiteX2879" fmla="*/ 2233455 w 6423456"/>
              <a:gd name="connsiteY2879" fmla="*/ 808346 h 6377102"/>
              <a:gd name="connsiteX2880" fmla="*/ 2061890 w 6423456"/>
              <a:gd name="connsiteY2880" fmla="*/ 812608 h 6377102"/>
              <a:gd name="connsiteX2881" fmla="*/ 2044004 w 6423456"/>
              <a:gd name="connsiteY2881" fmla="*/ 794721 h 6377102"/>
              <a:gd name="connsiteX2882" fmla="*/ 2026117 w 6423456"/>
              <a:gd name="connsiteY2882" fmla="*/ 812608 h 6377102"/>
              <a:gd name="connsiteX2883" fmla="*/ 2044004 w 6423456"/>
              <a:gd name="connsiteY2883" fmla="*/ 830495 h 6377102"/>
              <a:gd name="connsiteX2884" fmla="*/ 2061890 w 6423456"/>
              <a:gd name="connsiteY2884" fmla="*/ 812608 h 6377102"/>
              <a:gd name="connsiteX2885" fmla="*/ 1890250 w 6423456"/>
              <a:gd name="connsiteY2885" fmla="*/ 825320 h 6377102"/>
              <a:gd name="connsiteX2886" fmla="*/ 1874494 w 6423456"/>
              <a:gd name="connsiteY2886" fmla="*/ 809564 h 6377102"/>
              <a:gd name="connsiteX2887" fmla="*/ 1858738 w 6423456"/>
              <a:gd name="connsiteY2887" fmla="*/ 825320 h 6377102"/>
              <a:gd name="connsiteX2888" fmla="*/ 1874494 w 6423456"/>
              <a:gd name="connsiteY2888" fmla="*/ 841076 h 6377102"/>
              <a:gd name="connsiteX2889" fmla="*/ 1890250 w 6423456"/>
              <a:gd name="connsiteY2889" fmla="*/ 825320 h 6377102"/>
              <a:gd name="connsiteX2890" fmla="*/ 1719980 w 6423456"/>
              <a:gd name="connsiteY2890" fmla="*/ 846480 h 6377102"/>
              <a:gd name="connsiteX2891" fmla="*/ 1705823 w 6423456"/>
              <a:gd name="connsiteY2891" fmla="*/ 832322 h 6377102"/>
              <a:gd name="connsiteX2892" fmla="*/ 1691665 w 6423456"/>
              <a:gd name="connsiteY2892" fmla="*/ 846480 h 6377102"/>
              <a:gd name="connsiteX2893" fmla="*/ 1705823 w 6423456"/>
              <a:gd name="connsiteY2893" fmla="*/ 860637 h 6377102"/>
              <a:gd name="connsiteX2894" fmla="*/ 1719980 w 6423456"/>
              <a:gd name="connsiteY2894" fmla="*/ 846480 h 6377102"/>
              <a:gd name="connsiteX2895" fmla="*/ 1551004 w 6423456"/>
              <a:gd name="connsiteY2895" fmla="*/ 875936 h 6377102"/>
              <a:gd name="connsiteX2896" fmla="*/ 1538369 w 6423456"/>
              <a:gd name="connsiteY2896" fmla="*/ 863301 h 6377102"/>
              <a:gd name="connsiteX2897" fmla="*/ 1525733 w 6423456"/>
              <a:gd name="connsiteY2897" fmla="*/ 875936 h 6377102"/>
              <a:gd name="connsiteX2898" fmla="*/ 1538369 w 6423456"/>
              <a:gd name="connsiteY2898" fmla="*/ 888572 h 6377102"/>
              <a:gd name="connsiteX2899" fmla="*/ 1551004 w 6423456"/>
              <a:gd name="connsiteY2899" fmla="*/ 875936 h 6377102"/>
              <a:gd name="connsiteX2900" fmla="*/ 1383702 w 6423456"/>
              <a:gd name="connsiteY2900" fmla="*/ 913766 h 6377102"/>
              <a:gd name="connsiteX2901" fmla="*/ 1372665 w 6423456"/>
              <a:gd name="connsiteY2901" fmla="*/ 902729 h 6377102"/>
              <a:gd name="connsiteX2902" fmla="*/ 1361629 w 6423456"/>
              <a:gd name="connsiteY2902" fmla="*/ 913766 h 6377102"/>
              <a:gd name="connsiteX2903" fmla="*/ 1372665 w 6423456"/>
              <a:gd name="connsiteY2903" fmla="*/ 924802 h 6377102"/>
              <a:gd name="connsiteX2904" fmla="*/ 1383702 w 6423456"/>
              <a:gd name="connsiteY2904" fmla="*/ 913766 h 6377102"/>
              <a:gd name="connsiteX2905" fmla="*/ 1218455 w 6423456"/>
              <a:gd name="connsiteY2905" fmla="*/ 959816 h 6377102"/>
              <a:gd name="connsiteX2906" fmla="*/ 1209017 w 6423456"/>
              <a:gd name="connsiteY2906" fmla="*/ 950377 h 6377102"/>
              <a:gd name="connsiteX2907" fmla="*/ 1199579 w 6423456"/>
              <a:gd name="connsiteY2907" fmla="*/ 959816 h 6377102"/>
              <a:gd name="connsiteX2908" fmla="*/ 1209017 w 6423456"/>
              <a:gd name="connsiteY2908" fmla="*/ 969254 h 6377102"/>
              <a:gd name="connsiteX2909" fmla="*/ 1218455 w 6423456"/>
              <a:gd name="connsiteY2909" fmla="*/ 959816 h 6377102"/>
              <a:gd name="connsiteX2910" fmla="*/ 1055721 w 6423456"/>
              <a:gd name="connsiteY2910" fmla="*/ 1014010 h 6377102"/>
              <a:gd name="connsiteX2911" fmla="*/ 1047881 w 6423456"/>
              <a:gd name="connsiteY2911" fmla="*/ 1006094 h 6377102"/>
              <a:gd name="connsiteX2912" fmla="*/ 1039965 w 6423456"/>
              <a:gd name="connsiteY2912" fmla="*/ 1014010 h 6377102"/>
              <a:gd name="connsiteX2913" fmla="*/ 1047881 w 6423456"/>
              <a:gd name="connsiteY2913" fmla="*/ 1021850 h 6377102"/>
              <a:gd name="connsiteX2914" fmla="*/ 1055721 w 6423456"/>
              <a:gd name="connsiteY2914" fmla="*/ 1014010 h 6377102"/>
              <a:gd name="connsiteX2915" fmla="*/ 895878 w 6423456"/>
              <a:gd name="connsiteY2915" fmla="*/ 1076120 h 6377102"/>
              <a:gd name="connsiteX2916" fmla="*/ 889561 w 6423456"/>
              <a:gd name="connsiteY2916" fmla="*/ 1069802 h 6377102"/>
              <a:gd name="connsiteX2917" fmla="*/ 883243 w 6423456"/>
              <a:gd name="connsiteY2917" fmla="*/ 1076120 h 6377102"/>
              <a:gd name="connsiteX2918" fmla="*/ 889561 w 6423456"/>
              <a:gd name="connsiteY2918" fmla="*/ 1082438 h 6377102"/>
              <a:gd name="connsiteX2919" fmla="*/ 895878 w 6423456"/>
              <a:gd name="connsiteY2919" fmla="*/ 1076120 h 6377102"/>
              <a:gd name="connsiteX2920" fmla="*/ 739842 w 6423456"/>
              <a:gd name="connsiteY2920" fmla="*/ 1145994 h 6377102"/>
              <a:gd name="connsiteX2921" fmla="*/ 734590 w 6423456"/>
              <a:gd name="connsiteY2921" fmla="*/ 1140742 h 6377102"/>
              <a:gd name="connsiteX2922" fmla="*/ 729338 w 6423456"/>
              <a:gd name="connsiteY2922" fmla="*/ 1145994 h 6377102"/>
              <a:gd name="connsiteX2923" fmla="*/ 734590 w 6423456"/>
              <a:gd name="connsiteY2923" fmla="*/ 1151246 h 6377102"/>
              <a:gd name="connsiteX2924" fmla="*/ 739842 w 6423456"/>
              <a:gd name="connsiteY2924" fmla="*/ 1145994 h 6377102"/>
              <a:gd name="connsiteX2925" fmla="*/ 587535 w 6423456"/>
              <a:gd name="connsiteY2925" fmla="*/ 1223556 h 6377102"/>
              <a:gd name="connsiteX2926" fmla="*/ 583348 w 6423456"/>
              <a:gd name="connsiteY2926" fmla="*/ 1219369 h 6377102"/>
              <a:gd name="connsiteX2927" fmla="*/ 579162 w 6423456"/>
              <a:gd name="connsiteY2927" fmla="*/ 1223556 h 6377102"/>
              <a:gd name="connsiteX2928" fmla="*/ 583348 w 6423456"/>
              <a:gd name="connsiteY2928" fmla="*/ 1227742 h 6377102"/>
              <a:gd name="connsiteX2929" fmla="*/ 587535 w 6423456"/>
              <a:gd name="connsiteY2929" fmla="*/ 1223556 h 6377102"/>
              <a:gd name="connsiteX2930" fmla="*/ 439262 w 6423456"/>
              <a:gd name="connsiteY2930" fmla="*/ 1308576 h 6377102"/>
              <a:gd name="connsiteX2931" fmla="*/ 436141 w 6423456"/>
              <a:gd name="connsiteY2931" fmla="*/ 1305456 h 6377102"/>
              <a:gd name="connsiteX2932" fmla="*/ 433020 w 6423456"/>
              <a:gd name="connsiteY2932" fmla="*/ 1308576 h 6377102"/>
              <a:gd name="connsiteX2933" fmla="*/ 436141 w 6423456"/>
              <a:gd name="connsiteY2933" fmla="*/ 1311697 h 6377102"/>
              <a:gd name="connsiteX2934" fmla="*/ 439262 w 6423456"/>
              <a:gd name="connsiteY2934" fmla="*/ 1308576 h 6377102"/>
              <a:gd name="connsiteX2935" fmla="*/ 295404 w 6423456"/>
              <a:gd name="connsiteY2935" fmla="*/ 1400828 h 6377102"/>
              <a:gd name="connsiteX2936" fmla="*/ 293273 w 6423456"/>
              <a:gd name="connsiteY2936" fmla="*/ 1398697 h 6377102"/>
              <a:gd name="connsiteX2937" fmla="*/ 291142 w 6423456"/>
              <a:gd name="connsiteY2937" fmla="*/ 1400828 h 6377102"/>
              <a:gd name="connsiteX2938" fmla="*/ 293273 w 6423456"/>
              <a:gd name="connsiteY2938" fmla="*/ 1402960 h 6377102"/>
              <a:gd name="connsiteX2939" fmla="*/ 295404 w 6423456"/>
              <a:gd name="connsiteY2939" fmla="*/ 1400828 h 6377102"/>
              <a:gd name="connsiteX2940" fmla="*/ 5132843 w 6423456"/>
              <a:gd name="connsiteY2940" fmla="*/ 6326639 h 6377102"/>
              <a:gd name="connsiteX2941" fmla="*/ 5130713 w 6423456"/>
              <a:gd name="connsiteY2941" fmla="*/ 6324507 h 6377102"/>
              <a:gd name="connsiteX2942" fmla="*/ 5128581 w 6423456"/>
              <a:gd name="connsiteY2942" fmla="*/ 6326639 h 6377102"/>
              <a:gd name="connsiteX2943" fmla="*/ 5130713 w 6423456"/>
              <a:gd name="connsiteY2943" fmla="*/ 6328770 h 6377102"/>
              <a:gd name="connsiteX2944" fmla="*/ 5132843 w 6423456"/>
              <a:gd name="connsiteY2944" fmla="*/ 6326639 h 6377102"/>
              <a:gd name="connsiteX2945" fmla="*/ 5229739 w 6423456"/>
              <a:gd name="connsiteY2945" fmla="*/ 6186586 h 6377102"/>
              <a:gd name="connsiteX2946" fmla="*/ 5227074 w 6423456"/>
              <a:gd name="connsiteY2946" fmla="*/ 6183922 h 6377102"/>
              <a:gd name="connsiteX2947" fmla="*/ 5224487 w 6423456"/>
              <a:gd name="connsiteY2947" fmla="*/ 6186586 h 6377102"/>
              <a:gd name="connsiteX2948" fmla="*/ 5227074 w 6423456"/>
              <a:gd name="connsiteY2948" fmla="*/ 6189174 h 6377102"/>
              <a:gd name="connsiteX2949" fmla="*/ 5229739 w 6423456"/>
              <a:gd name="connsiteY2949" fmla="*/ 6186586 h 6377102"/>
              <a:gd name="connsiteX2950" fmla="*/ 5320316 w 6423456"/>
              <a:gd name="connsiteY2950" fmla="*/ 6042119 h 6377102"/>
              <a:gd name="connsiteX2951" fmla="*/ 5316662 w 6423456"/>
              <a:gd name="connsiteY2951" fmla="*/ 6038466 h 6377102"/>
              <a:gd name="connsiteX2952" fmla="*/ 5313009 w 6423456"/>
              <a:gd name="connsiteY2952" fmla="*/ 6042119 h 6377102"/>
              <a:gd name="connsiteX2953" fmla="*/ 5316662 w 6423456"/>
              <a:gd name="connsiteY2953" fmla="*/ 6045772 h 6377102"/>
              <a:gd name="connsiteX2954" fmla="*/ 5320316 w 6423456"/>
              <a:gd name="connsiteY2954" fmla="*/ 6042119 h 6377102"/>
              <a:gd name="connsiteX2955" fmla="*/ 5404043 w 6423456"/>
              <a:gd name="connsiteY2955" fmla="*/ 5893542 h 6377102"/>
              <a:gd name="connsiteX2956" fmla="*/ 5399323 w 6423456"/>
              <a:gd name="connsiteY2956" fmla="*/ 5888822 h 6377102"/>
              <a:gd name="connsiteX2957" fmla="*/ 5394604 w 6423456"/>
              <a:gd name="connsiteY2957" fmla="*/ 5893542 h 6377102"/>
              <a:gd name="connsiteX2958" fmla="*/ 5399323 w 6423456"/>
              <a:gd name="connsiteY2958" fmla="*/ 5898261 h 6377102"/>
              <a:gd name="connsiteX2959" fmla="*/ 5404043 w 6423456"/>
              <a:gd name="connsiteY2959" fmla="*/ 5893542 h 6377102"/>
              <a:gd name="connsiteX2960" fmla="*/ 5481224 w 6423456"/>
              <a:gd name="connsiteY2960" fmla="*/ 5741235 h 6377102"/>
              <a:gd name="connsiteX2961" fmla="*/ 5474906 w 6423456"/>
              <a:gd name="connsiteY2961" fmla="*/ 5734917 h 6377102"/>
              <a:gd name="connsiteX2962" fmla="*/ 5468589 w 6423456"/>
              <a:gd name="connsiteY2962" fmla="*/ 5741235 h 6377102"/>
              <a:gd name="connsiteX2963" fmla="*/ 5474906 w 6423456"/>
              <a:gd name="connsiteY2963" fmla="*/ 5747552 h 6377102"/>
              <a:gd name="connsiteX2964" fmla="*/ 5481224 w 6423456"/>
              <a:gd name="connsiteY2964" fmla="*/ 5741235 h 6377102"/>
              <a:gd name="connsiteX2965" fmla="*/ 5550565 w 6423456"/>
              <a:gd name="connsiteY2965" fmla="*/ 5585579 h 6377102"/>
              <a:gd name="connsiteX2966" fmla="*/ 5543182 w 6423456"/>
              <a:gd name="connsiteY2966" fmla="*/ 5578195 h 6377102"/>
              <a:gd name="connsiteX2967" fmla="*/ 5535799 w 6423456"/>
              <a:gd name="connsiteY2967" fmla="*/ 5585579 h 6377102"/>
              <a:gd name="connsiteX2968" fmla="*/ 5543182 w 6423456"/>
              <a:gd name="connsiteY2968" fmla="*/ 5592962 h 6377102"/>
              <a:gd name="connsiteX2969" fmla="*/ 5550565 w 6423456"/>
              <a:gd name="connsiteY2969" fmla="*/ 5585579 h 6377102"/>
              <a:gd name="connsiteX2970" fmla="*/ 5612980 w 6423456"/>
              <a:gd name="connsiteY2970" fmla="*/ 5426802 h 6377102"/>
              <a:gd name="connsiteX2971" fmla="*/ 5604074 w 6423456"/>
              <a:gd name="connsiteY2971" fmla="*/ 5417896 h 6377102"/>
              <a:gd name="connsiteX2972" fmla="*/ 5595169 w 6423456"/>
              <a:gd name="connsiteY2972" fmla="*/ 5426802 h 6377102"/>
              <a:gd name="connsiteX2973" fmla="*/ 5604074 w 6423456"/>
              <a:gd name="connsiteY2973" fmla="*/ 5435708 h 6377102"/>
              <a:gd name="connsiteX2974" fmla="*/ 5612980 w 6423456"/>
              <a:gd name="connsiteY2974" fmla="*/ 5426802 h 6377102"/>
              <a:gd name="connsiteX2975" fmla="*/ 5667859 w 6423456"/>
              <a:gd name="connsiteY2975" fmla="*/ 5265361 h 6377102"/>
              <a:gd name="connsiteX2976" fmla="*/ 5657355 w 6423456"/>
              <a:gd name="connsiteY2976" fmla="*/ 5254857 h 6377102"/>
              <a:gd name="connsiteX2977" fmla="*/ 5646851 w 6423456"/>
              <a:gd name="connsiteY2977" fmla="*/ 5265361 h 6377102"/>
              <a:gd name="connsiteX2978" fmla="*/ 5657355 w 6423456"/>
              <a:gd name="connsiteY2978" fmla="*/ 5275865 h 6377102"/>
              <a:gd name="connsiteX2979" fmla="*/ 5667859 w 6423456"/>
              <a:gd name="connsiteY2979" fmla="*/ 5265361 h 6377102"/>
              <a:gd name="connsiteX2980" fmla="*/ 5715051 w 6423456"/>
              <a:gd name="connsiteY2980" fmla="*/ 5101561 h 6377102"/>
              <a:gd name="connsiteX2981" fmla="*/ 5702948 w 6423456"/>
              <a:gd name="connsiteY2981" fmla="*/ 5089458 h 6377102"/>
              <a:gd name="connsiteX2982" fmla="*/ 5690846 w 6423456"/>
              <a:gd name="connsiteY2982" fmla="*/ 5101561 h 6377102"/>
              <a:gd name="connsiteX2983" fmla="*/ 5702948 w 6423456"/>
              <a:gd name="connsiteY2983" fmla="*/ 5113663 h 6377102"/>
              <a:gd name="connsiteX2984" fmla="*/ 5715051 w 6423456"/>
              <a:gd name="connsiteY2984" fmla="*/ 5101561 h 6377102"/>
              <a:gd name="connsiteX2985" fmla="*/ 5754478 w 6423456"/>
              <a:gd name="connsiteY2985" fmla="*/ 4935857 h 6377102"/>
              <a:gd name="connsiteX2986" fmla="*/ 5740778 w 6423456"/>
              <a:gd name="connsiteY2986" fmla="*/ 4922233 h 6377102"/>
              <a:gd name="connsiteX2987" fmla="*/ 5727153 w 6423456"/>
              <a:gd name="connsiteY2987" fmla="*/ 4935857 h 6377102"/>
              <a:gd name="connsiteX2988" fmla="*/ 5740778 w 6423456"/>
              <a:gd name="connsiteY2988" fmla="*/ 4949558 h 6377102"/>
              <a:gd name="connsiteX2989" fmla="*/ 5754478 w 6423456"/>
              <a:gd name="connsiteY2989" fmla="*/ 4935857 h 6377102"/>
              <a:gd name="connsiteX2990" fmla="*/ 5786523 w 6423456"/>
              <a:gd name="connsiteY2990" fmla="*/ 4768479 h 6377102"/>
              <a:gd name="connsiteX2991" fmla="*/ 5770767 w 6423456"/>
              <a:gd name="connsiteY2991" fmla="*/ 4752724 h 6377102"/>
              <a:gd name="connsiteX2992" fmla="*/ 5755012 w 6423456"/>
              <a:gd name="connsiteY2992" fmla="*/ 4768479 h 6377102"/>
              <a:gd name="connsiteX2993" fmla="*/ 5770767 w 6423456"/>
              <a:gd name="connsiteY2993" fmla="*/ 4784235 h 6377102"/>
              <a:gd name="connsiteX2994" fmla="*/ 5786523 w 6423456"/>
              <a:gd name="connsiteY2994" fmla="*/ 4768479 h 6377102"/>
              <a:gd name="connsiteX2995" fmla="*/ 5810119 w 6423456"/>
              <a:gd name="connsiteY2995" fmla="*/ 4599884 h 6377102"/>
              <a:gd name="connsiteX2996" fmla="*/ 5792765 w 6423456"/>
              <a:gd name="connsiteY2996" fmla="*/ 4582530 h 6377102"/>
              <a:gd name="connsiteX2997" fmla="*/ 5775410 w 6423456"/>
              <a:gd name="connsiteY2997" fmla="*/ 4599884 h 6377102"/>
              <a:gd name="connsiteX2998" fmla="*/ 5792765 w 6423456"/>
              <a:gd name="connsiteY2998" fmla="*/ 4617238 h 6377102"/>
              <a:gd name="connsiteX2999" fmla="*/ 5810119 w 6423456"/>
              <a:gd name="connsiteY2999" fmla="*/ 4599884 h 6377102"/>
              <a:gd name="connsiteX3000" fmla="*/ 5826256 w 6423456"/>
              <a:gd name="connsiteY3000" fmla="*/ 4430451 h 6377102"/>
              <a:gd name="connsiteX3001" fmla="*/ 5806846 w 6423456"/>
              <a:gd name="connsiteY3001" fmla="*/ 4411042 h 6377102"/>
              <a:gd name="connsiteX3002" fmla="*/ 5787436 w 6423456"/>
              <a:gd name="connsiteY3002" fmla="*/ 4430451 h 6377102"/>
              <a:gd name="connsiteX3003" fmla="*/ 5806846 w 6423456"/>
              <a:gd name="connsiteY3003" fmla="*/ 4449860 h 6377102"/>
              <a:gd name="connsiteX3004" fmla="*/ 5826256 w 6423456"/>
              <a:gd name="connsiteY3004" fmla="*/ 4430451 h 6377102"/>
              <a:gd name="connsiteX3005" fmla="*/ 5833867 w 6423456"/>
              <a:gd name="connsiteY3005" fmla="*/ 4260561 h 6377102"/>
              <a:gd name="connsiteX3006" fmla="*/ 5812859 w 6423456"/>
              <a:gd name="connsiteY3006" fmla="*/ 4239553 h 6377102"/>
              <a:gd name="connsiteX3007" fmla="*/ 5791851 w 6423456"/>
              <a:gd name="connsiteY3007" fmla="*/ 4260561 h 6377102"/>
              <a:gd name="connsiteX3008" fmla="*/ 5812859 w 6423456"/>
              <a:gd name="connsiteY3008" fmla="*/ 4281569 h 6377102"/>
              <a:gd name="connsiteX3009" fmla="*/ 5833867 w 6423456"/>
              <a:gd name="connsiteY3009" fmla="*/ 4260561 h 6377102"/>
              <a:gd name="connsiteX3010" fmla="*/ 5833943 w 6423456"/>
              <a:gd name="connsiteY3010" fmla="*/ 4090519 h 6377102"/>
              <a:gd name="connsiteX3011" fmla="*/ 5810804 w 6423456"/>
              <a:gd name="connsiteY3011" fmla="*/ 4067380 h 6377102"/>
              <a:gd name="connsiteX3012" fmla="*/ 5787665 w 6423456"/>
              <a:gd name="connsiteY3012" fmla="*/ 4090519 h 6377102"/>
              <a:gd name="connsiteX3013" fmla="*/ 5810804 w 6423456"/>
              <a:gd name="connsiteY3013" fmla="*/ 4113659 h 6377102"/>
              <a:gd name="connsiteX3014" fmla="*/ 5833943 w 6423456"/>
              <a:gd name="connsiteY3014" fmla="*/ 4090519 h 6377102"/>
              <a:gd name="connsiteX3015" fmla="*/ 5826027 w 6423456"/>
              <a:gd name="connsiteY3015" fmla="*/ 3920858 h 6377102"/>
              <a:gd name="connsiteX3016" fmla="*/ 5800832 w 6423456"/>
              <a:gd name="connsiteY3016" fmla="*/ 3895664 h 6377102"/>
              <a:gd name="connsiteX3017" fmla="*/ 5775639 w 6423456"/>
              <a:gd name="connsiteY3017" fmla="*/ 3920858 h 6377102"/>
              <a:gd name="connsiteX3018" fmla="*/ 5800832 w 6423456"/>
              <a:gd name="connsiteY3018" fmla="*/ 3946052 h 6377102"/>
              <a:gd name="connsiteX3019" fmla="*/ 5826027 w 6423456"/>
              <a:gd name="connsiteY3019" fmla="*/ 3920858 h 6377102"/>
              <a:gd name="connsiteX3020" fmla="*/ 5809586 w 6423456"/>
              <a:gd name="connsiteY3020" fmla="*/ 3751806 h 6377102"/>
              <a:gd name="connsiteX3021" fmla="*/ 5782793 w 6423456"/>
              <a:gd name="connsiteY3021" fmla="*/ 3725013 h 6377102"/>
              <a:gd name="connsiteX3022" fmla="*/ 5756001 w 6423456"/>
              <a:gd name="connsiteY3022" fmla="*/ 3751806 h 6377102"/>
              <a:gd name="connsiteX3023" fmla="*/ 5782793 w 6423456"/>
              <a:gd name="connsiteY3023" fmla="*/ 3778598 h 6377102"/>
              <a:gd name="connsiteX3024" fmla="*/ 5809586 w 6423456"/>
              <a:gd name="connsiteY3024" fmla="*/ 3751806 h 6377102"/>
              <a:gd name="connsiteX3025" fmla="*/ 5785685 w 6423456"/>
              <a:gd name="connsiteY3025" fmla="*/ 3583743 h 6377102"/>
              <a:gd name="connsiteX3026" fmla="*/ 5756762 w 6423456"/>
              <a:gd name="connsiteY3026" fmla="*/ 3554819 h 6377102"/>
              <a:gd name="connsiteX3027" fmla="*/ 5727838 w 6423456"/>
              <a:gd name="connsiteY3027" fmla="*/ 3583743 h 6377102"/>
              <a:gd name="connsiteX3028" fmla="*/ 5756762 w 6423456"/>
              <a:gd name="connsiteY3028" fmla="*/ 3612667 h 6377102"/>
              <a:gd name="connsiteX3029" fmla="*/ 5785685 w 6423456"/>
              <a:gd name="connsiteY3029" fmla="*/ 3583743 h 6377102"/>
              <a:gd name="connsiteX3030" fmla="*/ 5753336 w 6423456"/>
              <a:gd name="connsiteY3030" fmla="*/ 3417202 h 6377102"/>
              <a:gd name="connsiteX3031" fmla="*/ 5722890 w 6423456"/>
              <a:gd name="connsiteY3031" fmla="*/ 3386756 h 6377102"/>
              <a:gd name="connsiteX3032" fmla="*/ 5692444 w 6423456"/>
              <a:gd name="connsiteY3032" fmla="*/ 3417202 h 6377102"/>
              <a:gd name="connsiteX3033" fmla="*/ 5722890 w 6423456"/>
              <a:gd name="connsiteY3033" fmla="*/ 3447648 h 6377102"/>
              <a:gd name="connsiteX3034" fmla="*/ 5753336 w 6423456"/>
              <a:gd name="connsiteY3034" fmla="*/ 3417202 h 6377102"/>
              <a:gd name="connsiteX3035" fmla="*/ 5713223 w 6423456"/>
              <a:gd name="connsiteY3035" fmla="*/ 3252336 h 6377102"/>
              <a:gd name="connsiteX3036" fmla="*/ 5681179 w 6423456"/>
              <a:gd name="connsiteY3036" fmla="*/ 3220292 h 6377102"/>
              <a:gd name="connsiteX3037" fmla="*/ 5649135 w 6423456"/>
              <a:gd name="connsiteY3037" fmla="*/ 3252336 h 6377102"/>
              <a:gd name="connsiteX3038" fmla="*/ 5681179 w 6423456"/>
              <a:gd name="connsiteY3038" fmla="*/ 3284381 h 6377102"/>
              <a:gd name="connsiteX3039" fmla="*/ 5713223 w 6423456"/>
              <a:gd name="connsiteY3039" fmla="*/ 3252336 h 6377102"/>
              <a:gd name="connsiteX3040" fmla="*/ 5665271 w 6423456"/>
              <a:gd name="connsiteY3040" fmla="*/ 3089677 h 6377102"/>
              <a:gd name="connsiteX3041" fmla="*/ 5631628 w 6423456"/>
              <a:gd name="connsiteY3041" fmla="*/ 3056035 h 6377102"/>
              <a:gd name="connsiteX3042" fmla="*/ 5597985 w 6423456"/>
              <a:gd name="connsiteY3042" fmla="*/ 3089677 h 6377102"/>
              <a:gd name="connsiteX3043" fmla="*/ 5631628 w 6423456"/>
              <a:gd name="connsiteY3043" fmla="*/ 3123321 h 6377102"/>
              <a:gd name="connsiteX3044" fmla="*/ 5665271 w 6423456"/>
              <a:gd name="connsiteY3044" fmla="*/ 3089677 h 6377102"/>
              <a:gd name="connsiteX3045" fmla="*/ 5609783 w 6423456"/>
              <a:gd name="connsiteY3045" fmla="*/ 2929531 h 6377102"/>
              <a:gd name="connsiteX3046" fmla="*/ 5574618 w 6423456"/>
              <a:gd name="connsiteY3046" fmla="*/ 2894365 h 6377102"/>
              <a:gd name="connsiteX3047" fmla="*/ 5539452 w 6423456"/>
              <a:gd name="connsiteY3047" fmla="*/ 2929531 h 6377102"/>
              <a:gd name="connsiteX3048" fmla="*/ 5574618 w 6423456"/>
              <a:gd name="connsiteY3048" fmla="*/ 2964696 h 6377102"/>
              <a:gd name="connsiteX3049" fmla="*/ 5609783 w 6423456"/>
              <a:gd name="connsiteY3049" fmla="*/ 2929531 h 6377102"/>
              <a:gd name="connsiteX3050" fmla="*/ 5546759 w 6423456"/>
              <a:gd name="connsiteY3050" fmla="*/ 2772276 h 6377102"/>
              <a:gd name="connsiteX3051" fmla="*/ 5509996 w 6423456"/>
              <a:gd name="connsiteY3051" fmla="*/ 2735512 h 6377102"/>
              <a:gd name="connsiteX3052" fmla="*/ 5473232 w 6423456"/>
              <a:gd name="connsiteY3052" fmla="*/ 2772276 h 6377102"/>
              <a:gd name="connsiteX3053" fmla="*/ 5509996 w 6423456"/>
              <a:gd name="connsiteY3053" fmla="*/ 2809040 h 6377102"/>
              <a:gd name="connsiteX3054" fmla="*/ 5546759 w 6423456"/>
              <a:gd name="connsiteY3054" fmla="*/ 2772276 h 6377102"/>
              <a:gd name="connsiteX3055" fmla="*/ 5475896 w 6423456"/>
              <a:gd name="connsiteY3055" fmla="*/ 2618295 h 6377102"/>
              <a:gd name="connsiteX3056" fmla="*/ 5438067 w 6423456"/>
              <a:gd name="connsiteY3056" fmla="*/ 2580465 h 6377102"/>
              <a:gd name="connsiteX3057" fmla="*/ 5400237 w 6423456"/>
              <a:gd name="connsiteY3057" fmla="*/ 2618295 h 6377102"/>
              <a:gd name="connsiteX3058" fmla="*/ 5438067 w 6423456"/>
              <a:gd name="connsiteY3058" fmla="*/ 2656124 h 6377102"/>
              <a:gd name="connsiteX3059" fmla="*/ 5475896 w 6423456"/>
              <a:gd name="connsiteY3059" fmla="*/ 2618295 h 6377102"/>
              <a:gd name="connsiteX3060" fmla="*/ 5397725 w 6423456"/>
              <a:gd name="connsiteY3060" fmla="*/ 2467815 h 6377102"/>
              <a:gd name="connsiteX3061" fmla="*/ 5358830 w 6423456"/>
              <a:gd name="connsiteY3061" fmla="*/ 2428919 h 6377102"/>
              <a:gd name="connsiteX3062" fmla="*/ 5319936 w 6423456"/>
              <a:gd name="connsiteY3062" fmla="*/ 2467815 h 6377102"/>
              <a:gd name="connsiteX3063" fmla="*/ 5358830 w 6423456"/>
              <a:gd name="connsiteY3063" fmla="*/ 2506709 h 6377102"/>
              <a:gd name="connsiteX3064" fmla="*/ 5397725 w 6423456"/>
              <a:gd name="connsiteY3064" fmla="*/ 2467815 h 6377102"/>
              <a:gd name="connsiteX3065" fmla="*/ 5312629 w 6423456"/>
              <a:gd name="connsiteY3065" fmla="*/ 2321216 h 6377102"/>
              <a:gd name="connsiteX3066" fmla="*/ 5272743 w 6423456"/>
              <a:gd name="connsiteY3066" fmla="*/ 2281332 h 6377102"/>
              <a:gd name="connsiteX3067" fmla="*/ 5232783 w 6423456"/>
              <a:gd name="connsiteY3067" fmla="*/ 2321216 h 6377102"/>
              <a:gd name="connsiteX3068" fmla="*/ 5272743 w 6423456"/>
              <a:gd name="connsiteY3068" fmla="*/ 2361101 h 6377102"/>
              <a:gd name="connsiteX3069" fmla="*/ 5312629 w 6423456"/>
              <a:gd name="connsiteY3069" fmla="*/ 2321216 h 6377102"/>
              <a:gd name="connsiteX3070" fmla="*/ 5220148 w 6423456"/>
              <a:gd name="connsiteY3070" fmla="*/ 2178880 h 6377102"/>
              <a:gd name="connsiteX3071" fmla="*/ 5179731 w 6423456"/>
              <a:gd name="connsiteY3071" fmla="*/ 2138463 h 6377102"/>
              <a:gd name="connsiteX3072" fmla="*/ 5139314 w 6423456"/>
              <a:gd name="connsiteY3072" fmla="*/ 2178880 h 6377102"/>
              <a:gd name="connsiteX3073" fmla="*/ 5179731 w 6423456"/>
              <a:gd name="connsiteY3073" fmla="*/ 2219298 h 6377102"/>
              <a:gd name="connsiteX3074" fmla="*/ 5220148 w 6423456"/>
              <a:gd name="connsiteY3074" fmla="*/ 2178880 h 6377102"/>
              <a:gd name="connsiteX3075" fmla="*/ 5121122 w 6423456"/>
              <a:gd name="connsiteY3075" fmla="*/ 2041111 h 6377102"/>
              <a:gd name="connsiteX3076" fmla="*/ 5080172 w 6423456"/>
              <a:gd name="connsiteY3076" fmla="*/ 2000161 h 6377102"/>
              <a:gd name="connsiteX3077" fmla="*/ 5039222 w 6423456"/>
              <a:gd name="connsiteY3077" fmla="*/ 2041111 h 6377102"/>
              <a:gd name="connsiteX3078" fmla="*/ 5080172 w 6423456"/>
              <a:gd name="connsiteY3078" fmla="*/ 2082061 h 6377102"/>
              <a:gd name="connsiteX3079" fmla="*/ 5121122 w 6423456"/>
              <a:gd name="connsiteY3079" fmla="*/ 2041111 h 6377102"/>
              <a:gd name="connsiteX3080" fmla="*/ 5015626 w 6423456"/>
              <a:gd name="connsiteY3080" fmla="*/ 1908214 h 6377102"/>
              <a:gd name="connsiteX3081" fmla="*/ 4974143 w 6423456"/>
              <a:gd name="connsiteY3081" fmla="*/ 1866731 h 6377102"/>
              <a:gd name="connsiteX3082" fmla="*/ 4932660 w 6423456"/>
              <a:gd name="connsiteY3082" fmla="*/ 1908214 h 6377102"/>
              <a:gd name="connsiteX3083" fmla="*/ 4974143 w 6423456"/>
              <a:gd name="connsiteY3083" fmla="*/ 1949697 h 6377102"/>
              <a:gd name="connsiteX3084" fmla="*/ 5015626 w 6423456"/>
              <a:gd name="connsiteY3084" fmla="*/ 1908214 h 6377102"/>
              <a:gd name="connsiteX3085" fmla="*/ 4903965 w 6423456"/>
              <a:gd name="connsiteY3085" fmla="*/ 1780416 h 6377102"/>
              <a:gd name="connsiteX3086" fmla="*/ 4861949 w 6423456"/>
              <a:gd name="connsiteY3086" fmla="*/ 1738400 h 6377102"/>
              <a:gd name="connsiteX3087" fmla="*/ 4819933 w 6423456"/>
              <a:gd name="connsiteY3087" fmla="*/ 1780416 h 6377102"/>
              <a:gd name="connsiteX3088" fmla="*/ 4861949 w 6423456"/>
              <a:gd name="connsiteY3088" fmla="*/ 1822432 h 6377102"/>
              <a:gd name="connsiteX3089" fmla="*/ 4903965 w 6423456"/>
              <a:gd name="connsiteY3089" fmla="*/ 1780416 h 6377102"/>
              <a:gd name="connsiteX3090" fmla="*/ 4785910 w 6423456"/>
              <a:gd name="connsiteY3090" fmla="*/ 1658099 h 6377102"/>
              <a:gd name="connsiteX3091" fmla="*/ 4743894 w 6423456"/>
              <a:gd name="connsiteY3091" fmla="*/ 1616083 h 6377102"/>
              <a:gd name="connsiteX3092" fmla="*/ 4701878 w 6423456"/>
              <a:gd name="connsiteY3092" fmla="*/ 1658099 h 6377102"/>
              <a:gd name="connsiteX3093" fmla="*/ 4743894 w 6423456"/>
              <a:gd name="connsiteY3093" fmla="*/ 1700114 h 6377102"/>
              <a:gd name="connsiteX3094" fmla="*/ 4785910 w 6423456"/>
              <a:gd name="connsiteY3094" fmla="*/ 1658099 h 6377102"/>
              <a:gd name="connsiteX3095" fmla="*/ 4661690 w 6423456"/>
              <a:gd name="connsiteY3095" fmla="*/ 1541490 h 6377102"/>
              <a:gd name="connsiteX3096" fmla="*/ 4620206 w 6423456"/>
              <a:gd name="connsiteY3096" fmla="*/ 1500007 h 6377102"/>
              <a:gd name="connsiteX3097" fmla="*/ 4578724 w 6423456"/>
              <a:gd name="connsiteY3097" fmla="*/ 1541490 h 6377102"/>
              <a:gd name="connsiteX3098" fmla="*/ 4620206 w 6423456"/>
              <a:gd name="connsiteY3098" fmla="*/ 1582973 h 6377102"/>
              <a:gd name="connsiteX3099" fmla="*/ 4661690 w 6423456"/>
              <a:gd name="connsiteY3099" fmla="*/ 1541490 h 6377102"/>
              <a:gd name="connsiteX3100" fmla="*/ 4532597 w 6423456"/>
              <a:gd name="connsiteY3100" fmla="*/ 1430818 h 6377102"/>
              <a:gd name="connsiteX3101" fmla="*/ 4491115 w 6423456"/>
              <a:gd name="connsiteY3101" fmla="*/ 1389335 h 6377102"/>
              <a:gd name="connsiteX3102" fmla="*/ 4449632 w 6423456"/>
              <a:gd name="connsiteY3102" fmla="*/ 1430818 h 6377102"/>
              <a:gd name="connsiteX3103" fmla="*/ 4491115 w 6423456"/>
              <a:gd name="connsiteY3103" fmla="*/ 1472301 h 6377102"/>
              <a:gd name="connsiteX3104" fmla="*/ 4532597 w 6423456"/>
              <a:gd name="connsiteY3104" fmla="*/ 1430818 h 6377102"/>
              <a:gd name="connsiteX3105" fmla="*/ 4397873 w 6423456"/>
              <a:gd name="connsiteY3105" fmla="*/ 1326388 h 6377102"/>
              <a:gd name="connsiteX3106" fmla="*/ 4356923 w 6423456"/>
              <a:gd name="connsiteY3106" fmla="*/ 1285437 h 6377102"/>
              <a:gd name="connsiteX3107" fmla="*/ 4315973 w 6423456"/>
              <a:gd name="connsiteY3107" fmla="*/ 1326388 h 6377102"/>
              <a:gd name="connsiteX3108" fmla="*/ 4356923 w 6423456"/>
              <a:gd name="connsiteY3108" fmla="*/ 1367338 h 6377102"/>
              <a:gd name="connsiteX3109" fmla="*/ 4397873 w 6423456"/>
              <a:gd name="connsiteY3109" fmla="*/ 1326388 h 6377102"/>
              <a:gd name="connsiteX3110" fmla="*/ 4258430 w 6423456"/>
              <a:gd name="connsiteY3110" fmla="*/ 1228427 h 6377102"/>
              <a:gd name="connsiteX3111" fmla="*/ 4218012 w 6423456"/>
              <a:gd name="connsiteY3111" fmla="*/ 1188010 h 6377102"/>
              <a:gd name="connsiteX3112" fmla="*/ 4177595 w 6423456"/>
              <a:gd name="connsiteY3112" fmla="*/ 1228427 h 6377102"/>
              <a:gd name="connsiteX3113" fmla="*/ 4218012 w 6423456"/>
              <a:gd name="connsiteY3113" fmla="*/ 1268844 h 6377102"/>
              <a:gd name="connsiteX3114" fmla="*/ 4258430 w 6423456"/>
              <a:gd name="connsiteY3114" fmla="*/ 1228427 h 6377102"/>
              <a:gd name="connsiteX3115" fmla="*/ 4113962 w 6423456"/>
              <a:gd name="connsiteY3115" fmla="*/ 1137165 h 6377102"/>
              <a:gd name="connsiteX3116" fmla="*/ 4074535 w 6423456"/>
              <a:gd name="connsiteY3116" fmla="*/ 1097737 h 6377102"/>
              <a:gd name="connsiteX3117" fmla="*/ 4035107 w 6423456"/>
              <a:gd name="connsiteY3117" fmla="*/ 1137165 h 6377102"/>
              <a:gd name="connsiteX3118" fmla="*/ 4074535 w 6423456"/>
              <a:gd name="connsiteY3118" fmla="*/ 1176592 h 6377102"/>
              <a:gd name="connsiteX3119" fmla="*/ 4113962 w 6423456"/>
              <a:gd name="connsiteY3119" fmla="*/ 1137165 h 6377102"/>
              <a:gd name="connsiteX3120" fmla="*/ 3965842 w 6423456"/>
              <a:gd name="connsiteY3120" fmla="*/ 1052753 h 6377102"/>
              <a:gd name="connsiteX3121" fmla="*/ 3926947 w 6423456"/>
              <a:gd name="connsiteY3121" fmla="*/ 1013858 h 6377102"/>
              <a:gd name="connsiteX3122" fmla="*/ 3888052 w 6423456"/>
              <a:gd name="connsiteY3122" fmla="*/ 1052753 h 6377102"/>
              <a:gd name="connsiteX3123" fmla="*/ 3926947 w 6423456"/>
              <a:gd name="connsiteY3123" fmla="*/ 1091647 h 6377102"/>
              <a:gd name="connsiteX3124" fmla="*/ 3965842 w 6423456"/>
              <a:gd name="connsiteY3124" fmla="*/ 1052753 h 6377102"/>
              <a:gd name="connsiteX3125" fmla="*/ 3813459 w 6423456"/>
              <a:gd name="connsiteY3125" fmla="*/ 975343 h 6377102"/>
              <a:gd name="connsiteX3126" fmla="*/ 3775629 w 6423456"/>
              <a:gd name="connsiteY3126" fmla="*/ 937514 h 6377102"/>
              <a:gd name="connsiteX3127" fmla="*/ 3737800 w 6423456"/>
              <a:gd name="connsiteY3127" fmla="*/ 975343 h 6377102"/>
              <a:gd name="connsiteX3128" fmla="*/ 3775629 w 6423456"/>
              <a:gd name="connsiteY3128" fmla="*/ 1013172 h 6377102"/>
              <a:gd name="connsiteX3129" fmla="*/ 3813459 w 6423456"/>
              <a:gd name="connsiteY3129" fmla="*/ 975343 h 6377102"/>
              <a:gd name="connsiteX3130" fmla="*/ 3656966 w 6423456"/>
              <a:gd name="connsiteY3130" fmla="*/ 905241 h 6377102"/>
              <a:gd name="connsiteX3131" fmla="*/ 3620735 w 6423456"/>
              <a:gd name="connsiteY3131" fmla="*/ 869010 h 6377102"/>
              <a:gd name="connsiteX3132" fmla="*/ 3584504 w 6423456"/>
              <a:gd name="connsiteY3132" fmla="*/ 905241 h 6377102"/>
              <a:gd name="connsiteX3133" fmla="*/ 3620735 w 6423456"/>
              <a:gd name="connsiteY3133" fmla="*/ 941472 h 6377102"/>
              <a:gd name="connsiteX3134" fmla="*/ 3656966 w 6423456"/>
              <a:gd name="connsiteY3134" fmla="*/ 905241 h 6377102"/>
              <a:gd name="connsiteX3135" fmla="*/ 3497884 w 6423456"/>
              <a:gd name="connsiteY3135" fmla="*/ 842522 h 6377102"/>
              <a:gd name="connsiteX3136" fmla="*/ 3462719 w 6423456"/>
              <a:gd name="connsiteY3136" fmla="*/ 807356 h 6377102"/>
              <a:gd name="connsiteX3137" fmla="*/ 3427554 w 6423456"/>
              <a:gd name="connsiteY3137" fmla="*/ 842522 h 6377102"/>
              <a:gd name="connsiteX3138" fmla="*/ 3462719 w 6423456"/>
              <a:gd name="connsiteY3138" fmla="*/ 877687 h 6377102"/>
              <a:gd name="connsiteX3139" fmla="*/ 3497884 w 6423456"/>
              <a:gd name="connsiteY3139" fmla="*/ 842522 h 6377102"/>
              <a:gd name="connsiteX3140" fmla="*/ 3335531 w 6423456"/>
              <a:gd name="connsiteY3140" fmla="*/ 787262 h 6377102"/>
              <a:gd name="connsiteX3141" fmla="*/ 3301887 w 6423456"/>
              <a:gd name="connsiteY3141" fmla="*/ 753619 h 6377102"/>
              <a:gd name="connsiteX3142" fmla="*/ 3268244 w 6423456"/>
              <a:gd name="connsiteY3142" fmla="*/ 787262 h 6377102"/>
              <a:gd name="connsiteX3143" fmla="*/ 3301887 w 6423456"/>
              <a:gd name="connsiteY3143" fmla="*/ 820905 h 6377102"/>
              <a:gd name="connsiteX3144" fmla="*/ 3335531 w 6423456"/>
              <a:gd name="connsiteY3144" fmla="*/ 787262 h 6377102"/>
              <a:gd name="connsiteX3145" fmla="*/ 3170207 w 6423456"/>
              <a:gd name="connsiteY3145" fmla="*/ 739766 h 6377102"/>
              <a:gd name="connsiteX3146" fmla="*/ 3138695 w 6423456"/>
              <a:gd name="connsiteY3146" fmla="*/ 708254 h 6377102"/>
              <a:gd name="connsiteX3147" fmla="*/ 3107184 w 6423456"/>
              <a:gd name="connsiteY3147" fmla="*/ 739766 h 6377102"/>
              <a:gd name="connsiteX3148" fmla="*/ 3138695 w 6423456"/>
              <a:gd name="connsiteY3148" fmla="*/ 771278 h 6377102"/>
              <a:gd name="connsiteX3149" fmla="*/ 3170207 w 6423456"/>
              <a:gd name="connsiteY3149" fmla="*/ 739766 h 6377102"/>
              <a:gd name="connsiteX3150" fmla="*/ 3003363 w 6423456"/>
              <a:gd name="connsiteY3150" fmla="*/ 699958 h 6377102"/>
              <a:gd name="connsiteX3151" fmla="*/ 2973449 w 6423456"/>
              <a:gd name="connsiteY3151" fmla="*/ 670044 h 6377102"/>
              <a:gd name="connsiteX3152" fmla="*/ 2943536 w 6423456"/>
              <a:gd name="connsiteY3152" fmla="*/ 699958 h 6377102"/>
              <a:gd name="connsiteX3153" fmla="*/ 2973449 w 6423456"/>
              <a:gd name="connsiteY3153" fmla="*/ 729871 h 6377102"/>
              <a:gd name="connsiteX3154" fmla="*/ 3003363 w 6423456"/>
              <a:gd name="connsiteY3154" fmla="*/ 699958 h 6377102"/>
              <a:gd name="connsiteX3155" fmla="*/ 2834767 w 6423456"/>
              <a:gd name="connsiteY3155" fmla="*/ 667989 h 6377102"/>
              <a:gd name="connsiteX3156" fmla="*/ 2806376 w 6423456"/>
              <a:gd name="connsiteY3156" fmla="*/ 639598 h 6377102"/>
              <a:gd name="connsiteX3157" fmla="*/ 2777985 w 6423456"/>
              <a:gd name="connsiteY3157" fmla="*/ 667989 h 6377102"/>
              <a:gd name="connsiteX3158" fmla="*/ 2806376 w 6423456"/>
              <a:gd name="connsiteY3158" fmla="*/ 696380 h 6377102"/>
              <a:gd name="connsiteX3159" fmla="*/ 2834767 w 6423456"/>
              <a:gd name="connsiteY3159" fmla="*/ 667989 h 6377102"/>
              <a:gd name="connsiteX3160" fmla="*/ 2664344 w 6423456"/>
              <a:gd name="connsiteY3160" fmla="*/ 644013 h 6377102"/>
              <a:gd name="connsiteX3161" fmla="*/ 2638085 w 6423456"/>
              <a:gd name="connsiteY3161" fmla="*/ 617753 h 6377102"/>
              <a:gd name="connsiteX3162" fmla="*/ 2611824 w 6423456"/>
              <a:gd name="connsiteY3162" fmla="*/ 644013 h 6377102"/>
              <a:gd name="connsiteX3163" fmla="*/ 2638085 w 6423456"/>
              <a:gd name="connsiteY3163" fmla="*/ 670272 h 6377102"/>
              <a:gd name="connsiteX3164" fmla="*/ 2664344 w 6423456"/>
              <a:gd name="connsiteY3164" fmla="*/ 644013 h 6377102"/>
              <a:gd name="connsiteX3165" fmla="*/ 2493541 w 6423456"/>
              <a:gd name="connsiteY3165" fmla="*/ 627952 h 6377102"/>
              <a:gd name="connsiteX3166" fmla="*/ 2468879 w 6423456"/>
              <a:gd name="connsiteY3166" fmla="*/ 603291 h 6377102"/>
              <a:gd name="connsiteX3167" fmla="*/ 2444218 w 6423456"/>
              <a:gd name="connsiteY3167" fmla="*/ 627952 h 6377102"/>
              <a:gd name="connsiteX3168" fmla="*/ 2468879 w 6423456"/>
              <a:gd name="connsiteY3168" fmla="*/ 652614 h 6377102"/>
              <a:gd name="connsiteX3169" fmla="*/ 2493541 w 6423456"/>
              <a:gd name="connsiteY3169" fmla="*/ 627952 h 6377102"/>
              <a:gd name="connsiteX3170" fmla="*/ 2321596 w 6423456"/>
              <a:gd name="connsiteY3170" fmla="*/ 619960 h 6377102"/>
              <a:gd name="connsiteX3171" fmla="*/ 2298990 w 6423456"/>
              <a:gd name="connsiteY3171" fmla="*/ 597354 h 6377102"/>
              <a:gd name="connsiteX3172" fmla="*/ 2276384 w 6423456"/>
              <a:gd name="connsiteY3172" fmla="*/ 619960 h 6377102"/>
              <a:gd name="connsiteX3173" fmla="*/ 2298990 w 6423456"/>
              <a:gd name="connsiteY3173" fmla="*/ 642566 h 6377102"/>
              <a:gd name="connsiteX3174" fmla="*/ 2321596 w 6423456"/>
              <a:gd name="connsiteY3174" fmla="*/ 619960 h 6377102"/>
              <a:gd name="connsiteX3175" fmla="*/ 2149499 w 6423456"/>
              <a:gd name="connsiteY3175" fmla="*/ 619960 h 6377102"/>
              <a:gd name="connsiteX3176" fmla="*/ 2129025 w 6423456"/>
              <a:gd name="connsiteY3176" fmla="*/ 599485 h 6377102"/>
              <a:gd name="connsiteX3177" fmla="*/ 2108549 w 6423456"/>
              <a:gd name="connsiteY3177" fmla="*/ 619960 h 6377102"/>
              <a:gd name="connsiteX3178" fmla="*/ 2129025 w 6423456"/>
              <a:gd name="connsiteY3178" fmla="*/ 640435 h 6377102"/>
              <a:gd name="connsiteX3179" fmla="*/ 2149499 w 6423456"/>
              <a:gd name="connsiteY3179" fmla="*/ 619960 h 6377102"/>
              <a:gd name="connsiteX3180" fmla="*/ 1978087 w 6423456"/>
              <a:gd name="connsiteY3180" fmla="*/ 627952 h 6377102"/>
              <a:gd name="connsiteX3181" fmla="*/ 1959211 w 6423456"/>
              <a:gd name="connsiteY3181" fmla="*/ 609000 h 6377102"/>
              <a:gd name="connsiteX3182" fmla="*/ 1940334 w 6423456"/>
              <a:gd name="connsiteY3182" fmla="*/ 627952 h 6377102"/>
              <a:gd name="connsiteX3183" fmla="*/ 1959211 w 6423456"/>
              <a:gd name="connsiteY3183" fmla="*/ 646829 h 6377102"/>
              <a:gd name="connsiteX3184" fmla="*/ 1978087 w 6423456"/>
              <a:gd name="connsiteY3184" fmla="*/ 627952 h 6377102"/>
              <a:gd name="connsiteX3185" fmla="*/ 1806752 w 6423456"/>
              <a:gd name="connsiteY3185" fmla="*/ 644013 h 6377102"/>
              <a:gd name="connsiteX3186" fmla="*/ 1789930 w 6423456"/>
              <a:gd name="connsiteY3186" fmla="*/ 627191 h 6377102"/>
              <a:gd name="connsiteX3187" fmla="*/ 1773109 w 6423456"/>
              <a:gd name="connsiteY3187" fmla="*/ 644013 h 6377102"/>
              <a:gd name="connsiteX3188" fmla="*/ 1789930 w 6423456"/>
              <a:gd name="connsiteY3188" fmla="*/ 660834 h 6377102"/>
              <a:gd name="connsiteX3189" fmla="*/ 1806752 w 6423456"/>
              <a:gd name="connsiteY3189" fmla="*/ 644013 h 6377102"/>
              <a:gd name="connsiteX3190" fmla="*/ 1636862 w 6423456"/>
              <a:gd name="connsiteY3190" fmla="*/ 667989 h 6377102"/>
              <a:gd name="connsiteX3191" fmla="*/ 1621639 w 6423456"/>
              <a:gd name="connsiteY3191" fmla="*/ 652766 h 6377102"/>
              <a:gd name="connsiteX3192" fmla="*/ 1606416 w 6423456"/>
              <a:gd name="connsiteY3192" fmla="*/ 667989 h 6377102"/>
              <a:gd name="connsiteX3193" fmla="*/ 1621639 w 6423456"/>
              <a:gd name="connsiteY3193" fmla="*/ 683212 h 6377102"/>
              <a:gd name="connsiteX3194" fmla="*/ 1636862 w 6423456"/>
              <a:gd name="connsiteY3194" fmla="*/ 667989 h 6377102"/>
              <a:gd name="connsiteX3195" fmla="*/ 1468266 w 6423456"/>
              <a:gd name="connsiteY3195" fmla="*/ 699958 h 6377102"/>
              <a:gd name="connsiteX3196" fmla="*/ 1454642 w 6423456"/>
              <a:gd name="connsiteY3196" fmla="*/ 686333 h 6377102"/>
              <a:gd name="connsiteX3197" fmla="*/ 1441017 w 6423456"/>
              <a:gd name="connsiteY3197" fmla="*/ 699958 h 6377102"/>
              <a:gd name="connsiteX3198" fmla="*/ 1454642 w 6423456"/>
              <a:gd name="connsiteY3198" fmla="*/ 713658 h 6377102"/>
              <a:gd name="connsiteX3199" fmla="*/ 1468266 w 6423456"/>
              <a:gd name="connsiteY3199" fmla="*/ 699958 h 6377102"/>
              <a:gd name="connsiteX3200" fmla="*/ 1300889 w 6423456"/>
              <a:gd name="connsiteY3200" fmla="*/ 739766 h 6377102"/>
              <a:gd name="connsiteX3201" fmla="*/ 1289319 w 6423456"/>
              <a:gd name="connsiteY3201" fmla="*/ 728196 h 6377102"/>
              <a:gd name="connsiteX3202" fmla="*/ 1277750 w 6423456"/>
              <a:gd name="connsiteY3202" fmla="*/ 739766 h 6377102"/>
              <a:gd name="connsiteX3203" fmla="*/ 1289319 w 6423456"/>
              <a:gd name="connsiteY3203" fmla="*/ 751335 h 6377102"/>
              <a:gd name="connsiteX3204" fmla="*/ 1300889 w 6423456"/>
              <a:gd name="connsiteY3204" fmla="*/ 739766 h 6377102"/>
              <a:gd name="connsiteX3205" fmla="*/ 1136099 w 6423456"/>
              <a:gd name="connsiteY3205" fmla="*/ 787262 h 6377102"/>
              <a:gd name="connsiteX3206" fmla="*/ 1126127 w 6423456"/>
              <a:gd name="connsiteY3206" fmla="*/ 777291 h 6377102"/>
              <a:gd name="connsiteX3207" fmla="*/ 1116156 w 6423456"/>
              <a:gd name="connsiteY3207" fmla="*/ 787262 h 6377102"/>
              <a:gd name="connsiteX3208" fmla="*/ 1126127 w 6423456"/>
              <a:gd name="connsiteY3208" fmla="*/ 797233 h 6377102"/>
              <a:gd name="connsiteX3209" fmla="*/ 1136099 w 6423456"/>
              <a:gd name="connsiteY3209" fmla="*/ 787262 h 6377102"/>
              <a:gd name="connsiteX3210" fmla="*/ 973745 w 6423456"/>
              <a:gd name="connsiteY3210" fmla="*/ 842522 h 6377102"/>
              <a:gd name="connsiteX3211" fmla="*/ 965372 w 6423456"/>
              <a:gd name="connsiteY3211" fmla="*/ 834149 h 6377102"/>
              <a:gd name="connsiteX3212" fmla="*/ 956999 w 6423456"/>
              <a:gd name="connsiteY3212" fmla="*/ 842522 h 6377102"/>
              <a:gd name="connsiteX3213" fmla="*/ 965372 w 6423456"/>
              <a:gd name="connsiteY3213" fmla="*/ 850894 h 6377102"/>
              <a:gd name="connsiteX3214" fmla="*/ 973745 w 6423456"/>
              <a:gd name="connsiteY3214" fmla="*/ 842522 h 6377102"/>
              <a:gd name="connsiteX3215" fmla="*/ 814130 w 6423456"/>
              <a:gd name="connsiteY3215" fmla="*/ 905241 h 6377102"/>
              <a:gd name="connsiteX3216" fmla="*/ 807280 w 6423456"/>
              <a:gd name="connsiteY3216" fmla="*/ 898390 h 6377102"/>
              <a:gd name="connsiteX3217" fmla="*/ 800430 w 6423456"/>
              <a:gd name="connsiteY3217" fmla="*/ 905241 h 6377102"/>
              <a:gd name="connsiteX3218" fmla="*/ 807280 w 6423456"/>
              <a:gd name="connsiteY3218" fmla="*/ 912091 h 6377102"/>
              <a:gd name="connsiteX3219" fmla="*/ 814130 w 6423456"/>
              <a:gd name="connsiteY3219" fmla="*/ 905241 h 6377102"/>
              <a:gd name="connsiteX3220" fmla="*/ 658170 w 6423456"/>
              <a:gd name="connsiteY3220" fmla="*/ 975343 h 6377102"/>
              <a:gd name="connsiteX3221" fmla="*/ 652385 w 6423456"/>
              <a:gd name="connsiteY3221" fmla="*/ 969558 h 6377102"/>
              <a:gd name="connsiteX3222" fmla="*/ 646600 w 6423456"/>
              <a:gd name="connsiteY3222" fmla="*/ 975343 h 6377102"/>
              <a:gd name="connsiteX3223" fmla="*/ 652385 w 6423456"/>
              <a:gd name="connsiteY3223" fmla="*/ 981128 h 6377102"/>
              <a:gd name="connsiteX3224" fmla="*/ 658170 w 6423456"/>
              <a:gd name="connsiteY3224" fmla="*/ 975343 h 6377102"/>
              <a:gd name="connsiteX3225" fmla="*/ 505787 w 6423456"/>
              <a:gd name="connsiteY3225" fmla="*/ 1052753 h 6377102"/>
              <a:gd name="connsiteX3226" fmla="*/ 501068 w 6423456"/>
              <a:gd name="connsiteY3226" fmla="*/ 1048033 h 6377102"/>
              <a:gd name="connsiteX3227" fmla="*/ 496348 w 6423456"/>
              <a:gd name="connsiteY3227" fmla="*/ 1052753 h 6377102"/>
              <a:gd name="connsiteX3228" fmla="*/ 501068 w 6423456"/>
              <a:gd name="connsiteY3228" fmla="*/ 1057472 h 6377102"/>
              <a:gd name="connsiteX3229" fmla="*/ 505787 w 6423456"/>
              <a:gd name="connsiteY3229" fmla="*/ 1052753 h 6377102"/>
              <a:gd name="connsiteX3230" fmla="*/ 357133 w 6423456"/>
              <a:gd name="connsiteY3230" fmla="*/ 1137165 h 6377102"/>
              <a:gd name="connsiteX3231" fmla="*/ 353480 w 6423456"/>
              <a:gd name="connsiteY3231" fmla="*/ 1133511 h 6377102"/>
              <a:gd name="connsiteX3232" fmla="*/ 349826 w 6423456"/>
              <a:gd name="connsiteY3232" fmla="*/ 1137165 h 6377102"/>
              <a:gd name="connsiteX3233" fmla="*/ 353480 w 6423456"/>
              <a:gd name="connsiteY3233" fmla="*/ 1140818 h 6377102"/>
              <a:gd name="connsiteX3234" fmla="*/ 357133 w 6423456"/>
              <a:gd name="connsiteY3234" fmla="*/ 1137165 h 6377102"/>
              <a:gd name="connsiteX3235" fmla="*/ 212667 w 6423456"/>
              <a:gd name="connsiteY3235" fmla="*/ 1228427 h 6377102"/>
              <a:gd name="connsiteX3236" fmla="*/ 210002 w 6423456"/>
              <a:gd name="connsiteY3236" fmla="*/ 1225763 h 6377102"/>
              <a:gd name="connsiteX3237" fmla="*/ 207338 w 6423456"/>
              <a:gd name="connsiteY3237" fmla="*/ 1228427 h 6377102"/>
              <a:gd name="connsiteX3238" fmla="*/ 210002 w 6423456"/>
              <a:gd name="connsiteY3238" fmla="*/ 1231015 h 6377102"/>
              <a:gd name="connsiteX3239" fmla="*/ 212667 w 6423456"/>
              <a:gd name="connsiteY3239" fmla="*/ 1228427 h 6377102"/>
              <a:gd name="connsiteX3240" fmla="*/ 5379001 w 6423456"/>
              <a:gd name="connsiteY3240" fmla="*/ 6305174 h 6377102"/>
              <a:gd name="connsiteX3241" fmla="*/ 5375880 w 6423456"/>
              <a:gd name="connsiteY3241" fmla="*/ 6302053 h 6377102"/>
              <a:gd name="connsiteX3242" fmla="*/ 5372683 w 6423456"/>
              <a:gd name="connsiteY3242" fmla="*/ 6305174 h 6377102"/>
              <a:gd name="connsiteX3243" fmla="*/ 5375880 w 6423456"/>
              <a:gd name="connsiteY3243" fmla="*/ 6308294 h 6377102"/>
              <a:gd name="connsiteX3244" fmla="*/ 5379001 w 6423456"/>
              <a:gd name="connsiteY3244" fmla="*/ 6305174 h 6377102"/>
              <a:gd name="connsiteX3245" fmla="*/ 5469959 w 6423456"/>
              <a:gd name="connsiteY3245" fmla="*/ 6161164 h 6377102"/>
              <a:gd name="connsiteX3246" fmla="*/ 5466305 w 6423456"/>
              <a:gd name="connsiteY3246" fmla="*/ 6157510 h 6377102"/>
              <a:gd name="connsiteX3247" fmla="*/ 5462652 w 6423456"/>
              <a:gd name="connsiteY3247" fmla="*/ 6161164 h 6377102"/>
              <a:gd name="connsiteX3248" fmla="*/ 5466305 w 6423456"/>
              <a:gd name="connsiteY3248" fmla="*/ 6164817 h 6377102"/>
              <a:gd name="connsiteX3249" fmla="*/ 5469959 w 6423456"/>
              <a:gd name="connsiteY3249" fmla="*/ 6161164 h 6377102"/>
              <a:gd name="connsiteX3250" fmla="*/ 5555436 w 6423456"/>
              <a:gd name="connsiteY3250" fmla="*/ 6013347 h 6377102"/>
              <a:gd name="connsiteX3251" fmla="*/ 5550185 w 6423456"/>
              <a:gd name="connsiteY3251" fmla="*/ 6008095 h 6377102"/>
              <a:gd name="connsiteX3252" fmla="*/ 5544932 w 6423456"/>
              <a:gd name="connsiteY3252" fmla="*/ 6013347 h 6377102"/>
              <a:gd name="connsiteX3253" fmla="*/ 5550185 w 6423456"/>
              <a:gd name="connsiteY3253" fmla="*/ 6018599 h 6377102"/>
              <a:gd name="connsiteX3254" fmla="*/ 5555436 w 6423456"/>
              <a:gd name="connsiteY3254" fmla="*/ 6013347 h 6377102"/>
              <a:gd name="connsiteX3255" fmla="*/ 5633683 w 6423456"/>
              <a:gd name="connsiteY3255" fmla="*/ 5861802 h 6377102"/>
              <a:gd name="connsiteX3256" fmla="*/ 5627366 w 6423456"/>
              <a:gd name="connsiteY3256" fmla="*/ 5855484 h 6377102"/>
              <a:gd name="connsiteX3257" fmla="*/ 5621048 w 6423456"/>
              <a:gd name="connsiteY3257" fmla="*/ 5861802 h 6377102"/>
              <a:gd name="connsiteX3258" fmla="*/ 5627366 w 6423456"/>
              <a:gd name="connsiteY3258" fmla="*/ 5868119 h 6377102"/>
              <a:gd name="connsiteX3259" fmla="*/ 5633683 w 6423456"/>
              <a:gd name="connsiteY3259" fmla="*/ 5861802 h 6377102"/>
              <a:gd name="connsiteX3260" fmla="*/ 5705003 w 6423456"/>
              <a:gd name="connsiteY3260" fmla="*/ 5707059 h 6377102"/>
              <a:gd name="connsiteX3261" fmla="*/ 5697620 w 6423456"/>
              <a:gd name="connsiteY3261" fmla="*/ 5699676 h 6377102"/>
              <a:gd name="connsiteX3262" fmla="*/ 5690237 w 6423456"/>
              <a:gd name="connsiteY3262" fmla="*/ 5707059 h 6377102"/>
              <a:gd name="connsiteX3263" fmla="*/ 5697620 w 6423456"/>
              <a:gd name="connsiteY3263" fmla="*/ 5714442 h 6377102"/>
              <a:gd name="connsiteX3264" fmla="*/ 5705003 w 6423456"/>
              <a:gd name="connsiteY3264" fmla="*/ 5707059 h 6377102"/>
              <a:gd name="connsiteX3265" fmla="*/ 5769930 w 6423456"/>
              <a:gd name="connsiteY3265" fmla="*/ 5549272 h 6377102"/>
              <a:gd name="connsiteX3266" fmla="*/ 5761024 w 6423456"/>
              <a:gd name="connsiteY3266" fmla="*/ 5540366 h 6377102"/>
              <a:gd name="connsiteX3267" fmla="*/ 5752119 w 6423456"/>
              <a:gd name="connsiteY3267" fmla="*/ 5549272 h 6377102"/>
              <a:gd name="connsiteX3268" fmla="*/ 5761024 w 6423456"/>
              <a:gd name="connsiteY3268" fmla="*/ 5558177 h 6377102"/>
              <a:gd name="connsiteX3269" fmla="*/ 5769930 w 6423456"/>
              <a:gd name="connsiteY3269" fmla="*/ 5549272 h 6377102"/>
              <a:gd name="connsiteX3270" fmla="*/ 5827625 w 6423456"/>
              <a:gd name="connsiteY3270" fmla="*/ 5388744 h 6377102"/>
              <a:gd name="connsiteX3271" fmla="*/ 5817121 w 6423456"/>
              <a:gd name="connsiteY3271" fmla="*/ 5378240 h 6377102"/>
              <a:gd name="connsiteX3272" fmla="*/ 5806617 w 6423456"/>
              <a:gd name="connsiteY3272" fmla="*/ 5388744 h 6377102"/>
              <a:gd name="connsiteX3273" fmla="*/ 5817121 w 6423456"/>
              <a:gd name="connsiteY3273" fmla="*/ 5399248 h 6377102"/>
              <a:gd name="connsiteX3274" fmla="*/ 5827625 w 6423456"/>
              <a:gd name="connsiteY3274" fmla="*/ 5388744 h 6377102"/>
              <a:gd name="connsiteX3275" fmla="*/ 5878623 w 6423456"/>
              <a:gd name="connsiteY3275" fmla="*/ 5225933 h 6377102"/>
              <a:gd name="connsiteX3276" fmla="*/ 5865988 w 6423456"/>
              <a:gd name="connsiteY3276" fmla="*/ 5213298 h 6377102"/>
              <a:gd name="connsiteX3277" fmla="*/ 5853352 w 6423456"/>
              <a:gd name="connsiteY3277" fmla="*/ 5225933 h 6377102"/>
              <a:gd name="connsiteX3278" fmla="*/ 5865988 w 6423456"/>
              <a:gd name="connsiteY3278" fmla="*/ 5238568 h 6377102"/>
              <a:gd name="connsiteX3279" fmla="*/ 5878623 w 6423456"/>
              <a:gd name="connsiteY3279" fmla="*/ 5225933 h 6377102"/>
              <a:gd name="connsiteX3280" fmla="*/ 5921780 w 6423456"/>
              <a:gd name="connsiteY3280" fmla="*/ 5061067 h 6377102"/>
              <a:gd name="connsiteX3281" fmla="*/ 5907622 w 6423456"/>
              <a:gd name="connsiteY3281" fmla="*/ 5046910 h 6377102"/>
              <a:gd name="connsiteX3282" fmla="*/ 5893465 w 6423456"/>
              <a:gd name="connsiteY3282" fmla="*/ 5061067 h 6377102"/>
              <a:gd name="connsiteX3283" fmla="*/ 5907622 w 6423456"/>
              <a:gd name="connsiteY3283" fmla="*/ 5075225 h 6377102"/>
              <a:gd name="connsiteX3284" fmla="*/ 5921780 w 6423456"/>
              <a:gd name="connsiteY3284" fmla="*/ 5061067 h 6377102"/>
              <a:gd name="connsiteX3285" fmla="*/ 5957402 w 6423456"/>
              <a:gd name="connsiteY3285" fmla="*/ 4894527 h 6377102"/>
              <a:gd name="connsiteX3286" fmla="*/ 5941646 w 6423456"/>
              <a:gd name="connsiteY3286" fmla="*/ 4878771 h 6377102"/>
              <a:gd name="connsiteX3287" fmla="*/ 5925890 w 6423456"/>
              <a:gd name="connsiteY3287" fmla="*/ 4894527 h 6377102"/>
              <a:gd name="connsiteX3288" fmla="*/ 5941646 w 6423456"/>
              <a:gd name="connsiteY3288" fmla="*/ 4910283 h 6377102"/>
              <a:gd name="connsiteX3289" fmla="*/ 5957402 w 6423456"/>
              <a:gd name="connsiteY3289" fmla="*/ 4894527 h 6377102"/>
              <a:gd name="connsiteX3290" fmla="*/ 5986098 w 6423456"/>
              <a:gd name="connsiteY3290" fmla="*/ 4726616 h 6377102"/>
              <a:gd name="connsiteX3291" fmla="*/ 5968210 w 6423456"/>
              <a:gd name="connsiteY3291" fmla="*/ 4708729 h 6377102"/>
              <a:gd name="connsiteX3292" fmla="*/ 5950323 w 6423456"/>
              <a:gd name="connsiteY3292" fmla="*/ 4726616 h 6377102"/>
              <a:gd name="connsiteX3293" fmla="*/ 5968210 w 6423456"/>
              <a:gd name="connsiteY3293" fmla="*/ 4744503 h 6377102"/>
              <a:gd name="connsiteX3294" fmla="*/ 5986098 w 6423456"/>
              <a:gd name="connsiteY3294" fmla="*/ 4726616 h 6377102"/>
              <a:gd name="connsiteX3295" fmla="*/ 6007257 w 6423456"/>
              <a:gd name="connsiteY3295" fmla="*/ 4557640 h 6377102"/>
              <a:gd name="connsiteX3296" fmla="*/ 5987315 w 6423456"/>
              <a:gd name="connsiteY3296" fmla="*/ 4537697 h 6377102"/>
              <a:gd name="connsiteX3297" fmla="*/ 5967373 w 6423456"/>
              <a:gd name="connsiteY3297" fmla="*/ 4557640 h 6377102"/>
              <a:gd name="connsiteX3298" fmla="*/ 5987315 w 6423456"/>
              <a:gd name="connsiteY3298" fmla="*/ 4577582 h 6377102"/>
              <a:gd name="connsiteX3299" fmla="*/ 6007257 w 6423456"/>
              <a:gd name="connsiteY3299" fmla="*/ 4557640 h 6377102"/>
              <a:gd name="connsiteX3300" fmla="*/ 6020806 w 6423456"/>
              <a:gd name="connsiteY3300" fmla="*/ 4388055 h 6377102"/>
              <a:gd name="connsiteX3301" fmla="*/ 5998732 w 6423456"/>
              <a:gd name="connsiteY3301" fmla="*/ 4365981 h 6377102"/>
              <a:gd name="connsiteX3302" fmla="*/ 5976660 w 6423456"/>
              <a:gd name="connsiteY3302" fmla="*/ 4388055 h 6377102"/>
              <a:gd name="connsiteX3303" fmla="*/ 5998732 w 6423456"/>
              <a:gd name="connsiteY3303" fmla="*/ 4410128 h 6377102"/>
              <a:gd name="connsiteX3304" fmla="*/ 6020806 w 6423456"/>
              <a:gd name="connsiteY3304" fmla="*/ 4388055 h 6377102"/>
              <a:gd name="connsiteX3305" fmla="*/ 6026211 w 6423456"/>
              <a:gd name="connsiteY3305" fmla="*/ 4218013 h 6377102"/>
              <a:gd name="connsiteX3306" fmla="*/ 6002538 w 6423456"/>
              <a:gd name="connsiteY3306" fmla="*/ 4194341 h 6377102"/>
              <a:gd name="connsiteX3307" fmla="*/ 5978943 w 6423456"/>
              <a:gd name="connsiteY3307" fmla="*/ 4218013 h 6377102"/>
              <a:gd name="connsiteX3308" fmla="*/ 6002538 w 6423456"/>
              <a:gd name="connsiteY3308" fmla="*/ 4241685 h 6377102"/>
              <a:gd name="connsiteX3309" fmla="*/ 6026211 w 6423456"/>
              <a:gd name="connsiteY3309" fmla="*/ 4218013 h 6377102"/>
              <a:gd name="connsiteX3310" fmla="*/ 6024459 w 6423456"/>
              <a:gd name="connsiteY3310" fmla="*/ 4048047 h 6377102"/>
              <a:gd name="connsiteX3311" fmla="*/ 5998732 w 6423456"/>
              <a:gd name="connsiteY3311" fmla="*/ 4022320 h 6377102"/>
              <a:gd name="connsiteX3312" fmla="*/ 5973005 w 6423456"/>
              <a:gd name="connsiteY3312" fmla="*/ 4048047 h 6377102"/>
              <a:gd name="connsiteX3313" fmla="*/ 5998732 w 6423456"/>
              <a:gd name="connsiteY3313" fmla="*/ 4073774 h 6377102"/>
              <a:gd name="connsiteX3314" fmla="*/ 6024459 w 6423456"/>
              <a:gd name="connsiteY3314" fmla="*/ 4048047 h 6377102"/>
              <a:gd name="connsiteX3315" fmla="*/ 6015174 w 6423456"/>
              <a:gd name="connsiteY3315" fmla="*/ 3878462 h 6377102"/>
              <a:gd name="connsiteX3316" fmla="*/ 5987315 w 6423456"/>
              <a:gd name="connsiteY3316" fmla="*/ 3850603 h 6377102"/>
              <a:gd name="connsiteX3317" fmla="*/ 5959458 w 6423456"/>
              <a:gd name="connsiteY3317" fmla="*/ 3878462 h 6377102"/>
              <a:gd name="connsiteX3318" fmla="*/ 5987315 w 6423456"/>
              <a:gd name="connsiteY3318" fmla="*/ 3906320 h 6377102"/>
              <a:gd name="connsiteX3319" fmla="*/ 6015174 w 6423456"/>
              <a:gd name="connsiteY3319" fmla="*/ 3878462 h 6377102"/>
              <a:gd name="connsiteX3320" fmla="*/ 5998200 w 6423456"/>
              <a:gd name="connsiteY3320" fmla="*/ 3709485 h 6377102"/>
              <a:gd name="connsiteX3321" fmla="*/ 5968286 w 6423456"/>
              <a:gd name="connsiteY3321" fmla="*/ 3679572 h 6377102"/>
              <a:gd name="connsiteX3322" fmla="*/ 5938373 w 6423456"/>
              <a:gd name="connsiteY3322" fmla="*/ 3709485 h 6377102"/>
              <a:gd name="connsiteX3323" fmla="*/ 5968286 w 6423456"/>
              <a:gd name="connsiteY3323" fmla="*/ 3739399 h 6377102"/>
              <a:gd name="connsiteX3324" fmla="*/ 5998200 w 6423456"/>
              <a:gd name="connsiteY3324" fmla="*/ 3709485 h 6377102"/>
              <a:gd name="connsiteX3325" fmla="*/ 5973158 w 6423456"/>
              <a:gd name="connsiteY3325" fmla="*/ 3541575 h 6377102"/>
              <a:gd name="connsiteX3326" fmla="*/ 5941646 w 6423456"/>
              <a:gd name="connsiteY3326" fmla="*/ 3510063 h 6377102"/>
              <a:gd name="connsiteX3327" fmla="*/ 5910135 w 6423456"/>
              <a:gd name="connsiteY3327" fmla="*/ 3541575 h 6377102"/>
              <a:gd name="connsiteX3328" fmla="*/ 5941646 w 6423456"/>
              <a:gd name="connsiteY3328" fmla="*/ 3573087 h 6377102"/>
              <a:gd name="connsiteX3329" fmla="*/ 5973158 w 6423456"/>
              <a:gd name="connsiteY3329" fmla="*/ 3541575 h 6377102"/>
              <a:gd name="connsiteX3330" fmla="*/ 5941190 w 6423456"/>
              <a:gd name="connsiteY3330" fmla="*/ 3375034 h 6377102"/>
              <a:gd name="connsiteX3331" fmla="*/ 5907546 w 6423456"/>
              <a:gd name="connsiteY3331" fmla="*/ 3341391 h 6377102"/>
              <a:gd name="connsiteX3332" fmla="*/ 5873904 w 6423456"/>
              <a:gd name="connsiteY3332" fmla="*/ 3375034 h 6377102"/>
              <a:gd name="connsiteX3333" fmla="*/ 5907546 w 6423456"/>
              <a:gd name="connsiteY3333" fmla="*/ 3408677 h 6377102"/>
              <a:gd name="connsiteX3334" fmla="*/ 5941190 w 6423456"/>
              <a:gd name="connsiteY3334" fmla="*/ 3375034 h 6377102"/>
              <a:gd name="connsiteX3335" fmla="*/ 5901761 w 6423456"/>
              <a:gd name="connsiteY3335" fmla="*/ 3210168 h 6377102"/>
              <a:gd name="connsiteX3336" fmla="*/ 5866064 w 6423456"/>
              <a:gd name="connsiteY3336" fmla="*/ 3174470 h 6377102"/>
              <a:gd name="connsiteX3337" fmla="*/ 5830365 w 6423456"/>
              <a:gd name="connsiteY3337" fmla="*/ 3210168 h 6377102"/>
              <a:gd name="connsiteX3338" fmla="*/ 5866064 w 6423456"/>
              <a:gd name="connsiteY3338" fmla="*/ 3245866 h 6377102"/>
              <a:gd name="connsiteX3339" fmla="*/ 5901761 w 6423456"/>
              <a:gd name="connsiteY3339" fmla="*/ 3210168 h 6377102"/>
              <a:gd name="connsiteX3340" fmla="*/ 5854418 w 6423456"/>
              <a:gd name="connsiteY3340" fmla="*/ 3047357 h 6377102"/>
              <a:gd name="connsiteX3341" fmla="*/ 5817121 w 6423456"/>
              <a:gd name="connsiteY3341" fmla="*/ 3010061 h 6377102"/>
              <a:gd name="connsiteX3342" fmla="*/ 5779824 w 6423456"/>
              <a:gd name="connsiteY3342" fmla="*/ 3047357 h 6377102"/>
              <a:gd name="connsiteX3343" fmla="*/ 5817121 w 6423456"/>
              <a:gd name="connsiteY3343" fmla="*/ 3084654 h 6377102"/>
              <a:gd name="connsiteX3344" fmla="*/ 5854418 w 6423456"/>
              <a:gd name="connsiteY3344" fmla="*/ 3047357 h 6377102"/>
              <a:gd name="connsiteX3345" fmla="*/ 5799843 w 6423456"/>
              <a:gd name="connsiteY3345" fmla="*/ 2886830 h 6377102"/>
              <a:gd name="connsiteX3346" fmla="*/ 5760948 w 6423456"/>
              <a:gd name="connsiteY3346" fmla="*/ 2847935 h 6377102"/>
              <a:gd name="connsiteX3347" fmla="*/ 5722053 w 6423456"/>
              <a:gd name="connsiteY3347" fmla="*/ 2886830 h 6377102"/>
              <a:gd name="connsiteX3348" fmla="*/ 5760948 w 6423456"/>
              <a:gd name="connsiteY3348" fmla="*/ 2925725 h 6377102"/>
              <a:gd name="connsiteX3349" fmla="*/ 5799843 w 6423456"/>
              <a:gd name="connsiteY3349" fmla="*/ 2886830 h 6377102"/>
              <a:gd name="connsiteX3350" fmla="*/ 5737581 w 6423456"/>
              <a:gd name="connsiteY3350" fmla="*/ 2729043 h 6377102"/>
              <a:gd name="connsiteX3351" fmla="*/ 5697696 w 6423456"/>
              <a:gd name="connsiteY3351" fmla="*/ 2689158 h 6377102"/>
              <a:gd name="connsiteX3352" fmla="*/ 5657736 w 6423456"/>
              <a:gd name="connsiteY3352" fmla="*/ 2729043 h 6377102"/>
              <a:gd name="connsiteX3353" fmla="*/ 5697696 w 6423456"/>
              <a:gd name="connsiteY3353" fmla="*/ 2768927 h 6377102"/>
              <a:gd name="connsiteX3354" fmla="*/ 5737581 w 6423456"/>
              <a:gd name="connsiteY3354" fmla="*/ 2729043 h 6377102"/>
              <a:gd name="connsiteX3355" fmla="*/ 5668848 w 6423456"/>
              <a:gd name="connsiteY3355" fmla="*/ 2574224 h 6377102"/>
              <a:gd name="connsiteX3356" fmla="*/ 5627366 w 6423456"/>
              <a:gd name="connsiteY3356" fmla="*/ 2532741 h 6377102"/>
              <a:gd name="connsiteX3357" fmla="*/ 5585882 w 6423456"/>
              <a:gd name="connsiteY3357" fmla="*/ 2574224 h 6377102"/>
              <a:gd name="connsiteX3358" fmla="*/ 5627366 w 6423456"/>
              <a:gd name="connsiteY3358" fmla="*/ 2615707 h 6377102"/>
              <a:gd name="connsiteX3359" fmla="*/ 5668848 w 6423456"/>
              <a:gd name="connsiteY3359" fmla="*/ 2574224 h 6377102"/>
              <a:gd name="connsiteX3360" fmla="*/ 5592733 w 6423456"/>
              <a:gd name="connsiteY3360" fmla="*/ 2422754 h 6377102"/>
              <a:gd name="connsiteX3361" fmla="*/ 5550185 w 6423456"/>
              <a:gd name="connsiteY3361" fmla="*/ 2380206 h 6377102"/>
              <a:gd name="connsiteX3362" fmla="*/ 5507636 w 6423456"/>
              <a:gd name="connsiteY3362" fmla="*/ 2422754 h 6377102"/>
              <a:gd name="connsiteX3363" fmla="*/ 5550185 w 6423456"/>
              <a:gd name="connsiteY3363" fmla="*/ 2465303 h 6377102"/>
              <a:gd name="connsiteX3364" fmla="*/ 5592733 w 6423456"/>
              <a:gd name="connsiteY3364" fmla="*/ 2422754 h 6377102"/>
              <a:gd name="connsiteX3365" fmla="*/ 5509919 w 6423456"/>
              <a:gd name="connsiteY3365" fmla="*/ 2274938 h 6377102"/>
              <a:gd name="connsiteX3366" fmla="*/ 5466305 w 6423456"/>
              <a:gd name="connsiteY3366" fmla="*/ 2231324 h 6377102"/>
              <a:gd name="connsiteX3367" fmla="*/ 5422691 w 6423456"/>
              <a:gd name="connsiteY3367" fmla="*/ 2274938 h 6377102"/>
              <a:gd name="connsiteX3368" fmla="*/ 5466305 w 6423456"/>
              <a:gd name="connsiteY3368" fmla="*/ 2318552 h 6377102"/>
              <a:gd name="connsiteX3369" fmla="*/ 5509919 w 6423456"/>
              <a:gd name="connsiteY3369" fmla="*/ 2274938 h 6377102"/>
              <a:gd name="connsiteX3370" fmla="*/ 5419951 w 6423456"/>
              <a:gd name="connsiteY3370" fmla="*/ 2130928 h 6377102"/>
              <a:gd name="connsiteX3371" fmla="*/ 5375804 w 6423456"/>
              <a:gd name="connsiteY3371" fmla="*/ 2086781 h 6377102"/>
              <a:gd name="connsiteX3372" fmla="*/ 5331658 w 6423456"/>
              <a:gd name="connsiteY3372" fmla="*/ 2130928 h 6377102"/>
              <a:gd name="connsiteX3373" fmla="*/ 5375804 w 6423456"/>
              <a:gd name="connsiteY3373" fmla="*/ 2175074 h 6377102"/>
              <a:gd name="connsiteX3374" fmla="*/ 5419951 w 6423456"/>
              <a:gd name="connsiteY3374" fmla="*/ 2130928 h 6377102"/>
              <a:gd name="connsiteX3375" fmla="*/ 5323665 w 6423456"/>
              <a:gd name="connsiteY3375" fmla="*/ 1991180 h 6377102"/>
              <a:gd name="connsiteX3376" fmla="*/ 5278985 w 6423456"/>
              <a:gd name="connsiteY3376" fmla="*/ 1946576 h 6377102"/>
              <a:gd name="connsiteX3377" fmla="*/ 5234306 w 6423456"/>
              <a:gd name="connsiteY3377" fmla="*/ 1991180 h 6377102"/>
              <a:gd name="connsiteX3378" fmla="*/ 5278985 w 6423456"/>
              <a:gd name="connsiteY3378" fmla="*/ 2035859 h 6377102"/>
              <a:gd name="connsiteX3379" fmla="*/ 5323665 w 6423456"/>
              <a:gd name="connsiteY3379" fmla="*/ 1991180 h 6377102"/>
              <a:gd name="connsiteX3380" fmla="*/ 5221214 w 6423456"/>
              <a:gd name="connsiteY3380" fmla="*/ 1855922 h 6377102"/>
              <a:gd name="connsiteX3381" fmla="*/ 5176001 w 6423456"/>
              <a:gd name="connsiteY3381" fmla="*/ 1810710 h 6377102"/>
              <a:gd name="connsiteX3382" fmla="*/ 5130865 w 6423456"/>
              <a:gd name="connsiteY3382" fmla="*/ 1855922 h 6377102"/>
              <a:gd name="connsiteX3383" fmla="*/ 5176001 w 6423456"/>
              <a:gd name="connsiteY3383" fmla="*/ 1901135 h 6377102"/>
              <a:gd name="connsiteX3384" fmla="*/ 5221214 w 6423456"/>
              <a:gd name="connsiteY3384" fmla="*/ 1855922 h 6377102"/>
              <a:gd name="connsiteX3385" fmla="*/ 5112750 w 6423456"/>
              <a:gd name="connsiteY3385" fmla="*/ 1725385 h 6377102"/>
              <a:gd name="connsiteX3386" fmla="*/ 5067080 w 6423456"/>
              <a:gd name="connsiteY3386" fmla="*/ 1679715 h 6377102"/>
              <a:gd name="connsiteX3387" fmla="*/ 5021411 w 6423456"/>
              <a:gd name="connsiteY3387" fmla="*/ 1725385 h 6377102"/>
              <a:gd name="connsiteX3388" fmla="*/ 5067080 w 6423456"/>
              <a:gd name="connsiteY3388" fmla="*/ 1771054 h 6377102"/>
              <a:gd name="connsiteX3389" fmla="*/ 5112750 w 6423456"/>
              <a:gd name="connsiteY3389" fmla="*/ 1725385 h 6377102"/>
              <a:gd name="connsiteX3390" fmla="*/ 4998043 w 6423456"/>
              <a:gd name="connsiteY3390" fmla="*/ 1599946 h 6377102"/>
              <a:gd name="connsiteX3391" fmla="*/ 4952374 w 6423456"/>
              <a:gd name="connsiteY3391" fmla="*/ 1554277 h 6377102"/>
              <a:gd name="connsiteX3392" fmla="*/ 4906705 w 6423456"/>
              <a:gd name="connsiteY3392" fmla="*/ 1599946 h 6377102"/>
              <a:gd name="connsiteX3393" fmla="*/ 4952374 w 6423456"/>
              <a:gd name="connsiteY3393" fmla="*/ 1645616 h 6377102"/>
              <a:gd name="connsiteX3394" fmla="*/ 4998043 w 6423456"/>
              <a:gd name="connsiteY3394" fmla="*/ 1599946 h 6377102"/>
              <a:gd name="connsiteX3395" fmla="*/ 4877857 w 6423456"/>
              <a:gd name="connsiteY3395" fmla="*/ 1479684 h 6377102"/>
              <a:gd name="connsiteX3396" fmla="*/ 4832187 w 6423456"/>
              <a:gd name="connsiteY3396" fmla="*/ 1434015 h 6377102"/>
              <a:gd name="connsiteX3397" fmla="*/ 4786518 w 6423456"/>
              <a:gd name="connsiteY3397" fmla="*/ 1479684 h 6377102"/>
              <a:gd name="connsiteX3398" fmla="*/ 4832187 w 6423456"/>
              <a:gd name="connsiteY3398" fmla="*/ 1525353 h 6377102"/>
              <a:gd name="connsiteX3399" fmla="*/ 4877857 w 6423456"/>
              <a:gd name="connsiteY3399" fmla="*/ 1479684 h 6377102"/>
              <a:gd name="connsiteX3400" fmla="*/ 4752342 w 6423456"/>
              <a:gd name="connsiteY3400" fmla="*/ 1364978 h 6377102"/>
              <a:gd name="connsiteX3401" fmla="*/ 4706673 w 6423456"/>
              <a:gd name="connsiteY3401" fmla="*/ 1319309 h 6377102"/>
              <a:gd name="connsiteX3402" fmla="*/ 4661004 w 6423456"/>
              <a:gd name="connsiteY3402" fmla="*/ 1364978 h 6377102"/>
              <a:gd name="connsiteX3403" fmla="*/ 4706673 w 6423456"/>
              <a:gd name="connsiteY3403" fmla="*/ 1410647 h 6377102"/>
              <a:gd name="connsiteX3404" fmla="*/ 4752342 w 6423456"/>
              <a:gd name="connsiteY3404" fmla="*/ 1364978 h 6377102"/>
              <a:gd name="connsiteX3405" fmla="*/ 4621272 w 6423456"/>
              <a:gd name="connsiteY3405" fmla="*/ 1256057 h 6377102"/>
              <a:gd name="connsiteX3406" fmla="*/ 4576060 w 6423456"/>
              <a:gd name="connsiteY3406" fmla="*/ 1210844 h 6377102"/>
              <a:gd name="connsiteX3407" fmla="*/ 4530923 w 6423456"/>
              <a:gd name="connsiteY3407" fmla="*/ 1256057 h 6377102"/>
              <a:gd name="connsiteX3408" fmla="*/ 4576060 w 6423456"/>
              <a:gd name="connsiteY3408" fmla="*/ 1301269 h 6377102"/>
              <a:gd name="connsiteX3409" fmla="*/ 4621272 w 6423456"/>
              <a:gd name="connsiteY3409" fmla="*/ 1256057 h 6377102"/>
              <a:gd name="connsiteX3410" fmla="*/ 4485482 w 6423456"/>
              <a:gd name="connsiteY3410" fmla="*/ 1153073 h 6377102"/>
              <a:gd name="connsiteX3411" fmla="*/ 4440879 w 6423456"/>
              <a:gd name="connsiteY3411" fmla="*/ 1108393 h 6377102"/>
              <a:gd name="connsiteX3412" fmla="*/ 4396199 w 6423456"/>
              <a:gd name="connsiteY3412" fmla="*/ 1153073 h 6377102"/>
              <a:gd name="connsiteX3413" fmla="*/ 4440879 w 6423456"/>
              <a:gd name="connsiteY3413" fmla="*/ 1197752 h 6377102"/>
              <a:gd name="connsiteX3414" fmla="*/ 4485482 w 6423456"/>
              <a:gd name="connsiteY3414" fmla="*/ 1153073 h 6377102"/>
              <a:gd name="connsiteX3415" fmla="*/ 4345201 w 6423456"/>
              <a:gd name="connsiteY3415" fmla="*/ 1056254 h 6377102"/>
              <a:gd name="connsiteX3416" fmla="*/ 4301055 w 6423456"/>
              <a:gd name="connsiteY3416" fmla="*/ 1012107 h 6377102"/>
              <a:gd name="connsiteX3417" fmla="*/ 4256907 w 6423456"/>
              <a:gd name="connsiteY3417" fmla="*/ 1056254 h 6377102"/>
              <a:gd name="connsiteX3418" fmla="*/ 4301055 w 6423456"/>
              <a:gd name="connsiteY3418" fmla="*/ 1100401 h 6377102"/>
              <a:gd name="connsiteX3419" fmla="*/ 4345201 w 6423456"/>
              <a:gd name="connsiteY3419" fmla="*/ 1056254 h 6377102"/>
              <a:gd name="connsiteX3420" fmla="*/ 4200734 w 6423456"/>
              <a:gd name="connsiteY3420" fmla="*/ 965753 h 6377102"/>
              <a:gd name="connsiteX3421" fmla="*/ 4157120 w 6423456"/>
              <a:gd name="connsiteY3421" fmla="*/ 922138 h 6377102"/>
              <a:gd name="connsiteX3422" fmla="*/ 4113506 w 6423456"/>
              <a:gd name="connsiteY3422" fmla="*/ 965753 h 6377102"/>
              <a:gd name="connsiteX3423" fmla="*/ 4157120 w 6423456"/>
              <a:gd name="connsiteY3423" fmla="*/ 1009367 h 6377102"/>
              <a:gd name="connsiteX3424" fmla="*/ 4200734 w 6423456"/>
              <a:gd name="connsiteY3424" fmla="*/ 965753 h 6377102"/>
              <a:gd name="connsiteX3425" fmla="*/ 4051853 w 6423456"/>
              <a:gd name="connsiteY3425" fmla="*/ 881873 h 6377102"/>
              <a:gd name="connsiteX3426" fmla="*/ 4009303 w 6423456"/>
              <a:gd name="connsiteY3426" fmla="*/ 839325 h 6377102"/>
              <a:gd name="connsiteX3427" fmla="*/ 3966755 w 6423456"/>
              <a:gd name="connsiteY3427" fmla="*/ 881873 h 6377102"/>
              <a:gd name="connsiteX3428" fmla="*/ 4009303 w 6423456"/>
              <a:gd name="connsiteY3428" fmla="*/ 924422 h 6377102"/>
              <a:gd name="connsiteX3429" fmla="*/ 4051853 w 6423456"/>
              <a:gd name="connsiteY3429" fmla="*/ 881873 h 6377102"/>
              <a:gd name="connsiteX3430" fmla="*/ 3899317 w 6423456"/>
              <a:gd name="connsiteY3430" fmla="*/ 804692 h 6377102"/>
              <a:gd name="connsiteX3431" fmla="*/ 3857835 w 6423456"/>
              <a:gd name="connsiteY3431" fmla="*/ 763209 h 6377102"/>
              <a:gd name="connsiteX3432" fmla="*/ 3816351 w 6423456"/>
              <a:gd name="connsiteY3432" fmla="*/ 804692 h 6377102"/>
              <a:gd name="connsiteX3433" fmla="*/ 3857835 w 6423456"/>
              <a:gd name="connsiteY3433" fmla="*/ 846175 h 6377102"/>
              <a:gd name="connsiteX3434" fmla="*/ 3899317 w 6423456"/>
              <a:gd name="connsiteY3434" fmla="*/ 804692 h 6377102"/>
              <a:gd name="connsiteX3435" fmla="*/ 3742899 w 6423456"/>
              <a:gd name="connsiteY3435" fmla="*/ 734362 h 6377102"/>
              <a:gd name="connsiteX3436" fmla="*/ 3703015 w 6423456"/>
              <a:gd name="connsiteY3436" fmla="*/ 694477 h 6377102"/>
              <a:gd name="connsiteX3437" fmla="*/ 3663054 w 6423456"/>
              <a:gd name="connsiteY3437" fmla="*/ 734362 h 6377102"/>
              <a:gd name="connsiteX3438" fmla="*/ 3703015 w 6423456"/>
              <a:gd name="connsiteY3438" fmla="*/ 774246 h 6377102"/>
              <a:gd name="connsiteX3439" fmla="*/ 3742899 w 6423456"/>
              <a:gd name="connsiteY3439" fmla="*/ 734362 h 6377102"/>
              <a:gd name="connsiteX3440" fmla="*/ 3584047 w 6423456"/>
              <a:gd name="connsiteY3440" fmla="*/ 671110 h 6377102"/>
              <a:gd name="connsiteX3441" fmla="*/ 3545152 w 6423456"/>
              <a:gd name="connsiteY3441" fmla="*/ 632215 h 6377102"/>
              <a:gd name="connsiteX3442" fmla="*/ 3506257 w 6423456"/>
              <a:gd name="connsiteY3442" fmla="*/ 671110 h 6377102"/>
              <a:gd name="connsiteX3443" fmla="*/ 3545152 w 6423456"/>
              <a:gd name="connsiteY3443" fmla="*/ 710005 h 6377102"/>
              <a:gd name="connsiteX3444" fmla="*/ 3584047 w 6423456"/>
              <a:gd name="connsiteY3444" fmla="*/ 671110 h 6377102"/>
              <a:gd name="connsiteX3445" fmla="*/ 3421998 w 6423456"/>
              <a:gd name="connsiteY3445" fmla="*/ 614937 h 6377102"/>
              <a:gd name="connsiteX3446" fmla="*/ 3384701 w 6423456"/>
              <a:gd name="connsiteY3446" fmla="*/ 577640 h 6377102"/>
              <a:gd name="connsiteX3447" fmla="*/ 3347404 w 6423456"/>
              <a:gd name="connsiteY3447" fmla="*/ 614937 h 6377102"/>
              <a:gd name="connsiteX3448" fmla="*/ 3384701 w 6423456"/>
              <a:gd name="connsiteY3448" fmla="*/ 652233 h 6377102"/>
              <a:gd name="connsiteX3449" fmla="*/ 3421998 w 6423456"/>
              <a:gd name="connsiteY3449" fmla="*/ 614937 h 6377102"/>
              <a:gd name="connsiteX3450" fmla="*/ 3257587 w 6423456"/>
              <a:gd name="connsiteY3450" fmla="*/ 565994 h 6377102"/>
              <a:gd name="connsiteX3451" fmla="*/ 3221890 w 6423456"/>
              <a:gd name="connsiteY3451" fmla="*/ 530296 h 6377102"/>
              <a:gd name="connsiteX3452" fmla="*/ 3186191 w 6423456"/>
              <a:gd name="connsiteY3452" fmla="*/ 565994 h 6377102"/>
              <a:gd name="connsiteX3453" fmla="*/ 3221890 w 6423456"/>
              <a:gd name="connsiteY3453" fmla="*/ 601692 h 6377102"/>
              <a:gd name="connsiteX3454" fmla="*/ 3257587 w 6423456"/>
              <a:gd name="connsiteY3454" fmla="*/ 565994 h 6377102"/>
              <a:gd name="connsiteX3455" fmla="*/ 3090667 w 6423456"/>
              <a:gd name="connsiteY3455" fmla="*/ 524511 h 6377102"/>
              <a:gd name="connsiteX3456" fmla="*/ 3057024 w 6423456"/>
              <a:gd name="connsiteY3456" fmla="*/ 490868 h 6377102"/>
              <a:gd name="connsiteX3457" fmla="*/ 3023381 w 6423456"/>
              <a:gd name="connsiteY3457" fmla="*/ 524511 h 6377102"/>
              <a:gd name="connsiteX3458" fmla="*/ 3057024 w 6423456"/>
              <a:gd name="connsiteY3458" fmla="*/ 558154 h 6377102"/>
              <a:gd name="connsiteX3459" fmla="*/ 3090667 w 6423456"/>
              <a:gd name="connsiteY3459" fmla="*/ 524511 h 6377102"/>
              <a:gd name="connsiteX3460" fmla="*/ 2921995 w 6423456"/>
              <a:gd name="connsiteY3460" fmla="*/ 490412 h 6377102"/>
              <a:gd name="connsiteX3461" fmla="*/ 2890483 w 6423456"/>
              <a:gd name="connsiteY3461" fmla="*/ 458900 h 6377102"/>
              <a:gd name="connsiteX3462" fmla="*/ 2858971 w 6423456"/>
              <a:gd name="connsiteY3462" fmla="*/ 490412 h 6377102"/>
              <a:gd name="connsiteX3463" fmla="*/ 2890483 w 6423456"/>
              <a:gd name="connsiteY3463" fmla="*/ 521924 h 6377102"/>
              <a:gd name="connsiteX3464" fmla="*/ 2921995 w 6423456"/>
              <a:gd name="connsiteY3464" fmla="*/ 490412 h 6377102"/>
              <a:gd name="connsiteX3465" fmla="*/ 2752486 w 6423456"/>
              <a:gd name="connsiteY3465" fmla="*/ 463771 h 6377102"/>
              <a:gd name="connsiteX3466" fmla="*/ 2722573 w 6423456"/>
              <a:gd name="connsiteY3466" fmla="*/ 433858 h 6377102"/>
              <a:gd name="connsiteX3467" fmla="*/ 2692659 w 6423456"/>
              <a:gd name="connsiteY3467" fmla="*/ 463771 h 6377102"/>
              <a:gd name="connsiteX3468" fmla="*/ 2722573 w 6423456"/>
              <a:gd name="connsiteY3468" fmla="*/ 493685 h 6377102"/>
              <a:gd name="connsiteX3469" fmla="*/ 2752486 w 6423456"/>
              <a:gd name="connsiteY3469" fmla="*/ 463771 h 6377102"/>
              <a:gd name="connsiteX3470" fmla="*/ 2581454 w 6423456"/>
              <a:gd name="connsiteY3470" fmla="*/ 444742 h 6377102"/>
              <a:gd name="connsiteX3471" fmla="*/ 2553596 w 6423456"/>
              <a:gd name="connsiteY3471" fmla="*/ 416884 h 6377102"/>
              <a:gd name="connsiteX3472" fmla="*/ 2525738 w 6423456"/>
              <a:gd name="connsiteY3472" fmla="*/ 444742 h 6377102"/>
              <a:gd name="connsiteX3473" fmla="*/ 2553596 w 6423456"/>
              <a:gd name="connsiteY3473" fmla="*/ 472601 h 6377102"/>
              <a:gd name="connsiteX3474" fmla="*/ 2581454 w 6423456"/>
              <a:gd name="connsiteY3474" fmla="*/ 444742 h 6377102"/>
              <a:gd name="connsiteX3475" fmla="*/ 2409739 w 6423456"/>
              <a:gd name="connsiteY3475" fmla="*/ 433325 h 6377102"/>
              <a:gd name="connsiteX3476" fmla="*/ 2384012 w 6423456"/>
              <a:gd name="connsiteY3476" fmla="*/ 407598 h 6377102"/>
              <a:gd name="connsiteX3477" fmla="*/ 2358284 w 6423456"/>
              <a:gd name="connsiteY3477" fmla="*/ 433325 h 6377102"/>
              <a:gd name="connsiteX3478" fmla="*/ 2384012 w 6423456"/>
              <a:gd name="connsiteY3478" fmla="*/ 459052 h 6377102"/>
              <a:gd name="connsiteX3479" fmla="*/ 2409739 w 6423456"/>
              <a:gd name="connsiteY3479" fmla="*/ 433325 h 6377102"/>
              <a:gd name="connsiteX3480" fmla="*/ 2237641 w 6423456"/>
              <a:gd name="connsiteY3480" fmla="*/ 429519 h 6377102"/>
              <a:gd name="connsiteX3481" fmla="*/ 2213969 w 6423456"/>
              <a:gd name="connsiteY3481" fmla="*/ 405847 h 6377102"/>
              <a:gd name="connsiteX3482" fmla="*/ 2190373 w 6423456"/>
              <a:gd name="connsiteY3482" fmla="*/ 429519 h 6377102"/>
              <a:gd name="connsiteX3483" fmla="*/ 2213969 w 6423456"/>
              <a:gd name="connsiteY3483" fmla="*/ 453191 h 6377102"/>
              <a:gd name="connsiteX3484" fmla="*/ 2237641 w 6423456"/>
              <a:gd name="connsiteY3484" fmla="*/ 429519 h 6377102"/>
              <a:gd name="connsiteX3485" fmla="*/ 2066077 w 6423456"/>
              <a:gd name="connsiteY3485" fmla="*/ 433325 h 6377102"/>
              <a:gd name="connsiteX3486" fmla="*/ 2044004 w 6423456"/>
              <a:gd name="connsiteY3486" fmla="*/ 411252 h 6377102"/>
              <a:gd name="connsiteX3487" fmla="*/ 2021930 w 6423456"/>
              <a:gd name="connsiteY3487" fmla="*/ 433325 h 6377102"/>
              <a:gd name="connsiteX3488" fmla="*/ 2044004 w 6423456"/>
              <a:gd name="connsiteY3488" fmla="*/ 455399 h 6377102"/>
              <a:gd name="connsiteX3489" fmla="*/ 2066077 w 6423456"/>
              <a:gd name="connsiteY3489" fmla="*/ 433325 h 6377102"/>
              <a:gd name="connsiteX3490" fmla="*/ 1894360 w 6423456"/>
              <a:gd name="connsiteY3490" fmla="*/ 444742 h 6377102"/>
              <a:gd name="connsiteX3491" fmla="*/ 1874418 w 6423456"/>
              <a:gd name="connsiteY3491" fmla="*/ 424800 h 6377102"/>
              <a:gd name="connsiteX3492" fmla="*/ 1854476 w 6423456"/>
              <a:gd name="connsiteY3492" fmla="*/ 444742 h 6377102"/>
              <a:gd name="connsiteX3493" fmla="*/ 1874418 w 6423456"/>
              <a:gd name="connsiteY3493" fmla="*/ 464685 h 6377102"/>
              <a:gd name="connsiteX3494" fmla="*/ 1894360 w 6423456"/>
              <a:gd name="connsiteY3494" fmla="*/ 444742 h 6377102"/>
              <a:gd name="connsiteX3495" fmla="*/ 1723329 w 6423456"/>
              <a:gd name="connsiteY3495" fmla="*/ 463771 h 6377102"/>
              <a:gd name="connsiteX3496" fmla="*/ 1705442 w 6423456"/>
              <a:gd name="connsiteY3496" fmla="*/ 445884 h 6377102"/>
              <a:gd name="connsiteX3497" fmla="*/ 1687555 w 6423456"/>
              <a:gd name="connsiteY3497" fmla="*/ 463771 h 6377102"/>
              <a:gd name="connsiteX3498" fmla="*/ 1705442 w 6423456"/>
              <a:gd name="connsiteY3498" fmla="*/ 481658 h 6377102"/>
              <a:gd name="connsiteX3499" fmla="*/ 1723329 w 6423456"/>
              <a:gd name="connsiteY3499" fmla="*/ 463771 h 6377102"/>
              <a:gd name="connsiteX3500" fmla="*/ 1553287 w 6423456"/>
              <a:gd name="connsiteY3500" fmla="*/ 490412 h 6377102"/>
              <a:gd name="connsiteX3501" fmla="*/ 1537532 w 6423456"/>
              <a:gd name="connsiteY3501" fmla="*/ 474656 h 6377102"/>
              <a:gd name="connsiteX3502" fmla="*/ 1521776 w 6423456"/>
              <a:gd name="connsiteY3502" fmla="*/ 490412 h 6377102"/>
              <a:gd name="connsiteX3503" fmla="*/ 1537532 w 6423456"/>
              <a:gd name="connsiteY3503" fmla="*/ 506168 h 6377102"/>
              <a:gd name="connsiteX3504" fmla="*/ 1553287 w 6423456"/>
              <a:gd name="connsiteY3504" fmla="*/ 490412 h 6377102"/>
              <a:gd name="connsiteX3505" fmla="*/ 1385148 w 6423456"/>
              <a:gd name="connsiteY3505" fmla="*/ 524511 h 6377102"/>
              <a:gd name="connsiteX3506" fmla="*/ 1370991 w 6423456"/>
              <a:gd name="connsiteY3506" fmla="*/ 510354 h 6377102"/>
              <a:gd name="connsiteX3507" fmla="*/ 1356833 w 6423456"/>
              <a:gd name="connsiteY3507" fmla="*/ 524511 h 6377102"/>
              <a:gd name="connsiteX3508" fmla="*/ 1370991 w 6423456"/>
              <a:gd name="connsiteY3508" fmla="*/ 538669 h 6377102"/>
              <a:gd name="connsiteX3509" fmla="*/ 1385148 w 6423456"/>
              <a:gd name="connsiteY3509" fmla="*/ 524511 h 6377102"/>
              <a:gd name="connsiteX3510" fmla="*/ 1218760 w 6423456"/>
              <a:gd name="connsiteY3510" fmla="*/ 565994 h 6377102"/>
              <a:gd name="connsiteX3511" fmla="*/ 1206125 w 6423456"/>
              <a:gd name="connsiteY3511" fmla="*/ 553359 h 6377102"/>
              <a:gd name="connsiteX3512" fmla="*/ 1193490 w 6423456"/>
              <a:gd name="connsiteY3512" fmla="*/ 565994 h 6377102"/>
              <a:gd name="connsiteX3513" fmla="*/ 1206125 w 6423456"/>
              <a:gd name="connsiteY3513" fmla="*/ 578630 h 6377102"/>
              <a:gd name="connsiteX3514" fmla="*/ 1218760 w 6423456"/>
              <a:gd name="connsiteY3514" fmla="*/ 565994 h 6377102"/>
              <a:gd name="connsiteX3515" fmla="*/ 1053818 w 6423456"/>
              <a:gd name="connsiteY3515" fmla="*/ 614937 h 6377102"/>
              <a:gd name="connsiteX3516" fmla="*/ 1043314 w 6423456"/>
              <a:gd name="connsiteY3516" fmla="*/ 604433 h 6377102"/>
              <a:gd name="connsiteX3517" fmla="*/ 1032810 w 6423456"/>
              <a:gd name="connsiteY3517" fmla="*/ 614937 h 6377102"/>
              <a:gd name="connsiteX3518" fmla="*/ 1043314 w 6423456"/>
              <a:gd name="connsiteY3518" fmla="*/ 625440 h 6377102"/>
              <a:gd name="connsiteX3519" fmla="*/ 1053818 w 6423456"/>
              <a:gd name="connsiteY3519" fmla="*/ 614937 h 6377102"/>
              <a:gd name="connsiteX3520" fmla="*/ 891768 w 6423456"/>
              <a:gd name="connsiteY3520" fmla="*/ 671110 h 6377102"/>
              <a:gd name="connsiteX3521" fmla="*/ 882863 w 6423456"/>
              <a:gd name="connsiteY3521" fmla="*/ 662204 h 6377102"/>
              <a:gd name="connsiteX3522" fmla="*/ 873957 w 6423456"/>
              <a:gd name="connsiteY3522" fmla="*/ 671110 h 6377102"/>
              <a:gd name="connsiteX3523" fmla="*/ 882863 w 6423456"/>
              <a:gd name="connsiteY3523" fmla="*/ 680015 h 6377102"/>
              <a:gd name="connsiteX3524" fmla="*/ 891768 w 6423456"/>
              <a:gd name="connsiteY3524" fmla="*/ 671110 h 6377102"/>
              <a:gd name="connsiteX3525" fmla="*/ 732382 w 6423456"/>
              <a:gd name="connsiteY3525" fmla="*/ 734362 h 6377102"/>
              <a:gd name="connsiteX3526" fmla="*/ 724999 w 6423456"/>
              <a:gd name="connsiteY3526" fmla="*/ 726978 h 6377102"/>
              <a:gd name="connsiteX3527" fmla="*/ 717616 w 6423456"/>
              <a:gd name="connsiteY3527" fmla="*/ 734362 h 6377102"/>
              <a:gd name="connsiteX3528" fmla="*/ 724999 w 6423456"/>
              <a:gd name="connsiteY3528" fmla="*/ 741745 h 6377102"/>
              <a:gd name="connsiteX3529" fmla="*/ 732382 w 6423456"/>
              <a:gd name="connsiteY3529" fmla="*/ 734362 h 6377102"/>
              <a:gd name="connsiteX3530" fmla="*/ 576498 w 6423456"/>
              <a:gd name="connsiteY3530" fmla="*/ 804692 h 6377102"/>
              <a:gd name="connsiteX3531" fmla="*/ 570180 w 6423456"/>
              <a:gd name="connsiteY3531" fmla="*/ 798375 h 6377102"/>
              <a:gd name="connsiteX3532" fmla="*/ 563863 w 6423456"/>
              <a:gd name="connsiteY3532" fmla="*/ 804692 h 6377102"/>
              <a:gd name="connsiteX3533" fmla="*/ 570180 w 6423456"/>
              <a:gd name="connsiteY3533" fmla="*/ 811010 h 6377102"/>
              <a:gd name="connsiteX3534" fmla="*/ 576498 w 6423456"/>
              <a:gd name="connsiteY3534" fmla="*/ 804692 h 6377102"/>
              <a:gd name="connsiteX3535" fmla="*/ 423963 w 6423456"/>
              <a:gd name="connsiteY3535" fmla="*/ 881873 h 6377102"/>
              <a:gd name="connsiteX3536" fmla="*/ 418711 w 6423456"/>
              <a:gd name="connsiteY3536" fmla="*/ 876621 h 6377102"/>
              <a:gd name="connsiteX3537" fmla="*/ 413459 w 6423456"/>
              <a:gd name="connsiteY3537" fmla="*/ 881873 h 6377102"/>
              <a:gd name="connsiteX3538" fmla="*/ 418711 w 6423456"/>
              <a:gd name="connsiteY3538" fmla="*/ 887125 h 6377102"/>
              <a:gd name="connsiteX3539" fmla="*/ 423963 w 6423456"/>
              <a:gd name="connsiteY3539" fmla="*/ 881873 h 6377102"/>
              <a:gd name="connsiteX3540" fmla="*/ 274548 w 6423456"/>
              <a:gd name="connsiteY3540" fmla="*/ 965753 h 6377102"/>
              <a:gd name="connsiteX3541" fmla="*/ 270895 w 6423456"/>
              <a:gd name="connsiteY3541" fmla="*/ 962099 h 6377102"/>
              <a:gd name="connsiteX3542" fmla="*/ 267241 w 6423456"/>
              <a:gd name="connsiteY3542" fmla="*/ 965753 h 6377102"/>
              <a:gd name="connsiteX3543" fmla="*/ 270895 w 6423456"/>
              <a:gd name="connsiteY3543" fmla="*/ 969406 h 6377102"/>
              <a:gd name="connsiteX3544" fmla="*/ 274548 w 6423456"/>
              <a:gd name="connsiteY3544" fmla="*/ 965753 h 6377102"/>
              <a:gd name="connsiteX3545" fmla="*/ 5619982 w 6423456"/>
              <a:gd name="connsiteY3545" fmla="*/ 6280208 h 6377102"/>
              <a:gd name="connsiteX3546" fmla="*/ 5615796 w 6423456"/>
              <a:gd name="connsiteY3546" fmla="*/ 6276022 h 6377102"/>
              <a:gd name="connsiteX3547" fmla="*/ 5611609 w 6423456"/>
              <a:gd name="connsiteY3547" fmla="*/ 6280208 h 6377102"/>
              <a:gd name="connsiteX3548" fmla="*/ 5615796 w 6423456"/>
              <a:gd name="connsiteY3548" fmla="*/ 6284395 h 6377102"/>
              <a:gd name="connsiteX3549" fmla="*/ 5619982 w 6423456"/>
              <a:gd name="connsiteY3549" fmla="*/ 6280208 h 6377102"/>
              <a:gd name="connsiteX3550" fmla="*/ 5705993 w 6423456"/>
              <a:gd name="connsiteY3550" fmla="*/ 6132925 h 6377102"/>
              <a:gd name="connsiteX3551" fmla="*/ 5700741 w 6423456"/>
              <a:gd name="connsiteY3551" fmla="*/ 6127673 h 6377102"/>
              <a:gd name="connsiteX3552" fmla="*/ 5695489 w 6423456"/>
              <a:gd name="connsiteY3552" fmla="*/ 6132925 h 6377102"/>
              <a:gd name="connsiteX3553" fmla="*/ 5700741 w 6423456"/>
              <a:gd name="connsiteY3553" fmla="*/ 6138177 h 6377102"/>
              <a:gd name="connsiteX3554" fmla="*/ 5705993 w 6423456"/>
              <a:gd name="connsiteY3554" fmla="*/ 6132925 h 6377102"/>
              <a:gd name="connsiteX3555" fmla="*/ 5785685 w 6423456"/>
              <a:gd name="connsiteY3555" fmla="*/ 5982216 h 6377102"/>
              <a:gd name="connsiteX3556" fmla="*/ 5779368 w 6423456"/>
              <a:gd name="connsiteY3556" fmla="*/ 5975899 h 6377102"/>
              <a:gd name="connsiteX3557" fmla="*/ 5773051 w 6423456"/>
              <a:gd name="connsiteY3557" fmla="*/ 5982216 h 6377102"/>
              <a:gd name="connsiteX3558" fmla="*/ 5779368 w 6423456"/>
              <a:gd name="connsiteY3558" fmla="*/ 5988534 h 6377102"/>
              <a:gd name="connsiteX3559" fmla="*/ 5785685 w 6423456"/>
              <a:gd name="connsiteY3559" fmla="*/ 5982216 h 6377102"/>
              <a:gd name="connsiteX3560" fmla="*/ 5859366 w 6423456"/>
              <a:gd name="connsiteY3560" fmla="*/ 5828234 h 6377102"/>
              <a:gd name="connsiteX3561" fmla="*/ 5851525 w 6423456"/>
              <a:gd name="connsiteY3561" fmla="*/ 5820395 h 6377102"/>
              <a:gd name="connsiteX3562" fmla="*/ 5843609 w 6423456"/>
              <a:gd name="connsiteY3562" fmla="*/ 5828234 h 6377102"/>
              <a:gd name="connsiteX3563" fmla="*/ 5851525 w 6423456"/>
              <a:gd name="connsiteY3563" fmla="*/ 5836151 h 6377102"/>
              <a:gd name="connsiteX3564" fmla="*/ 5859366 w 6423456"/>
              <a:gd name="connsiteY3564" fmla="*/ 5828234 h 6377102"/>
              <a:gd name="connsiteX3565" fmla="*/ 5926423 w 6423456"/>
              <a:gd name="connsiteY3565" fmla="*/ 5671361 h 6377102"/>
              <a:gd name="connsiteX3566" fmla="*/ 5916985 w 6423456"/>
              <a:gd name="connsiteY3566" fmla="*/ 5661922 h 6377102"/>
              <a:gd name="connsiteX3567" fmla="*/ 5907546 w 6423456"/>
              <a:gd name="connsiteY3567" fmla="*/ 5671361 h 6377102"/>
              <a:gd name="connsiteX3568" fmla="*/ 5916985 w 6423456"/>
              <a:gd name="connsiteY3568" fmla="*/ 5680799 h 6377102"/>
              <a:gd name="connsiteX3569" fmla="*/ 5926423 w 6423456"/>
              <a:gd name="connsiteY3569" fmla="*/ 5671361 h 6377102"/>
              <a:gd name="connsiteX3570" fmla="*/ 5986783 w 6423456"/>
              <a:gd name="connsiteY3570" fmla="*/ 5511823 h 6377102"/>
              <a:gd name="connsiteX3571" fmla="*/ 5975746 w 6423456"/>
              <a:gd name="connsiteY3571" fmla="*/ 5500786 h 6377102"/>
              <a:gd name="connsiteX3572" fmla="*/ 5964709 w 6423456"/>
              <a:gd name="connsiteY3572" fmla="*/ 5511823 h 6377102"/>
              <a:gd name="connsiteX3573" fmla="*/ 5975746 w 6423456"/>
              <a:gd name="connsiteY3573" fmla="*/ 5522859 h 6377102"/>
              <a:gd name="connsiteX3574" fmla="*/ 5986783 w 6423456"/>
              <a:gd name="connsiteY3574" fmla="*/ 5511823 h 6377102"/>
              <a:gd name="connsiteX3575" fmla="*/ 6040140 w 6423456"/>
              <a:gd name="connsiteY3575" fmla="*/ 5349849 h 6377102"/>
              <a:gd name="connsiteX3576" fmla="*/ 6027504 w 6423456"/>
              <a:gd name="connsiteY3576" fmla="*/ 5337214 h 6377102"/>
              <a:gd name="connsiteX3577" fmla="*/ 6014869 w 6423456"/>
              <a:gd name="connsiteY3577" fmla="*/ 5349849 h 6377102"/>
              <a:gd name="connsiteX3578" fmla="*/ 6027504 w 6423456"/>
              <a:gd name="connsiteY3578" fmla="*/ 5362485 h 6377102"/>
              <a:gd name="connsiteX3579" fmla="*/ 6040140 w 6423456"/>
              <a:gd name="connsiteY3579" fmla="*/ 5349849 h 6377102"/>
              <a:gd name="connsiteX3580" fmla="*/ 6087179 w 6423456"/>
              <a:gd name="connsiteY3580" fmla="*/ 5185897 h 6377102"/>
              <a:gd name="connsiteX3581" fmla="*/ 6072489 w 6423456"/>
              <a:gd name="connsiteY3581" fmla="*/ 5171206 h 6377102"/>
              <a:gd name="connsiteX3582" fmla="*/ 6057798 w 6423456"/>
              <a:gd name="connsiteY3582" fmla="*/ 5185897 h 6377102"/>
              <a:gd name="connsiteX3583" fmla="*/ 6072489 w 6423456"/>
              <a:gd name="connsiteY3583" fmla="*/ 5200587 h 6377102"/>
              <a:gd name="connsiteX3584" fmla="*/ 6087179 w 6423456"/>
              <a:gd name="connsiteY3584" fmla="*/ 5185897 h 6377102"/>
              <a:gd name="connsiteX3585" fmla="*/ 6126531 w 6423456"/>
              <a:gd name="connsiteY3585" fmla="*/ 5020117 h 6377102"/>
              <a:gd name="connsiteX3586" fmla="*/ 6110242 w 6423456"/>
              <a:gd name="connsiteY3586" fmla="*/ 5003828 h 6377102"/>
              <a:gd name="connsiteX3587" fmla="*/ 6093953 w 6423456"/>
              <a:gd name="connsiteY3587" fmla="*/ 5020117 h 6377102"/>
              <a:gd name="connsiteX3588" fmla="*/ 6110242 w 6423456"/>
              <a:gd name="connsiteY3588" fmla="*/ 5036406 h 6377102"/>
              <a:gd name="connsiteX3589" fmla="*/ 6126531 w 6423456"/>
              <a:gd name="connsiteY3589" fmla="*/ 5020117 h 6377102"/>
              <a:gd name="connsiteX3590" fmla="*/ 6159413 w 6423456"/>
              <a:gd name="connsiteY3590" fmla="*/ 4852892 h 6377102"/>
              <a:gd name="connsiteX3591" fmla="*/ 6140993 w 6423456"/>
              <a:gd name="connsiteY3591" fmla="*/ 4834471 h 6377102"/>
              <a:gd name="connsiteX3592" fmla="*/ 6122649 w 6423456"/>
              <a:gd name="connsiteY3592" fmla="*/ 4852892 h 6377102"/>
              <a:gd name="connsiteX3593" fmla="*/ 6140993 w 6423456"/>
              <a:gd name="connsiteY3593" fmla="*/ 4871311 h 6377102"/>
              <a:gd name="connsiteX3594" fmla="*/ 6159413 w 6423456"/>
              <a:gd name="connsiteY3594" fmla="*/ 4852892 h 6377102"/>
              <a:gd name="connsiteX3595" fmla="*/ 6184988 w 6423456"/>
              <a:gd name="connsiteY3595" fmla="*/ 4684524 h 6377102"/>
              <a:gd name="connsiteX3596" fmla="*/ 6164512 w 6423456"/>
              <a:gd name="connsiteY3596" fmla="*/ 4664049 h 6377102"/>
              <a:gd name="connsiteX3597" fmla="*/ 6144037 w 6423456"/>
              <a:gd name="connsiteY3597" fmla="*/ 4684524 h 6377102"/>
              <a:gd name="connsiteX3598" fmla="*/ 6164512 w 6423456"/>
              <a:gd name="connsiteY3598" fmla="*/ 4704999 h 6377102"/>
              <a:gd name="connsiteX3599" fmla="*/ 6184988 w 6423456"/>
              <a:gd name="connsiteY3599" fmla="*/ 4684524 h 6377102"/>
              <a:gd name="connsiteX3600" fmla="*/ 6203483 w 6423456"/>
              <a:gd name="connsiteY3600" fmla="*/ 4515319 h 6377102"/>
              <a:gd name="connsiteX3601" fmla="*/ 6180877 w 6423456"/>
              <a:gd name="connsiteY3601" fmla="*/ 4492713 h 6377102"/>
              <a:gd name="connsiteX3602" fmla="*/ 6158271 w 6423456"/>
              <a:gd name="connsiteY3602" fmla="*/ 4515319 h 6377102"/>
              <a:gd name="connsiteX3603" fmla="*/ 6180877 w 6423456"/>
              <a:gd name="connsiteY3603" fmla="*/ 4537926 h 6377102"/>
              <a:gd name="connsiteX3604" fmla="*/ 6203483 w 6423456"/>
              <a:gd name="connsiteY3604" fmla="*/ 4515319 h 6377102"/>
              <a:gd name="connsiteX3605" fmla="*/ 6214597 w 6423456"/>
              <a:gd name="connsiteY3605" fmla="*/ 4345506 h 6377102"/>
              <a:gd name="connsiteX3606" fmla="*/ 6189934 w 6423456"/>
              <a:gd name="connsiteY3606" fmla="*/ 4320845 h 6377102"/>
              <a:gd name="connsiteX3607" fmla="*/ 6165273 w 6423456"/>
              <a:gd name="connsiteY3607" fmla="*/ 4345506 h 6377102"/>
              <a:gd name="connsiteX3608" fmla="*/ 6189934 w 6423456"/>
              <a:gd name="connsiteY3608" fmla="*/ 4370167 h 6377102"/>
              <a:gd name="connsiteX3609" fmla="*/ 6214597 w 6423456"/>
              <a:gd name="connsiteY3609" fmla="*/ 4345506 h 6377102"/>
              <a:gd name="connsiteX3610" fmla="*/ 6218554 w 6423456"/>
              <a:gd name="connsiteY3610" fmla="*/ 4175540 h 6377102"/>
              <a:gd name="connsiteX3611" fmla="*/ 6191762 w 6423456"/>
              <a:gd name="connsiteY3611" fmla="*/ 4148748 h 6377102"/>
              <a:gd name="connsiteX3612" fmla="*/ 6164969 w 6423456"/>
              <a:gd name="connsiteY3612" fmla="*/ 4175540 h 6377102"/>
              <a:gd name="connsiteX3613" fmla="*/ 6191762 w 6423456"/>
              <a:gd name="connsiteY3613" fmla="*/ 4202333 h 6377102"/>
              <a:gd name="connsiteX3614" fmla="*/ 6218554 w 6423456"/>
              <a:gd name="connsiteY3614" fmla="*/ 4175540 h 6377102"/>
              <a:gd name="connsiteX3615" fmla="*/ 6215205 w 6423456"/>
              <a:gd name="connsiteY3615" fmla="*/ 4005575 h 6377102"/>
              <a:gd name="connsiteX3616" fmla="*/ 6186281 w 6423456"/>
              <a:gd name="connsiteY3616" fmla="*/ 3976651 h 6377102"/>
              <a:gd name="connsiteX3617" fmla="*/ 6157358 w 6423456"/>
              <a:gd name="connsiteY3617" fmla="*/ 4005575 h 6377102"/>
              <a:gd name="connsiteX3618" fmla="*/ 6186281 w 6423456"/>
              <a:gd name="connsiteY3618" fmla="*/ 4034498 h 6377102"/>
              <a:gd name="connsiteX3619" fmla="*/ 6215205 w 6423456"/>
              <a:gd name="connsiteY3619" fmla="*/ 4005575 h 6377102"/>
              <a:gd name="connsiteX3620" fmla="*/ 6204625 w 6423456"/>
              <a:gd name="connsiteY3620" fmla="*/ 3836065 h 6377102"/>
              <a:gd name="connsiteX3621" fmla="*/ 6173646 w 6423456"/>
              <a:gd name="connsiteY3621" fmla="*/ 3805087 h 6377102"/>
              <a:gd name="connsiteX3622" fmla="*/ 6142667 w 6423456"/>
              <a:gd name="connsiteY3622" fmla="*/ 3836065 h 6377102"/>
              <a:gd name="connsiteX3623" fmla="*/ 6173646 w 6423456"/>
              <a:gd name="connsiteY3623" fmla="*/ 3867044 h 6377102"/>
              <a:gd name="connsiteX3624" fmla="*/ 6204625 w 6423456"/>
              <a:gd name="connsiteY3624" fmla="*/ 3836065 h 6377102"/>
              <a:gd name="connsiteX3625" fmla="*/ 6186738 w 6423456"/>
              <a:gd name="connsiteY3625" fmla="*/ 3667241 h 6377102"/>
              <a:gd name="connsiteX3626" fmla="*/ 6153628 w 6423456"/>
              <a:gd name="connsiteY3626" fmla="*/ 3634131 h 6377102"/>
              <a:gd name="connsiteX3627" fmla="*/ 6120517 w 6423456"/>
              <a:gd name="connsiteY3627" fmla="*/ 3667241 h 6377102"/>
              <a:gd name="connsiteX3628" fmla="*/ 6153628 w 6423456"/>
              <a:gd name="connsiteY3628" fmla="*/ 3700352 h 6377102"/>
              <a:gd name="connsiteX3629" fmla="*/ 6186738 w 6423456"/>
              <a:gd name="connsiteY3629" fmla="*/ 3667241 h 6377102"/>
              <a:gd name="connsiteX3630" fmla="*/ 6161696 w 6423456"/>
              <a:gd name="connsiteY3630" fmla="*/ 3499407 h 6377102"/>
              <a:gd name="connsiteX3631" fmla="*/ 6126531 w 6423456"/>
              <a:gd name="connsiteY3631" fmla="*/ 3464242 h 6377102"/>
              <a:gd name="connsiteX3632" fmla="*/ 6091365 w 6423456"/>
              <a:gd name="connsiteY3632" fmla="*/ 3499407 h 6377102"/>
              <a:gd name="connsiteX3633" fmla="*/ 6126531 w 6423456"/>
              <a:gd name="connsiteY3633" fmla="*/ 3534572 h 6377102"/>
              <a:gd name="connsiteX3634" fmla="*/ 6161696 w 6423456"/>
              <a:gd name="connsiteY3634" fmla="*/ 3499407 h 6377102"/>
              <a:gd name="connsiteX3635" fmla="*/ 6129042 w 6423456"/>
              <a:gd name="connsiteY3635" fmla="*/ 3332866 h 6377102"/>
              <a:gd name="connsiteX3636" fmla="*/ 6092279 w 6423456"/>
              <a:gd name="connsiteY3636" fmla="*/ 3296102 h 6377102"/>
              <a:gd name="connsiteX3637" fmla="*/ 6055515 w 6423456"/>
              <a:gd name="connsiteY3637" fmla="*/ 3332866 h 6377102"/>
              <a:gd name="connsiteX3638" fmla="*/ 6092279 w 6423456"/>
              <a:gd name="connsiteY3638" fmla="*/ 3369630 h 6377102"/>
              <a:gd name="connsiteX3639" fmla="*/ 6129042 w 6423456"/>
              <a:gd name="connsiteY3639" fmla="*/ 3332866 h 6377102"/>
              <a:gd name="connsiteX3640" fmla="*/ 6089767 w 6423456"/>
              <a:gd name="connsiteY3640" fmla="*/ 3167924 h 6377102"/>
              <a:gd name="connsiteX3641" fmla="*/ 6050872 w 6423456"/>
              <a:gd name="connsiteY3641" fmla="*/ 3129029 h 6377102"/>
              <a:gd name="connsiteX3642" fmla="*/ 6011976 w 6423456"/>
              <a:gd name="connsiteY3642" fmla="*/ 3167924 h 6377102"/>
              <a:gd name="connsiteX3643" fmla="*/ 6050872 w 6423456"/>
              <a:gd name="connsiteY3643" fmla="*/ 3206819 h 6377102"/>
              <a:gd name="connsiteX3644" fmla="*/ 6089767 w 6423456"/>
              <a:gd name="connsiteY3644" fmla="*/ 3167924 h 6377102"/>
              <a:gd name="connsiteX3645" fmla="*/ 6042956 w 6423456"/>
              <a:gd name="connsiteY3645" fmla="*/ 3004961 h 6377102"/>
              <a:gd name="connsiteX3646" fmla="*/ 6002538 w 6423456"/>
              <a:gd name="connsiteY3646" fmla="*/ 2964544 h 6377102"/>
              <a:gd name="connsiteX3647" fmla="*/ 5962121 w 6423456"/>
              <a:gd name="connsiteY3647" fmla="*/ 3004961 h 6377102"/>
              <a:gd name="connsiteX3648" fmla="*/ 6002538 w 6423456"/>
              <a:gd name="connsiteY3648" fmla="*/ 3045378 h 6377102"/>
              <a:gd name="connsiteX3649" fmla="*/ 6042956 w 6423456"/>
              <a:gd name="connsiteY3649" fmla="*/ 3004961 h 6377102"/>
              <a:gd name="connsiteX3650" fmla="*/ 5989218 w 6423456"/>
              <a:gd name="connsiteY3650" fmla="*/ 2844205 h 6377102"/>
              <a:gd name="connsiteX3651" fmla="*/ 5947203 w 6423456"/>
              <a:gd name="connsiteY3651" fmla="*/ 2802190 h 6377102"/>
              <a:gd name="connsiteX3652" fmla="*/ 5905187 w 6423456"/>
              <a:gd name="connsiteY3652" fmla="*/ 2844205 h 6377102"/>
              <a:gd name="connsiteX3653" fmla="*/ 5947203 w 6423456"/>
              <a:gd name="connsiteY3653" fmla="*/ 2886221 h 6377102"/>
              <a:gd name="connsiteX3654" fmla="*/ 5989218 w 6423456"/>
              <a:gd name="connsiteY3654" fmla="*/ 2844205 h 6377102"/>
              <a:gd name="connsiteX3655" fmla="*/ 5928707 w 6423456"/>
              <a:gd name="connsiteY3655" fmla="*/ 2685961 h 6377102"/>
              <a:gd name="connsiteX3656" fmla="*/ 5885093 w 6423456"/>
              <a:gd name="connsiteY3656" fmla="*/ 2642347 h 6377102"/>
              <a:gd name="connsiteX3657" fmla="*/ 5841479 w 6423456"/>
              <a:gd name="connsiteY3657" fmla="*/ 2685961 h 6377102"/>
              <a:gd name="connsiteX3658" fmla="*/ 5885093 w 6423456"/>
              <a:gd name="connsiteY3658" fmla="*/ 2729575 h 6377102"/>
              <a:gd name="connsiteX3659" fmla="*/ 5928707 w 6423456"/>
              <a:gd name="connsiteY3659" fmla="*/ 2685961 h 6377102"/>
              <a:gd name="connsiteX3660" fmla="*/ 5860964 w 6423456"/>
              <a:gd name="connsiteY3660" fmla="*/ 2530457 h 6377102"/>
              <a:gd name="connsiteX3661" fmla="*/ 5816284 w 6423456"/>
              <a:gd name="connsiteY3661" fmla="*/ 2485778 h 6377102"/>
              <a:gd name="connsiteX3662" fmla="*/ 5771604 w 6423456"/>
              <a:gd name="connsiteY3662" fmla="*/ 2530457 h 6377102"/>
              <a:gd name="connsiteX3663" fmla="*/ 5816284 w 6423456"/>
              <a:gd name="connsiteY3663" fmla="*/ 2575137 h 6377102"/>
              <a:gd name="connsiteX3664" fmla="*/ 5860964 w 6423456"/>
              <a:gd name="connsiteY3664" fmla="*/ 2530457 h 6377102"/>
              <a:gd name="connsiteX3665" fmla="*/ 5787132 w 6423456"/>
              <a:gd name="connsiteY3665" fmla="*/ 2378074 h 6377102"/>
              <a:gd name="connsiteX3666" fmla="*/ 5740930 w 6423456"/>
              <a:gd name="connsiteY3666" fmla="*/ 2331872 h 6377102"/>
              <a:gd name="connsiteX3667" fmla="*/ 5694728 w 6423456"/>
              <a:gd name="connsiteY3667" fmla="*/ 2378074 h 6377102"/>
              <a:gd name="connsiteX3668" fmla="*/ 5740930 w 6423456"/>
              <a:gd name="connsiteY3668" fmla="*/ 2424277 h 6377102"/>
              <a:gd name="connsiteX3669" fmla="*/ 5787132 w 6423456"/>
              <a:gd name="connsiteY3669" fmla="*/ 2378074 h 6377102"/>
              <a:gd name="connsiteX3670" fmla="*/ 5706298 w 6423456"/>
              <a:gd name="connsiteY3670" fmla="*/ 2229040 h 6377102"/>
              <a:gd name="connsiteX3671" fmla="*/ 5659029 w 6423456"/>
              <a:gd name="connsiteY3671" fmla="*/ 2181773 h 6377102"/>
              <a:gd name="connsiteX3672" fmla="*/ 5611762 w 6423456"/>
              <a:gd name="connsiteY3672" fmla="*/ 2229040 h 6377102"/>
              <a:gd name="connsiteX3673" fmla="*/ 5659029 w 6423456"/>
              <a:gd name="connsiteY3673" fmla="*/ 2276308 h 6377102"/>
              <a:gd name="connsiteX3674" fmla="*/ 5706298 w 6423456"/>
              <a:gd name="connsiteY3674" fmla="*/ 2229040 h 6377102"/>
              <a:gd name="connsiteX3675" fmla="*/ 5619221 w 6423456"/>
              <a:gd name="connsiteY3675" fmla="*/ 2083660 h 6377102"/>
              <a:gd name="connsiteX3676" fmla="*/ 5570888 w 6423456"/>
              <a:gd name="connsiteY3676" fmla="*/ 2035327 h 6377102"/>
              <a:gd name="connsiteX3677" fmla="*/ 5522555 w 6423456"/>
              <a:gd name="connsiteY3677" fmla="*/ 2083660 h 6377102"/>
              <a:gd name="connsiteX3678" fmla="*/ 5570888 w 6423456"/>
              <a:gd name="connsiteY3678" fmla="*/ 2131993 h 6377102"/>
              <a:gd name="connsiteX3679" fmla="*/ 5619221 w 6423456"/>
              <a:gd name="connsiteY3679" fmla="*/ 2083660 h 6377102"/>
              <a:gd name="connsiteX3680" fmla="*/ 5525523 w 6423456"/>
              <a:gd name="connsiteY3680" fmla="*/ 1942161 h 6377102"/>
              <a:gd name="connsiteX3681" fmla="*/ 5476657 w 6423456"/>
              <a:gd name="connsiteY3681" fmla="*/ 1893295 h 6377102"/>
              <a:gd name="connsiteX3682" fmla="*/ 5427791 w 6423456"/>
              <a:gd name="connsiteY3682" fmla="*/ 1942161 h 6377102"/>
              <a:gd name="connsiteX3683" fmla="*/ 5476657 w 6423456"/>
              <a:gd name="connsiteY3683" fmla="*/ 1991027 h 6377102"/>
              <a:gd name="connsiteX3684" fmla="*/ 5525523 w 6423456"/>
              <a:gd name="connsiteY3684" fmla="*/ 1942161 h 6377102"/>
              <a:gd name="connsiteX3685" fmla="*/ 5425812 w 6423456"/>
              <a:gd name="connsiteY3685" fmla="*/ 1804849 h 6377102"/>
              <a:gd name="connsiteX3686" fmla="*/ 5376413 w 6423456"/>
              <a:gd name="connsiteY3686" fmla="*/ 1755450 h 6377102"/>
              <a:gd name="connsiteX3687" fmla="*/ 5327014 w 6423456"/>
              <a:gd name="connsiteY3687" fmla="*/ 1804849 h 6377102"/>
              <a:gd name="connsiteX3688" fmla="*/ 5376413 w 6423456"/>
              <a:gd name="connsiteY3688" fmla="*/ 1854248 h 6377102"/>
              <a:gd name="connsiteX3689" fmla="*/ 5425812 w 6423456"/>
              <a:gd name="connsiteY3689" fmla="*/ 1804849 h 6377102"/>
              <a:gd name="connsiteX3690" fmla="*/ 5320316 w 6423456"/>
              <a:gd name="connsiteY3690" fmla="*/ 1671952 h 6377102"/>
              <a:gd name="connsiteX3691" fmla="*/ 5270384 w 6423456"/>
              <a:gd name="connsiteY3691" fmla="*/ 1622020 h 6377102"/>
              <a:gd name="connsiteX3692" fmla="*/ 5220528 w 6423456"/>
              <a:gd name="connsiteY3692" fmla="*/ 1671952 h 6377102"/>
              <a:gd name="connsiteX3693" fmla="*/ 5270384 w 6423456"/>
              <a:gd name="connsiteY3693" fmla="*/ 1721883 h 6377102"/>
              <a:gd name="connsiteX3694" fmla="*/ 5320316 w 6423456"/>
              <a:gd name="connsiteY3694" fmla="*/ 1671952 h 6377102"/>
              <a:gd name="connsiteX3695" fmla="*/ 5209263 w 6423456"/>
              <a:gd name="connsiteY3695" fmla="*/ 1543621 h 6377102"/>
              <a:gd name="connsiteX3696" fmla="*/ 5158799 w 6423456"/>
              <a:gd name="connsiteY3696" fmla="*/ 1493156 h 6377102"/>
              <a:gd name="connsiteX3697" fmla="*/ 5108334 w 6423456"/>
              <a:gd name="connsiteY3697" fmla="*/ 1543621 h 6377102"/>
              <a:gd name="connsiteX3698" fmla="*/ 5158799 w 6423456"/>
              <a:gd name="connsiteY3698" fmla="*/ 1594085 h 6377102"/>
              <a:gd name="connsiteX3699" fmla="*/ 5209263 w 6423456"/>
              <a:gd name="connsiteY3699" fmla="*/ 1543621 h 6377102"/>
              <a:gd name="connsiteX3700" fmla="*/ 5092274 w 6423456"/>
              <a:gd name="connsiteY3700" fmla="*/ 1420238 h 6377102"/>
              <a:gd name="connsiteX3701" fmla="*/ 5041810 w 6423456"/>
              <a:gd name="connsiteY3701" fmla="*/ 1369773 h 6377102"/>
              <a:gd name="connsiteX3702" fmla="*/ 4991345 w 6423456"/>
              <a:gd name="connsiteY3702" fmla="*/ 1420238 h 6377102"/>
              <a:gd name="connsiteX3703" fmla="*/ 5041810 w 6423456"/>
              <a:gd name="connsiteY3703" fmla="*/ 1470702 h 6377102"/>
              <a:gd name="connsiteX3704" fmla="*/ 5092274 w 6423456"/>
              <a:gd name="connsiteY3704" fmla="*/ 1420238 h 6377102"/>
              <a:gd name="connsiteX3705" fmla="*/ 4970109 w 6423456"/>
              <a:gd name="connsiteY3705" fmla="*/ 1301954 h 6377102"/>
              <a:gd name="connsiteX3706" fmla="*/ 4919720 w 6423456"/>
              <a:gd name="connsiteY3706" fmla="*/ 1251490 h 6377102"/>
              <a:gd name="connsiteX3707" fmla="*/ 4869256 w 6423456"/>
              <a:gd name="connsiteY3707" fmla="*/ 1301954 h 6377102"/>
              <a:gd name="connsiteX3708" fmla="*/ 4919720 w 6423456"/>
              <a:gd name="connsiteY3708" fmla="*/ 1352419 h 6377102"/>
              <a:gd name="connsiteX3709" fmla="*/ 4970109 w 6423456"/>
              <a:gd name="connsiteY3709" fmla="*/ 1301954 h 6377102"/>
              <a:gd name="connsiteX3710" fmla="*/ 4842540 w 6423456"/>
              <a:gd name="connsiteY3710" fmla="*/ 1188999 h 6377102"/>
              <a:gd name="connsiteX3711" fmla="*/ 4792608 w 6423456"/>
              <a:gd name="connsiteY3711" fmla="*/ 1139067 h 6377102"/>
              <a:gd name="connsiteX3712" fmla="*/ 4742752 w 6423456"/>
              <a:gd name="connsiteY3712" fmla="*/ 1188999 h 6377102"/>
              <a:gd name="connsiteX3713" fmla="*/ 4792608 w 6423456"/>
              <a:gd name="connsiteY3713" fmla="*/ 1238931 h 6377102"/>
              <a:gd name="connsiteX3714" fmla="*/ 4842540 w 6423456"/>
              <a:gd name="connsiteY3714" fmla="*/ 1188999 h 6377102"/>
              <a:gd name="connsiteX3715" fmla="*/ 4710784 w 6423456"/>
              <a:gd name="connsiteY3715" fmla="*/ 1081600 h 6377102"/>
              <a:gd name="connsiteX3716" fmla="*/ 4660852 w 6423456"/>
              <a:gd name="connsiteY3716" fmla="*/ 1031669 h 6377102"/>
              <a:gd name="connsiteX3717" fmla="*/ 4610920 w 6423456"/>
              <a:gd name="connsiteY3717" fmla="*/ 1081600 h 6377102"/>
              <a:gd name="connsiteX3718" fmla="*/ 4660852 w 6423456"/>
              <a:gd name="connsiteY3718" fmla="*/ 1131532 h 6377102"/>
              <a:gd name="connsiteX3719" fmla="*/ 4710784 w 6423456"/>
              <a:gd name="connsiteY3719" fmla="*/ 1081600 h 6377102"/>
              <a:gd name="connsiteX3720" fmla="*/ 4573471 w 6423456"/>
              <a:gd name="connsiteY3720" fmla="*/ 979910 h 6377102"/>
              <a:gd name="connsiteX3721" fmla="*/ 4524606 w 6423456"/>
              <a:gd name="connsiteY3721" fmla="*/ 931044 h 6377102"/>
              <a:gd name="connsiteX3722" fmla="*/ 4475739 w 6423456"/>
              <a:gd name="connsiteY3722" fmla="*/ 979910 h 6377102"/>
              <a:gd name="connsiteX3723" fmla="*/ 4524606 w 6423456"/>
              <a:gd name="connsiteY3723" fmla="*/ 1028776 h 6377102"/>
              <a:gd name="connsiteX3724" fmla="*/ 4573471 w 6423456"/>
              <a:gd name="connsiteY3724" fmla="*/ 979910 h 6377102"/>
              <a:gd name="connsiteX3725" fmla="*/ 4432430 w 6423456"/>
              <a:gd name="connsiteY3725" fmla="*/ 884157 h 6377102"/>
              <a:gd name="connsiteX3726" fmla="*/ 4384096 w 6423456"/>
              <a:gd name="connsiteY3726" fmla="*/ 835824 h 6377102"/>
              <a:gd name="connsiteX3727" fmla="*/ 4335763 w 6423456"/>
              <a:gd name="connsiteY3727" fmla="*/ 884157 h 6377102"/>
              <a:gd name="connsiteX3728" fmla="*/ 4384096 w 6423456"/>
              <a:gd name="connsiteY3728" fmla="*/ 932490 h 6377102"/>
              <a:gd name="connsiteX3729" fmla="*/ 4432430 w 6423456"/>
              <a:gd name="connsiteY3729" fmla="*/ 884157 h 6377102"/>
              <a:gd name="connsiteX3730" fmla="*/ 4286973 w 6423456"/>
              <a:gd name="connsiteY3730" fmla="*/ 794493 h 6377102"/>
              <a:gd name="connsiteX3731" fmla="*/ 4239705 w 6423456"/>
              <a:gd name="connsiteY3731" fmla="*/ 747225 h 6377102"/>
              <a:gd name="connsiteX3732" fmla="*/ 4192438 w 6423456"/>
              <a:gd name="connsiteY3732" fmla="*/ 794493 h 6377102"/>
              <a:gd name="connsiteX3733" fmla="*/ 4239705 w 6423456"/>
              <a:gd name="connsiteY3733" fmla="*/ 841761 h 6377102"/>
              <a:gd name="connsiteX3734" fmla="*/ 4286973 w 6423456"/>
              <a:gd name="connsiteY3734" fmla="*/ 794493 h 6377102"/>
              <a:gd name="connsiteX3735" fmla="*/ 4137786 w 6423456"/>
              <a:gd name="connsiteY3735" fmla="*/ 711070 h 6377102"/>
              <a:gd name="connsiteX3736" fmla="*/ 4091585 w 6423456"/>
              <a:gd name="connsiteY3736" fmla="*/ 664868 h 6377102"/>
              <a:gd name="connsiteX3737" fmla="*/ 4045382 w 6423456"/>
              <a:gd name="connsiteY3737" fmla="*/ 711070 h 6377102"/>
              <a:gd name="connsiteX3738" fmla="*/ 4091585 w 6423456"/>
              <a:gd name="connsiteY3738" fmla="*/ 757272 h 6377102"/>
              <a:gd name="connsiteX3739" fmla="*/ 4137786 w 6423456"/>
              <a:gd name="connsiteY3739" fmla="*/ 711070 h 6377102"/>
              <a:gd name="connsiteX3740" fmla="*/ 3985175 w 6423456"/>
              <a:gd name="connsiteY3740" fmla="*/ 634042 h 6377102"/>
              <a:gd name="connsiteX3741" fmla="*/ 3939962 w 6423456"/>
              <a:gd name="connsiteY3741" fmla="*/ 588829 h 6377102"/>
              <a:gd name="connsiteX3742" fmla="*/ 3894827 w 6423456"/>
              <a:gd name="connsiteY3742" fmla="*/ 634042 h 6377102"/>
              <a:gd name="connsiteX3743" fmla="*/ 3939962 w 6423456"/>
              <a:gd name="connsiteY3743" fmla="*/ 679254 h 6377102"/>
              <a:gd name="connsiteX3744" fmla="*/ 3985175 w 6423456"/>
              <a:gd name="connsiteY3744" fmla="*/ 634042 h 6377102"/>
              <a:gd name="connsiteX3745" fmla="*/ 3828834 w 6423456"/>
              <a:gd name="connsiteY3745" fmla="*/ 563559 h 6377102"/>
              <a:gd name="connsiteX3746" fmla="*/ 3785220 w 6423456"/>
              <a:gd name="connsiteY3746" fmla="*/ 519944 h 6377102"/>
              <a:gd name="connsiteX3747" fmla="*/ 3741606 w 6423456"/>
              <a:gd name="connsiteY3747" fmla="*/ 563559 h 6377102"/>
              <a:gd name="connsiteX3748" fmla="*/ 3785220 w 6423456"/>
              <a:gd name="connsiteY3748" fmla="*/ 607173 h 6377102"/>
              <a:gd name="connsiteX3749" fmla="*/ 3828834 w 6423456"/>
              <a:gd name="connsiteY3749" fmla="*/ 563559 h 6377102"/>
              <a:gd name="connsiteX3750" fmla="*/ 3670210 w 6423456"/>
              <a:gd name="connsiteY3750" fmla="*/ 499774 h 6377102"/>
              <a:gd name="connsiteX3751" fmla="*/ 3627661 w 6423456"/>
              <a:gd name="connsiteY3751" fmla="*/ 457225 h 6377102"/>
              <a:gd name="connsiteX3752" fmla="*/ 3585112 w 6423456"/>
              <a:gd name="connsiteY3752" fmla="*/ 499774 h 6377102"/>
              <a:gd name="connsiteX3753" fmla="*/ 3627661 w 6423456"/>
              <a:gd name="connsiteY3753" fmla="*/ 542322 h 6377102"/>
              <a:gd name="connsiteX3754" fmla="*/ 3670210 w 6423456"/>
              <a:gd name="connsiteY3754" fmla="*/ 499774 h 6377102"/>
              <a:gd name="connsiteX3755" fmla="*/ 3508465 w 6423456"/>
              <a:gd name="connsiteY3755" fmla="*/ 442763 h 6377102"/>
              <a:gd name="connsiteX3756" fmla="*/ 3467514 w 6423456"/>
              <a:gd name="connsiteY3756" fmla="*/ 401813 h 6377102"/>
              <a:gd name="connsiteX3757" fmla="*/ 3426564 w 6423456"/>
              <a:gd name="connsiteY3757" fmla="*/ 442763 h 6377102"/>
              <a:gd name="connsiteX3758" fmla="*/ 3467514 w 6423456"/>
              <a:gd name="connsiteY3758" fmla="*/ 483714 h 6377102"/>
              <a:gd name="connsiteX3759" fmla="*/ 3508465 w 6423456"/>
              <a:gd name="connsiteY3759" fmla="*/ 442763 h 6377102"/>
              <a:gd name="connsiteX3760" fmla="*/ 3344435 w 6423456"/>
              <a:gd name="connsiteY3760" fmla="*/ 392603 h 6377102"/>
              <a:gd name="connsiteX3761" fmla="*/ 3305008 w 6423456"/>
              <a:gd name="connsiteY3761" fmla="*/ 353176 h 6377102"/>
              <a:gd name="connsiteX3762" fmla="*/ 3265580 w 6423456"/>
              <a:gd name="connsiteY3762" fmla="*/ 392603 h 6377102"/>
              <a:gd name="connsiteX3763" fmla="*/ 3305008 w 6423456"/>
              <a:gd name="connsiteY3763" fmla="*/ 432031 h 6377102"/>
              <a:gd name="connsiteX3764" fmla="*/ 3344435 w 6423456"/>
              <a:gd name="connsiteY3764" fmla="*/ 392603 h 6377102"/>
              <a:gd name="connsiteX3765" fmla="*/ 3177895 w 6423456"/>
              <a:gd name="connsiteY3765" fmla="*/ 349522 h 6377102"/>
              <a:gd name="connsiteX3766" fmla="*/ 3140598 w 6423456"/>
              <a:gd name="connsiteY3766" fmla="*/ 312225 h 6377102"/>
              <a:gd name="connsiteX3767" fmla="*/ 3103302 w 6423456"/>
              <a:gd name="connsiteY3767" fmla="*/ 349522 h 6377102"/>
              <a:gd name="connsiteX3768" fmla="*/ 3140598 w 6423456"/>
              <a:gd name="connsiteY3768" fmla="*/ 386819 h 6377102"/>
              <a:gd name="connsiteX3769" fmla="*/ 3177895 w 6423456"/>
              <a:gd name="connsiteY3769" fmla="*/ 349522 h 6377102"/>
              <a:gd name="connsiteX3770" fmla="*/ 3010137 w 6423456"/>
              <a:gd name="connsiteY3770" fmla="*/ 313443 h 6377102"/>
              <a:gd name="connsiteX3771" fmla="*/ 2974438 w 6423456"/>
              <a:gd name="connsiteY3771" fmla="*/ 277745 h 6377102"/>
              <a:gd name="connsiteX3772" fmla="*/ 2938741 w 6423456"/>
              <a:gd name="connsiteY3772" fmla="*/ 313443 h 6377102"/>
              <a:gd name="connsiteX3773" fmla="*/ 2974438 w 6423456"/>
              <a:gd name="connsiteY3773" fmla="*/ 349141 h 6377102"/>
              <a:gd name="connsiteX3774" fmla="*/ 3010137 w 6423456"/>
              <a:gd name="connsiteY3774" fmla="*/ 313443 h 6377102"/>
              <a:gd name="connsiteX3775" fmla="*/ 2840552 w 6423456"/>
              <a:gd name="connsiteY3775" fmla="*/ 284519 h 6377102"/>
              <a:gd name="connsiteX3776" fmla="*/ 2806908 w 6423456"/>
              <a:gd name="connsiteY3776" fmla="*/ 250876 h 6377102"/>
              <a:gd name="connsiteX3777" fmla="*/ 2773265 w 6423456"/>
              <a:gd name="connsiteY3777" fmla="*/ 284519 h 6377102"/>
              <a:gd name="connsiteX3778" fmla="*/ 2806908 w 6423456"/>
              <a:gd name="connsiteY3778" fmla="*/ 318163 h 6377102"/>
              <a:gd name="connsiteX3779" fmla="*/ 2840552 w 6423456"/>
              <a:gd name="connsiteY3779" fmla="*/ 284519 h 6377102"/>
              <a:gd name="connsiteX3780" fmla="*/ 2669824 w 6423456"/>
              <a:gd name="connsiteY3780" fmla="*/ 262750 h 6377102"/>
              <a:gd name="connsiteX3781" fmla="*/ 2638312 w 6423456"/>
              <a:gd name="connsiteY3781" fmla="*/ 231239 h 6377102"/>
              <a:gd name="connsiteX3782" fmla="*/ 2606801 w 6423456"/>
              <a:gd name="connsiteY3782" fmla="*/ 262750 h 6377102"/>
              <a:gd name="connsiteX3783" fmla="*/ 2638312 w 6423456"/>
              <a:gd name="connsiteY3783" fmla="*/ 294262 h 6377102"/>
              <a:gd name="connsiteX3784" fmla="*/ 2669824 w 6423456"/>
              <a:gd name="connsiteY3784" fmla="*/ 262750 h 6377102"/>
              <a:gd name="connsiteX3785" fmla="*/ 2498261 w 6423456"/>
              <a:gd name="connsiteY3785" fmla="*/ 248212 h 6377102"/>
              <a:gd name="connsiteX3786" fmla="*/ 2468879 w 6423456"/>
              <a:gd name="connsiteY3786" fmla="*/ 218832 h 6377102"/>
              <a:gd name="connsiteX3787" fmla="*/ 2439499 w 6423456"/>
              <a:gd name="connsiteY3787" fmla="*/ 248212 h 6377102"/>
              <a:gd name="connsiteX3788" fmla="*/ 2468879 w 6423456"/>
              <a:gd name="connsiteY3788" fmla="*/ 277669 h 6377102"/>
              <a:gd name="connsiteX3789" fmla="*/ 2498261 w 6423456"/>
              <a:gd name="connsiteY3789" fmla="*/ 248212 h 6377102"/>
              <a:gd name="connsiteX3790" fmla="*/ 2326315 w 6423456"/>
              <a:gd name="connsiteY3790" fmla="*/ 240981 h 6377102"/>
              <a:gd name="connsiteX3791" fmla="*/ 2298990 w 6423456"/>
              <a:gd name="connsiteY3791" fmla="*/ 213656 h 6377102"/>
              <a:gd name="connsiteX3792" fmla="*/ 2271665 w 6423456"/>
              <a:gd name="connsiteY3792" fmla="*/ 240981 h 6377102"/>
              <a:gd name="connsiteX3793" fmla="*/ 2298990 w 6423456"/>
              <a:gd name="connsiteY3793" fmla="*/ 268307 h 6377102"/>
              <a:gd name="connsiteX3794" fmla="*/ 2326315 w 6423456"/>
              <a:gd name="connsiteY3794" fmla="*/ 240981 h 6377102"/>
              <a:gd name="connsiteX3795" fmla="*/ 2154219 w 6423456"/>
              <a:gd name="connsiteY3795" fmla="*/ 240981 h 6377102"/>
              <a:gd name="connsiteX3796" fmla="*/ 2129025 w 6423456"/>
              <a:gd name="connsiteY3796" fmla="*/ 215787 h 6377102"/>
              <a:gd name="connsiteX3797" fmla="*/ 2103830 w 6423456"/>
              <a:gd name="connsiteY3797" fmla="*/ 240981 h 6377102"/>
              <a:gd name="connsiteX3798" fmla="*/ 2129025 w 6423456"/>
              <a:gd name="connsiteY3798" fmla="*/ 266176 h 6377102"/>
              <a:gd name="connsiteX3799" fmla="*/ 2154219 w 6423456"/>
              <a:gd name="connsiteY3799" fmla="*/ 240981 h 6377102"/>
              <a:gd name="connsiteX3800" fmla="*/ 1982274 w 6423456"/>
              <a:gd name="connsiteY3800" fmla="*/ 248212 h 6377102"/>
              <a:gd name="connsiteX3801" fmla="*/ 1959135 w 6423456"/>
              <a:gd name="connsiteY3801" fmla="*/ 225073 h 6377102"/>
              <a:gd name="connsiteX3802" fmla="*/ 1935996 w 6423456"/>
              <a:gd name="connsiteY3802" fmla="*/ 248212 h 6377102"/>
              <a:gd name="connsiteX3803" fmla="*/ 1959135 w 6423456"/>
              <a:gd name="connsiteY3803" fmla="*/ 271352 h 6377102"/>
              <a:gd name="connsiteX3804" fmla="*/ 1982274 w 6423456"/>
              <a:gd name="connsiteY3804" fmla="*/ 248212 h 6377102"/>
              <a:gd name="connsiteX3805" fmla="*/ 1810786 w 6423456"/>
              <a:gd name="connsiteY3805" fmla="*/ 262750 h 6377102"/>
              <a:gd name="connsiteX3806" fmla="*/ 1789778 w 6423456"/>
              <a:gd name="connsiteY3806" fmla="*/ 241743 h 6377102"/>
              <a:gd name="connsiteX3807" fmla="*/ 1768770 w 6423456"/>
              <a:gd name="connsiteY3807" fmla="*/ 262750 h 6377102"/>
              <a:gd name="connsiteX3808" fmla="*/ 1789778 w 6423456"/>
              <a:gd name="connsiteY3808" fmla="*/ 283758 h 6377102"/>
              <a:gd name="connsiteX3809" fmla="*/ 1810786 w 6423456"/>
              <a:gd name="connsiteY3809" fmla="*/ 262750 h 6377102"/>
              <a:gd name="connsiteX3810" fmla="*/ 1640059 w 6423456"/>
              <a:gd name="connsiteY3810" fmla="*/ 284519 h 6377102"/>
              <a:gd name="connsiteX3811" fmla="*/ 1621182 w 6423456"/>
              <a:gd name="connsiteY3811" fmla="*/ 265567 h 6377102"/>
              <a:gd name="connsiteX3812" fmla="*/ 1602305 w 6423456"/>
              <a:gd name="connsiteY3812" fmla="*/ 284519 h 6377102"/>
              <a:gd name="connsiteX3813" fmla="*/ 1621182 w 6423456"/>
              <a:gd name="connsiteY3813" fmla="*/ 303396 h 6377102"/>
              <a:gd name="connsiteX3814" fmla="*/ 1640059 w 6423456"/>
              <a:gd name="connsiteY3814" fmla="*/ 284519 h 6377102"/>
              <a:gd name="connsiteX3815" fmla="*/ 1470398 w 6423456"/>
              <a:gd name="connsiteY3815" fmla="*/ 313443 h 6377102"/>
              <a:gd name="connsiteX3816" fmla="*/ 1453576 w 6423456"/>
              <a:gd name="connsiteY3816" fmla="*/ 296622 h 6377102"/>
              <a:gd name="connsiteX3817" fmla="*/ 1436754 w 6423456"/>
              <a:gd name="connsiteY3817" fmla="*/ 313443 h 6377102"/>
              <a:gd name="connsiteX3818" fmla="*/ 1453576 w 6423456"/>
              <a:gd name="connsiteY3818" fmla="*/ 330265 h 6377102"/>
              <a:gd name="connsiteX3819" fmla="*/ 1470398 w 6423456"/>
              <a:gd name="connsiteY3819" fmla="*/ 313443 h 6377102"/>
              <a:gd name="connsiteX3820" fmla="*/ 1302182 w 6423456"/>
              <a:gd name="connsiteY3820" fmla="*/ 349522 h 6377102"/>
              <a:gd name="connsiteX3821" fmla="*/ 1287492 w 6423456"/>
              <a:gd name="connsiteY3821" fmla="*/ 334832 h 6377102"/>
              <a:gd name="connsiteX3822" fmla="*/ 1272802 w 6423456"/>
              <a:gd name="connsiteY3822" fmla="*/ 349522 h 6377102"/>
              <a:gd name="connsiteX3823" fmla="*/ 1287492 w 6423456"/>
              <a:gd name="connsiteY3823" fmla="*/ 364212 h 6377102"/>
              <a:gd name="connsiteX3824" fmla="*/ 1302182 w 6423456"/>
              <a:gd name="connsiteY3824" fmla="*/ 349522 h 6377102"/>
              <a:gd name="connsiteX3825" fmla="*/ 1136099 w 6423456"/>
              <a:gd name="connsiteY3825" fmla="*/ 392603 h 6377102"/>
              <a:gd name="connsiteX3826" fmla="*/ 1123007 w 6423456"/>
              <a:gd name="connsiteY3826" fmla="*/ 379512 h 6377102"/>
              <a:gd name="connsiteX3827" fmla="*/ 1109839 w 6423456"/>
              <a:gd name="connsiteY3827" fmla="*/ 392603 h 6377102"/>
              <a:gd name="connsiteX3828" fmla="*/ 1123007 w 6423456"/>
              <a:gd name="connsiteY3828" fmla="*/ 405695 h 6377102"/>
              <a:gd name="connsiteX3829" fmla="*/ 1136099 w 6423456"/>
              <a:gd name="connsiteY3829" fmla="*/ 392603 h 6377102"/>
              <a:gd name="connsiteX3830" fmla="*/ 972070 w 6423456"/>
              <a:gd name="connsiteY3830" fmla="*/ 442763 h 6377102"/>
              <a:gd name="connsiteX3831" fmla="*/ 960501 w 6423456"/>
              <a:gd name="connsiteY3831" fmla="*/ 431194 h 6377102"/>
              <a:gd name="connsiteX3832" fmla="*/ 948931 w 6423456"/>
              <a:gd name="connsiteY3832" fmla="*/ 442763 h 6377102"/>
              <a:gd name="connsiteX3833" fmla="*/ 960501 w 6423456"/>
              <a:gd name="connsiteY3833" fmla="*/ 454333 h 6377102"/>
              <a:gd name="connsiteX3834" fmla="*/ 972070 w 6423456"/>
              <a:gd name="connsiteY3834" fmla="*/ 442763 h 6377102"/>
              <a:gd name="connsiteX3835" fmla="*/ 809792 w 6423456"/>
              <a:gd name="connsiteY3835" fmla="*/ 499774 h 6377102"/>
              <a:gd name="connsiteX3836" fmla="*/ 800353 w 6423456"/>
              <a:gd name="connsiteY3836" fmla="*/ 490336 h 6377102"/>
              <a:gd name="connsiteX3837" fmla="*/ 790915 w 6423456"/>
              <a:gd name="connsiteY3837" fmla="*/ 499774 h 6377102"/>
              <a:gd name="connsiteX3838" fmla="*/ 800353 w 6423456"/>
              <a:gd name="connsiteY3838" fmla="*/ 509212 h 6377102"/>
              <a:gd name="connsiteX3839" fmla="*/ 809792 w 6423456"/>
              <a:gd name="connsiteY3839" fmla="*/ 499774 h 6377102"/>
              <a:gd name="connsiteX3840" fmla="*/ 650635 w 6423456"/>
              <a:gd name="connsiteY3840" fmla="*/ 563559 h 6377102"/>
              <a:gd name="connsiteX3841" fmla="*/ 642719 w 6423456"/>
              <a:gd name="connsiteY3841" fmla="*/ 555719 h 6377102"/>
              <a:gd name="connsiteX3842" fmla="*/ 634879 w 6423456"/>
              <a:gd name="connsiteY3842" fmla="*/ 563559 h 6377102"/>
              <a:gd name="connsiteX3843" fmla="*/ 642719 w 6423456"/>
              <a:gd name="connsiteY3843" fmla="*/ 571475 h 6377102"/>
              <a:gd name="connsiteX3844" fmla="*/ 650635 w 6423456"/>
              <a:gd name="connsiteY3844" fmla="*/ 563559 h 6377102"/>
              <a:gd name="connsiteX3845" fmla="*/ 494902 w 6423456"/>
              <a:gd name="connsiteY3845" fmla="*/ 634042 h 6377102"/>
              <a:gd name="connsiteX3846" fmla="*/ 488052 w 6423456"/>
              <a:gd name="connsiteY3846" fmla="*/ 627191 h 6377102"/>
              <a:gd name="connsiteX3847" fmla="*/ 481202 w 6423456"/>
              <a:gd name="connsiteY3847" fmla="*/ 634042 h 6377102"/>
              <a:gd name="connsiteX3848" fmla="*/ 488052 w 6423456"/>
              <a:gd name="connsiteY3848" fmla="*/ 640892 h 6377102"/>
              <a:gd name="connsiteX3849" fmla="*/ 494902 w 6423456"/>
              <a:gd name="connsiteY3849" fmla="*/ 634042 h 6377102"/>
              <a:gd name="connsiteX3850" fmla="*/ 341758 w 6423456"/>
              <a:gd name="connsiteY3850" fmla="*/ 711070 h 6377102"/>
              <a:gd name="connsiteX3851" fmla="*/ 336506 w 6423456"/>
              <a:gd name="connsiteY3851" fmla="*/ 705818 h 6377102"/>
              <a:gd name="connsiteX3852" fmla="*/ 331254 w 6423456"/>
              <a:gd name="connsiteY3852" fmla="*/ 711070 h 6377102"/>
              <a:gd name="connsiteX3853" fmla="*/ 336506 w 6423456"/>
              <a:gd name="connsiteY3853" fmla="*/ 716322 h 6377102"/>
              <a:gd name="connsiteX3854" fmla="*/ 341758 w 6423456"/>
              <a:gd name="connsiteY3854" fmla="*/ 711070 h 6377102"/>
              <a:gd name="connsiteX3855" fmla="*/ 192496 w 6423456"/>
              <a:gd name="connsiteY3855" fmla="*/ 794493 h 6377102"/>
              <a:gd name="connsiteX3856" fmla="*/ 188309 w 6423456"/>
              <a:gd name="connsiteY3856" fmla="*/ 790306 h 6377102"/>
              <a:gd name="connsiteX3857" fmla="*/ 184123 w 6423456"/>
              <a:gd name="connsiteY3857" fmla="*/ 794493 h 6377102"/>
              <a:gd name="connsiteX3858" fmla="*/ 188309 w 6423456"/>
              <a:gd name="connsiteY3858" fmla="*/ 798679 h 6377102"/>
              <a:gd name="connsiteX3859" fmla="*/ 192496 w 6423456"/>
              <a:gd name="connsiteY3859" fmla="*/ 794493 h 6377102"/>
              <a:gd name="connsiteX3860" fmla="*/ 5856321 w 6423456"/>
              <a:gd name="connsiteY3860" fmla="*/ 6252502 h 6377102"/>
              <a:gd name="connsiteX3861" fmla="*/ 5851069 w 6423456"/>
              <a:gd name="connsiteY3861" fmla="*/ 6247250 h 6377102"/>
              <a:gd name="connsiteX3862" fmla="*/ 5845817 w 6423456"/>
              <a:gd name="connsiteY3862" fmla="*/ 6252502 h 6377102"/>
              <a:gd name="connsiteX3863" fmla="*/ 5851069 w 6423456"/>
              <a:gd name="connsiteY3863" fmla="*/ 6257754 h 6377102"/>
              <a:gd name="connsiteX3864" fmla="*/ 5856321 w 6423456"/>
              <a:gd name="connsiteY3864" fmla="*/ 6252502 h 6377102"/>
              <a:gd name="connsiteX3865" fmla="*/ 5937840 w 6423456"/>
              <a:gd name="connsiteY3865" fmla="*/ 6102402 h 6377102"/>
              <a:gd name="connsiteX3866" fmla="*/ 5930990 w 6423456"/>
              <a:gd name="connsiteY3866" fmla="*/ 6095552 h 6377102"/>
              <a:gd name="connsiteX3867" fmla="*/ 5924140 w 6423456"/>
              <a:gd name="connsiteY3867" fmla="*/ 6102402 h 6377102"/>
              <a:gd name="connsiteX3868" fmla="*/ 5930990 w 6423456"/>
              <a:gd name="connsiteY3868" fmla="*/ 6109253 h 6377102"/>
              <a:gd name="connsiteX3869" fmla="*/ 5937840 w 6423456"/>
              <a:gd name="connsiteY3869" fmla="*/ 6102402 h 6377102"/>
              <a:gd name="connsiteX3870" fmla="*/ 6012662 w 6423456"/>
              <a:gd name="connsiteY3870" fmla="*/ 5949258 h 6377102"/>
              <a:gd name="connsiteX3871" fmla="*/ 6004746 w 6423456"/>
              <a:gd name="connsiteY3871" fmla="*/ 5941342 h 6377102"/>
              <a:gd name="connsiteX3872" fmla="*/ 5996906 w 6423456"/>
              <a:gd name="connsiteY3872" fmla="*/ 5949258 h 6377102"/>
              <a:gd name="connsiteX3873" fmla="*/ 6004746 w 6423456"/>
              <a:gd name="connsiteY3873" fmla="*/ 5957098 h 6377102"/>
              <a:gd name="connsiteX3874" fmla="*/ 6012662 w 6423456"/>
              <a:gd name="connsiteY3874" fmla="*/ 5949258 h 6377102"/>
              <a:gd name="connsiteX3875" fmla="*/ 6081698 w 6423456"/>
              <a:gd name="connsiteY3875" fmla="*/ 5793145 h 6377102"/>
              <a:gd name="connsiteX3876" fmla="*/ 6072260 w 6423456"/>
              <a:gd name="connsiteY3876" fmla="*/ 5783707 h 6377102"/>
              <a:gd name="connsiteX3877" fmla="*/ 6062822 w 6423456"/>
              <a:gd name="connsiteY3877" fmla="*/ 5793145 h 6377102"/>
              <a:gd name="connsiteX3878" fmla="*/ 6072260 w 6423456"/>
              <a:gd name="connsiteY3878" fmla="*/ 5802584 h 6377102"/>
              <a:gd name="connsiteX3879" fmla="*/ 6081698 w 6423456"/>
              <a:gd name="connsiteY3879" fmla="*/ 5793145 h 6377102"/>
              <a:gd name="connsiteX3880" fmla="*/ 6144341 w 6423456"/>
              <a:gd name="connsiteY3880" fmla="*/ 5634521 h 6377102"/>
              <a:gd name="connsiteX3881" fmla="*/ 6133305 w 6423456"/>
              <a:gd name="connsiteY3881" fmla="*/ 5623484 h 6377102"/>
              <a:gd name="connsiteX3882" fmla="*/ 6122269 w 6423456"/>
              <a:gd name="connsiteY3882" fmla="*/ 5634521 h 6377102"/>
              <a:gd name="connsiteX3883" fmla="*/ 6133305 w 6423456"/>
              <a:gd name="connsiteY3883" fmla="*/ 5645557 h 6377102"/>
              <a:gd name="connsiteX3884" fmla="*/ 6144341 w 6423456"/>
              <a:gd name="connsiteY3884" fmla="*/ 5634521 h 6377102"/>
              <a:gd name="connsiteX3885" fmla="*/ 6200972 w 6423456"/>
              <a:gd name="connsiteY3885" fmla="*/ 5473461 h 6377102"/>
              <a:gd name="connsiteX3886" fmla="*/ 6187880 w 6423456"/>
              <a:gd name="connsiteY3886" fmla="*/ 5460369 h 6377102"/>
              <a:gd name="connsiteX3887" fmla="*/ 6174711 w 6423456"/>
              <a:gd name="connsiteY3887" fmla="*/ 5473461 h 6377102"/>
              <a:gd name="connsiteX3888" fmla="*/ 6187880 w 6423456"/>
              <a:gd name="connsiteY3888" fmla="*/ 5486553 h 6377102"/>
              <a:gd name="connsiteX3889" fmla="*/ 6200972 w 6423456"/>
              <a:gd name="connsiteY3889" fmla="*/ 5473461 h 6377102"/>
              <a:gd name="connsiteX3890" fmla="*/ 6250447 w 6423456"/>
              <a:gd name="connsiteY3890" fmla="*/ 5310345 h 6377102"/>
              <a:gd name="connsiteX3891" fmla="*/ 6235756 w 6423456"/>
              <a:gd name="connsiteY3891" fmla="*/ 5295655 h 6377102"/>
              <a:gd name="connsiteX3892" fmla="*/ 6221066 w 6423456"/>
              <a:gd name="connsiteY3892" fmla="*/ 5310345 h 6377102"/>
              <a:gd name="connsiteX3893" fmla="*/ 6235756 w 6423456"/>
              <a:gd name="connsiteY3893" fmla="*/ 5325035 h 6377102"/>
              <a:gd name="connsiteX3894" fmla="*/ 6250447 w 6423456"/>
              <a:gd name="connsiteY3894" fmla="*/ 5310345 h 6377102"/>
              <a:gd name="connsiteX3895" fmla="*/ 6293756 w 6423456"/>
              <a:gd name="connsiteY3895" fmla="*/ 5145403 h 6377102"/>
              <a:gd name="connsiteX3896" fmla="*/ 6276935 w 6423456"/>
              <a:gd name="connsiteY3896" fmla="*/ 5128582 h 6377102"/>
              <a:gd name="connsiteX3897" fmla="*/ 6260113 w 6423456"/>
              <a:gd name="connsiteY3897" fmla="*/ 5145403 h 6377102"/>
              <a:gd name="connsiteX3898" fmla="*/ 6276935 w 6423456"/>
              <a:gd name="connsiteY3898" fmla="*/ 5162224 h 6377102"/>
              <a:gd name="connsiteX3899" fmla="*/ 6293756 w 6423456"/>
              <a:gd name="connsiteY3899" fmla="*/ 5145403 h 6377102"/>
              <a:gd name="connsiteX3900" fmla="*/ 6330292 w 6423456"/>
              <a:gd name="connsiteY3900" fmla="*/ 4978863 h 6377102"/>
              <a:gd name="connsiteX3901" fmla="*/ 6311415 w 6423456"/>
              <a:gd name="connsiteY3901" fmla="*/ 4959986 h 6377102"/>
              <a:gd name="connsiteX3902" fmla="*/ 6292463 w 6423456"/>
              <a:gd name="connsiteY3902" fmla="*/ 4978863 h 6377102"/>
              <a:gd name="connsiteX3903" fmla="*/ 6311415 w 6423456"/>
              <a:gd name="connsiteY3903" fmla="*/ 4997815 h 6377102"/>
              <a:gd name="connsiteX3904" fmla="*/ 6330292 w 6423456"/>
              <a:gd name="connsiteY3904" fmla="*/ 4978863 h 6377102"/>
              <a:gd name="connsiteX3905" fmla="*/ 6359977 w 6423456"/>
              <a:gd name="connsiteY3905" fmla="*/ 4811104 h 6377102"/>
              <a:gd name="connsiteX3906" fmla="*/ 6338969 w 6423456"/>
              <a:gd name="connsiteY3906" fmla="*/ 4790096 h 6377102"/>
              <a:gd name="connsiteX3907" fmla="*/ 6317961 w 6423456"/>
              <a:gd name="connsiteY3907" fmla="*/ 4811104 h 6377102"/>
              <a:gd name="connsiteX3908" fmla="*/ 6338969 w 6423456"/>
              <a:gd name="connsiteY3908" fmla="*/ 4832112 h 6377102"/>
              <a:gd name="connsiteX3909" fmla="*/ 6359977 w 6423456"/>
              <a:gd name="connsiteY3909" fmla="*/ 4811104 h 6377102"/>
              <a:gd name="connsiteX3910" fmla="*/ 6382888 w 6423456"/>
              <a:gd name="connsiteY3910" fmla="*/ 4642356 h 6377102"/>
              <a:gd name="connsiteX3911" fmla="*/ 6359748 w 6423456"/>
              <a:gd name="connsiteY3911" fmla="*/ 4619217 h 6377102"/>
              <a:gd name="connsiteX3912" fmla="*/ 6336609 w 6423456"/>
              <a:gd name="connsiteY3912" fmla="*/ 4642356 h 6377102"/>
              <a:gd name="connsiteX3913" fmla="*/ 6359748 w 6423456"/>
              <a:gd name="connsiteY3913" fmla="*/ 4665496 h 6377102"/>
              <a:gd name="connsiteX3914" fmla="*/ 6382888 w 6423456"/>
              <a:gd name="connsiteY3914" fmla="*/ 4642356 h 6377102"/>
              <a:gd name="connsiteX3915" fmla="*/ 6398796 w 6423456"/>
              <a:gd name="connsiteY3915" fmla="*/ 4472923 h 6377102"/>
              <a:gd name="connsiteX3916" fmla="*/ 6373601 w 6423456"/>
              <a:gd name="connsiteY3916" fmla="*/ 4447729 h 6377102"/>
              <a:gd name="connsiteX3917" fmla="*/ 6348407 w 6423456"/>
              <a:gd name="connsiteY3917" fmla="*/ 4472923 h 6377102"/>
              <a:gd name="connsiteX3918" fmla="*/ 6373601 w 6423456"/>
              <a:gd name="connsiteY3918" fmla="*/ 4498117 h 6377102"/>
              <a:gd name="connsiteX3919" fmla="*/ 6398796 w 6423456"/>
              <a:gd name="connsiteY3919" fmla="*/ 4472923 h 6377102"/>
              <a:gd name="connsiteX3920" fmla="*/ 6407853 w 6423456"/>
              <a:gd name="connsiteY3920" fmla="*/ 4303034 h 6377102"/>
              <a:gd name="connsiteX3921" fmla="*/ 6380528 w 6423456"/>
              <a:gd name="connsiteY3921" fmla="*/ 4275708 h 6377102"/>
              <a:gd name="connsiteX3922" fmla="*/ 6353202 w 6423456"/>
              <a:gd name="connsiteY3922" fmla="*/ 4303034 h 6377102"/>
              <a:gd name="connsiteX3923" fmla="*/ 6380528 w 6423456"/>
              <a:gd name="connsiteY3923" fmla="*/ 4330359 h 6377102"/>
              <a:gd name="connsiteX3924" fmla="*/ 6407853 w 6423456"/>
              <a:gd name="connsiteY3924" fmla="*/ 4303034 h 6377102"/>
              <a:gd name="connsiteX3925" fmla="*/ 6409984 w 6423456"/>
              <a:gd name="connsiteY3925" fmla="*/ 4133068 h 6377102"/>
              <a:gd name="connsiteX3926" fmla="*/ 6380604 w 6423456"/>
              <a:gd name="connsiteY3926" fmla="*/ 4103687 h 6377102"/>
              <a:gd name="connsiteX3927" fmla="*/ 6351147 w 6423456"/>
              <a:gd name="connsiteY3927" fmla="*/ 4133068 h 6377102"/>
              <a:gd name="connsiteX3928" fmla="*/ 6380604 w 6423456"/>
              <a:gd name="connsiteY3928" fmla="*/ 4162448 h 6377102"/>
              <a:gd name="connsiteX3929" fmla="*/ 6409984 w 6423456"/>
              <a:gd name="connsiteY3929" fmla="*/ 4133068 h 6377102"/>
              <a:gd name="connsiteX3930" fmla="*/ 6405646 w 6423456"/>
              <a:gd name="connsiteY3930" fmla="*/ 3963178 h 6377102"/>
              <a:gd name="connsiteX3931" fmla="*/ 6373601 w 6423456"/>
              <a:gd name="connsiteY3931" fmla="*/ 3931133 h 6377102"/>
              <a:gd name="connsiteX3932" fmla="*/ 6341557 w 6423456"/>
              <a:gd name="connsiteY3932" fmla="*/ 3963178 h 6377102"/>
              <a:gd name="connsiteX3933" fmla="*/ 6373601 w 6423456"/>
              <a:gd name="connsiteY3933" fmla="*/ 3995223 h 6377102"/>
              <a:gd name="connsiteX3934" fmla="*/ 6405646 w 6423456"/>
              <a:gd name="connsiteY3934" fmla="*/ 3963178 h 6377102"/>
              <a:gd name="connsiteX3935" fmla="*/ 6393924 w 6423456"/>
              <a:gd name="connsiteY3935" fmla="*/ 3793745 h 6377102"/>
              <a:gd name="connsiteX3936" fmla="*/ 6359748 w 6423456"/>
              <a:gd name="connsiteY3936" fmla="*/ 3759569 h 6377102"/>
              <a:gd name="connsiteX3937" fmla="*/ 6325573 w 6423456"/>
              <a:gd name="connsiteY3937" fmla="*/ 3793745 h 6377102"/>
              <a:gd name="connsiteX3938" fmla="*/ 6359748 w 6423456"/>
              <a:gd name="connsiteY3938" fmla="*/ 3827921 h 6377102"/>
              <a:gd name="connsiteX3939" fmla="*/ 6393924 w 6423456"/>
              <a:gd name="connsiteY3939" fmla="*/ 3793745 h 6377102"/>
              <a:gd name="connsiteX3940" fmla="*/ 6375276 w 6423456"/>
              <a:gd name="connsiteY3940" fmla="*/ 3624997 h 6377102"/>
              <a:gd name="connsiteX3941" fmla="*/ 6339045 w 6423456"/>
              <a:gd name="connsiteY3941" fmla="*/ 3588766 h 6377102"/>
              <a:gd name="connsiteX3942" fmla="*/ 6302814 w 6423456"/>
              <a:gd name="connsiteY3942" fmla="*/ 3624997 h 6377102"/>
              <a:gd name="connsiteX3943" fmla="*/ 6339045 w 6423456"/>
              <a:gd name="connsiteY3943" fmla="*/ 3661228 h 6377102"/>
              <a:gd name="connsiteX3944" fmla="*/ 6375276 w 6423456"/>
              <a:gd name="connsiteY3944" fmla="*/ 3624997 h 6377102"/>
              <a:gd name="connsiteX3945" fmla="*/ 6349701 w 6423456"/>
              <a:gd name="connsiteY3945" fmla="*/ 3457239 h 6377102"/>
              <a:gd name="connsiteX3946" fmla="*/ 6311339 w 6423456"/>
              <a:gd name="connsiteY3946" fmla="*/ 3418877 h 6377102"/>
              <a:gd name="connsiteX3947" fmla="*/ 6272977 w 6423456"/>
              <a:gd name="connsiteY3947" fmla="*/ 3457239 h 6377102"/>
              <a:gd name="connsiteX3948" fmla="*/ 6311339 w 6423456"/>
              <a:gd name="connsiteY3948" fmla="*/ 3495601 h 6377102"/>
              <a:gd name="connsiteX3949" fmla="*/ 6349701 w 6423456"/>
              <a:gd name="connsiteY3949" fmla="*/ 3457239 h 6377102"/>
              <a:gd name="connsiteX3950" fmla="*/ 6317352 w 6423456"/>
              <a:gd name="connsiteY3950" fmla="*/ 3290698 h 6377102"/>
              <a:gd name="connsiteX3951" fmla="*/ 6276935 w 6423456"/>
              <a:gd name="connsiteY3951" fmla="*/ 3250281 h 6377102"/>
              <a:gd name="connsiteX3952" fmla="*/ 6236517 w 6423456"/>
              <a:gd name="connsiteY3952" fmla="*/ 3290698 h 6377102"/>
              <a:gd name="connsiteX3953" fmla="*/ 6276935 w 6423456"/>
              <a:gd name="connsiteY3953" fmla="*/ 3331116 h 6377102"/>
              <a:gd name="connsiteX3954" fmla="*/ 6317352 w 6423456"/>
              <a:gd name="connsiteY3954" fmla="*/ 3290698 h 6377102"/>
              <a:gd name="connsiteX3955" fmla="*/ 6277772 w 6423456"/>
              <a:gd name="connsiteY3955" fmla="*/ 3125756 h 6377102"/>
              <a:gd name="connsiteX3956" fmla="*/ 6235756 w 6423456"/>
              <a:gd name="connsiteY3956" fmla="*/ 3083741 h 6377102"/>
              <a:gd name="connsiteX3957" fmla="*/ 6193740 w 6423456"/>
              <a:gd name="connsiteY3957" fmla="*/ 3125756 h 6377102"/>
              <a:gd name="connsiteX3958" fmla="*/ 6235756 w 6423456"/>
              <a:gd name="connsiteY3958" fmla="*/ 3167772 h 6377102"/>
              <a:gd name="connsiteX3959" fmla="*/ 6277772 w 6423456"/>
              <a:gd name="connsiteY3959" fmla="*/ 3125756 h 6377102"/>
              <a:gd name="connsiteX3960" fmla="*/ 6231950 w 6423456"/>
              <a:gd name="connsiteY3960" fmla="*/ 2962641 h 6377102"/>
              <a:gd name="connsiteX3961" fmla="*/ 6187804 w 6423456"/>
              <a:gd name="connsiteY3961" fmla="*/ 2918494 h 6377102"/>
              <a:gd name="connsiteX3962" fmla="*/ 6143657 w 6423456"/>
              <a:gd name="connsiteY3962" fmla="*/ 2962641 h 6377102"/>
              <a:gd name="connsiteX3963" fmla="*/ 6187804 w 6423456"/>
              <a:gd name="connsiteY3963" fmla="*/ 3006788 h 6377102"/>
              <a:gd name="connsiteX3964" fmla="*/ 6231950 w 6423456"/>
              <a:gd name="connsiteY3964" fmla="*/ 2962641 h 6377102"/>
              <a:gd name="connsiteX3965" fmla="*/ 6178974 w 6423456"/>
              <a:gd name="connsiteY3965" fmla="*/ 2801581 h 6377102"/>
              <a:gd name="connsiteX3966" fmla="*/ 6133305 w 6423456"/>
              <a:gd name="connsiteY3966" fmla="*/ 2755911 h 6377102"/>
              <a:gd name="connsiteX3967" fmla="*/ 6087636 w 6423456"/>
              <a:gd name="connsiteY3967" fmla="*/ 2801581 h 6377102"/>
              <a:gd name="connsiteX3968" fmla="*/ 6133305 w 6423456"/>
              <a:gd name="connsiteY3968" fmla="*/ 2847250 h 6377102"/>
              <a:gd name="connsiteX3969" fmla="*/ 6178974 w 6423456"/>
              <a:gd name="connsiteY3969" fmla="*/ 2801581 h 6377102"/>
              <a:gd name="connsiteX3970" fmla="*/ 6119528 w 6423456"/>
              <a:gd name="connsiteY3970" fmla="*/ 2642880 h 6377102"/>
              <a:gd name="connsiteX3971" fmla="*/ 6072260 w 6423456"/>
              <a:gd name="connsiteY3971" fmla="*/ 2595612 h 6377102"/>
              <a:gd name="connsiteX3972" fmla="*/ 6024993 w 6423456"/>
              <a:gd name="connsiteY3972" fmla="*/ 2642880 h 6377102"/>
              <a:gd name="connsiteX3973" fmla="*/ 6072260 w 6423456"/>
              <a:gd name="connsiteY3973" fmla="*/ 2690148 h 6377102"/>
              <a:gd name="connsiteX3974" fmla="*/ 6119528 w 6423456"/>
              <a:gd name="connsiteY3974" fmla="*/ 2642880 h 6377102"/>
              <a:gd name="connsiteX3975" fmla="*/ 6053688 w 6423456"/>
              <a:gd name="connsiteY3975" fmla="*/ 2486843 h 6377102"/>
              <a:gd name="connsiteX3976" fmla="*/ 6004822 w 6423456"/>
              <a:gd name="connsiteY3976" fmla="*/ 2437977 h 6377102"/>
              <a:gd name="connsiteX3977" fmla="*/ 5955956 w 6423456"/>
              <a:gd name="connsiteY3977" fmla="*/ 2486843 h 6377102"/>
              <a:gd name="connsiteX3978" fmla="*/ 6004822 w 6423456"/>
              <a:gd name="connsiteY3978" fmla="*/ 2535709 h 6377102"/>
              <a:gd name="connsiteX3979" fmla="*/ 6053688 w 6423456"/>
              <a:gd name="connsiteY3979" fmla="*/ 2486843 h 6377102"/>
              <a:gd name="connsiteX3980" fmla="*/ 5980922 w 6423456"/>
              <a:gd name="connsiteY3980" fmla="*/ 2333699 h 6377102"/>
              <a:gd name="connsiteX3981" fmla="*/ 5930990 w 6423456"/>
              <a:gd name="connsiteY3981" fmla="*/ 2283767 h 6377102"/>
              <a:gd name="connsiteX3982" fmla="*/ 5881058 w 6423456"/>
              <a:gd name="connsiteY3982" fmla="*/ 2333699 h 6377102"/>
              <a:gd name="connsiteX3983" fmla="*/ 5930990 w 6423456"/>
              <a:gd name="connsiteY3983" fmla="*/ 2383631 h 6377102"/>
              <a:gd name="connsiteX3984" fmla="*/ 5980922 w 6423456"/>
              <a:gd name="connsiteY3984" fmla="*/ 2333699 h 6377102"/>
              <a:gd name="connsiteX3985" fmla="*/ 5902599 w 6423456"/>
              <a:gd name="connsiteY3985" fmla="*/ 2183600 h 6377102"/>
              <a:gd name="connsiteX3986" fmla="*/ 5851145 w 6423456"/>
              <a:gd name="connsiteY3986" fmla="*/ 2132146 h 6377102"/>
              <a:gd name="connsiteX3987" fmla="*/ 5799691 w 6423456"/>
              <a:gd name="connsiteY3987" fmla="*/ 2183600 h 6377102"/>
              <a:gd name="connsiteX3988" fmla="*/ 5851145 w 6423456"/>
              <a:gd name="connsiteY3988" fmla="*/ 2235053 h 6377102"/>
              <a:gd name="connsiteX3989" fmla="*/ 5902599 w 6423456"/>
              <a:gd name="connsiteY3989" fmla="*/ 2183600 h 6377102"/>
              <a:gd name="connsiteX3990" fmla="*/ 5817578 w 6423456"/>
              <a:gd name="connsiteY3990" fmla="*/ 2036925 h 6377102"/>
              <a:gd name="connsiteX3991" fmla="*/ 5765058 w 6423456"/>
              <a:gd name="connsiteY3991" fmla="*/ 1984405 h 6377102"/>
              <a:gd name="connsiteX3992" fmla="*/ 5712539 w 6423456"/>
              <a:gd name="connsiteY3992" fmla="*/ 2036925 h 6377102"/>
              <a:gd name="connsiteX3993" fmla="*/ 5765058 w 6423456"/>
              <a:gd name="connsiteY3993" fmla="*/ 2089445 h 6377102"/>
              <a:gd name="connsiteX3994" fmla="*/ 5817578 w 6423456"/>
              <a:gd name="connsiteY3994" fmla="*/ 2036925 h 6377102"/>
              <a:gd name="connsiteX3995" fmla="*/ 5726240 w 6423456"/>
              <a:gd name="connsiteY3995" fmla="*/ 1893904 h 6377102"/>
              <a:gd name="connsiteX3996" fmla="*/ 5673188 w 6423456"/>
              <a:gd name="connsiteY3996" fmla="*/ 1840852 h 6377102"/>
              <a:gd name="connsiteX3997" fmla="*/ 5620134 w 6423456"/>
              <a:gd name="connsiteY3997" fmla="*/ 1893904 h 6377102"/>
              <a:gd name="connsiteX3998" fmla="*/ 5673188 w 6423456"/>
              <a:gd name="connsiteY3998" fmla="*/ 1946956 h 6377102"/>
              <a:gd name="connsiteX3999" fmla="*/ 5726240 w 6423456"/>
              <a:gd name="connsiteY3999" fmla="*/ 1893904 h 6377102"/>
              <a:gd name="connsiteX4000" fmla="*/ 5629573 w 6423456"/>
              <a:gd name="connsiteY4000" fmla="*/ 1754765 h 6377102"/>
              <a:gd name="connsiteX4001" fmla="*/ 5575455 w 6423456"/>
              <a:gd name="connsiteY4001" fmla="*/ 1700647 h 6377102"/>
              <a:gd name="connsiteX4002" fmla="*/ 5521337 w 6423456"/>
              <a:gd name="connsiteY4002" fmla="*/ 1754765 h 6377102"/>
              <a:gd name="connsiteX4003" fmla="*/ 5575455 w 6423456"/>
              <a:gd name="connsiteY4003" fmla="*/ 1808883 h 6377102"/>
              <a:gd name="connsiteX4004" fmla="*/ 5629573 w 6423456"/>
              <a:gd name="connsiteY4004" fmla="*/ 1754765 h 6377102"/>
              <a:gd name="connsiteX4005" fmla="*/ 5526817 w 6423456"/>
              <a:gd name="connsiteY4005" fmla="*/ 1619736 h 6377102"/>
              <a:gd name="connsiteX4006" fmla="*/ 5472166 w 6423456"/>
              <a:gd name="connsiteY4006" fmla="*/ 1565086 h 6377102"/>
              <a:gd name="connsiteX4007" fmla="*/ 5417515 w 6423456"/>
              <a:gd name="connsiteY4007" fmla="*/ 1619736 h 6377102"/>
              <a:gd name="connsiteX4008" fmla="*/ 5472166 w 6423456"/>
              <a:gd name="connsiteY4008" fmla="*/ 1674387 h 6377102"/>
              <a:gd name="connsiteX4009" fmla="*/ 5526817 w 6423456"/>
              <a:gd name="connsiteY4009" fmla="*/ 1619736 h 6377102"/>
              <a:gd name="connsiteX4010" fmla="*/ 5418657 w 6423456"/>
              <a:gd name="connsiteY4010" fmla="*/ 1488970 h 6377102"/>
              <a:gd name="connsiteX4011" fmla="*/ 5363473 w 6423456"/>
              <a:gd name="connsiteY4011" fmla="*/ 1433786 h 6377102"/>
              <a:gd name="connsiteX4012" fmla="*/ 5308290 w 6423456"/>
              <a:gd name="connsiteY4012" fmla="*/ 1488970 h 6377102"/>
              <a:gd name="connsiteX4013" fmla="*/ 5363473 w 6423456"/>
              <a:gd name="connsiteY4013" fmla="*/ 1544154 h 6377102"/>
              <a:gd name="connsiteX4014" fmla="*/ 5418657 w 6423456"/>
              <a:gd name="connsiteY4014" fmla="*/ 1488970 h 6377102"/>
              <a:gd name="connsiteX4015" fmla="*/ 5304713 w 6423456"/>
              <a:gd name="connsiteY4015" fmla="*/ 1362771 h 6377102"/>
              <a:gd name="connsiteX4016" fmla="*/ 5249529 w 6423456"/>
              <a:gd name="connsiteY4016" fmla="*/ 1307587 h 6377102"/>
              <a:gd name="connsiteX4017" fmla="*/ 5194345 w 6423456"/>
              <a:gd name="connsiteY4017" fmla="*/ 1362771 h 6377102"/>
              <a:gd name="connsiteX4018" fmla="*/ 5249529 w 6423456"/>
              <a:gd name="connsiteY4018" fmla="*/ 1417954 h 6377102"/>
              <a:gd name="connsiteX4019" fmla="*/ 5304713 w 6423456"/>
              <a:gd name="connsiteY4019" fmla="*/ 1362771 h 6377102"/>
              <a:gd name="connsiteX4020" fmla="*/ 5185744 w 6423456"/>
              <a:gd name="connsiteY4020" fmla="*/ 1241367 h 6377102"/>
              <a:gd name="connsiteX4021" fmla="*/ 5130560 w 6423456"/>
              <a:gd name="connsiteY4021" fmla="*/ 1186183 h 6377102"/>
              <a:gd name="connsiteX4022" fmla="*/ 5075377 w 6423456"/>
              <a:gd name="connsiteY4022" fmla="*/ 1241367 h 6377102"/>
              <a:gd name="connsiteX4023" fmla="*/ 5130560 w 6423456"/>
              <a:gd name="connsiteY4023" fmla="*/ 1296550 h 6377102"/>
              <a:gd name="connsiteX4024" fmla="*/ 5185744 w 6423456"/>
              <a:gd name="connsiteY4024" fmla="*/ 1241367 h 6377102"/>
              <a:gd name="connsiteX4025" fmla="*/ 5061904 w 6423456"/>
              <a:gd name="connsiteY4025" fmla="*/ 1124834 h 6377102"/>
              <a:gd name="connsiteX4026" fmla="*/ 5006720 w 6423456"/>
              <a:gd name="connsiteY4026" fmla="*/ 1069650 h 6377102"/>
              <a:gd name="connsiteX4027" fmla="*/ 4951537 w 6423456"/>
              <a:gd name="connsiteY4027" fmla="*/ 1124834 h 6377102"/>
              <a:gd name="connsiteX4028" fmla="*/ 5006720 w 6423456"/>
              <a:gd name="connsiteY4028" fmla="*/ 1180017 h 6377102"/>
              <a:gd name="connsiteX4029" fmla="*/ 5061904 w 6423456"/>
              <a:gd name="connsiteY4029" fmla="*/ 1124834 h 6377102"/>
              <a:gd name="connsiteX4030" fmla="*/ 4932889 w 6423456"/>
              <a:gd name="connsiteY4030" fmla="*/ 1013553 h 6377102"/>
              <a:gd name="connsiteX4031" fmla="*/ 4878238 w 6423456"/>
              <a:gd name="connsiteY4031" fmla="*/ 958902 h 6377102"/>
              <a:gd name="connsiteX4032" fmla="*/ 4823587 w 6423456"/>
              <a:gd name="connsiteY4032" fmla="*/ 1013553 h 6377102"/>
              <a:gd name="connsiteX4033" fmla="*/ 4878238 w 6423456"/>
              <a:gd name="connsiteY4033" fmla="*/ 1068204 h 6377102"/>
              <a:gd name="connsiteX4034" fmla="*/ 4932889 w 6423456"/>
              <a:gd name="connsiteY4034" fmla="*/ 1013553 h 6377102"/>
              <a:gd name="connsiteX4035" fmla="*/ 4799458 w 6423456"/>
              <a:gd name="connsiteY4035" fmla="*/ 907524 h 6377102"/>
              <a:gd name="connsiteX4036" fmla="*/ 4745340 w 6423456"/>
              <a:gd name="connsiteY4036" fmla="*/ 853406 h 6377102"/>
              <a:gd name="connsiteX4037" fmla="*/ 4691222 w 6423456"/>
              <a:gd name="connsiteY4037" fmla="*/ 907524 h 6377102"/>
              <a:gd name="connsiteX4038" fmla="*/ 4745340 w 6423456"/>
              <a:gd name="connsiteY4038" fmla="*/ 961642 h 6377102"/>
              <a:gd name="connsiteX4039" fmla="*/ 4799458 w 6423456"/>
              <a:gd name="connsiteY4039" fmla="*/ 907524 h 6377102"/>
              <a:gd name="connsiteX4040" fmla="*/ 4661766 w 6423456"/>
              <a:gd name="connsiteY4040" fmla="*/ 807052 h 6377102"/>
              <a:gd name="connsiteX4041" fmla="*/ 4608180 w 6423456"/>
              <a:gd name="connsiteY4041" fmla="*/ 753467 h 6377102"/>
              <a:gd name="connsiteX4042" fmla="*/ 4554595 w 6423456"/>
              <a:gd name="connsiteY4042" fmla="*/ 807052 h 6377102"/>
              <a:gd name="connsiteX4043" fmla="*/ 4608180 w 6423456"/>
              <a:gd name="connsiteY4043" fmla="*/ 860637 h 6377102"/>
              <a:gd name="connsiteX4044" fmla="*/ 4661766 w 6423456"/>
              <a:gd name="connsiteY4044" fmla="*/ 807052 h 6377102"/>
              <a:gd name="connsiteX4045" fmla="*/ 4520114 w 6423456"/>
              <a:gd name="connsiteY4045" fmla="*/ 712212 h 6377102"/>
              <a:gd name="connsiteX4046" fmla="*/ 4467062 w 6423456"/>
              <a:gd name="connsiteY4046" fmla="*/ 659160 h 6377102"/>
              <a:gd name="connsiteX4047" fmla="*/ 4414010 w 6423456"/>
              <a:gd name="connsiteY4047" fmla="*/ 712212 h 6377102"/>
              <a:gd name="connsiteX4048" fmla="*/ 4467062 w 6423456"/>
              <a:gd name="connsiteY4048" fmla="*/ 765265 h 6377102"/>
              <a:gd name="connsiteX4049" fmla="*/ 4520114 w 6423456"/>
              <a:gd name="connsiteY4049" fmla="*/ 712212 h 6377102"/>
              <a:gd name="connsiteX4050" fmla="*/ 4374201 w 6423456"/>
              <a:gd name="connsiteY4050" fmla="*/ 623233 h 6377102"/>
              <a:gd name="connsiteX4051" fmla="*/ 4322214 w 6423456"/>
              <a:gd name="connsiteY4051" fmla="*/ 571246 h 6377102"/>
              <a:gd name="connsiteX4052" fmla="*/ 4270228 w 6423456"/>
              <a:gd name="connsiteY4052" fmla="*/ 623233 h 6377102"/>
              <a:gd name="connsiteX4053" fmla="*/ 4322214 w 6423456"/>
              <a:gd name="connsiteY4053" fmla="*/ 675220 h 6377102"/>
              <a:gd name="connsiteX4054" fmla="*/ 4374201 w 6423456"/>
              <a:gd name="connsiteY4054" fmla="*/ 623233 h 6377102"/>
              <a:gd name="connsiteX4055" fmla="*/ 4224253 w 6423456"/>
              <a:gd name="connsiteY4055" fmla="*/ 540191 h 6377102"/>
              <a:gd name="connsiteX4056" fmla="*/ 4173789 w 6423456"/>
              <a:gd name="connsiteY4056" fmla="*/ 489727 h 6377102"/>
              <a:gd name="connsiteX4057" fmla="*/ 4123400 w 6423456"/>
              <a:gd name="connsiteY4057" fmla="*/ 540191 h 6377102"/>
              <a:gd name="connsiteX4058" fmla="*/ 4173789 w 6423456"/>
              <a:gd name="connsiteY4058" fmla="*/ 590656 h 6377102"/>
              <a:gd name="connsiteX4059" fmla="*/ 4224253 w 6423456"/>
              <a:gd name="connsiteY4059" fmla="*/ 540191 h 6377102"/>
              <a:gd name="connsiteX4060" fmla="*/ 4071566 w 6423456"/>
              <a:gd name="connsiteY4060" fmla="*/ 463391 h 6377102"/>
              <a:gd name="connsiteX4061" fmla="*/ 4022167 w 6423456"/>
              <a:gd name="connsiteY4061" fmla="*/ 413992 h 6377102"/>
              <a:gd name="connsiteX4062" fmla="*/ 3972769 w 6423456"/>
              <a:gd name="connsiteY4062" fmla="*/ 463391 h 6377102"/>
              <a:gd name="connsiteX4063" fmla="*/ 4022167 w 6423456"/>
              <a:gd name="connsiteY4063" fmla="*/ 512790 h 6377102"/>
              <a:gd name="connsiteX4064" fmla="*/ 4071566 w 6423456"/>
              <a:gd name="connsiteY4064" fmla="*/ 463391 h 6377102"/>
              <a:gd name="connsiteX4065" fmla="*/ 3915301 w 6423456"/>
              <a:gd name="connsiteY4065" fmla="*/ 392756 h 6377102"/>
              <a:gd name="connsiteX4066" fmla="*/ 3867500 w 6423456"/>
              <a:gd name="connsiteY4066" fmla="*/ 344955 h 6377102"/>
              <a:gd name="connsiteX4067" fmla="*/ 3819701 w 6423456"/>
              <a:gd name="connsiteY4067" fmla="*/ 392756 h 6377102"/>
              <a:gd name="connsiteX4068" fmla="*/ 3867500 w 6423456"/>
              <a:gd name="connsiteY4068" fmla="*/ 440556 h 6377102"/>
              <a:gd name="connsiteX4069" fmla="*/ 3915301 w 6423456"/>
              <a:gd name="connsiteY4069" fmla="*/ 392756 h 6377102"/>
              <a:gd name="connsiteX4070" fmla="*/ 3756372 w 6423456"/>
              <a:gd name="connsiteY4070" fmla="*/ 328438 h 6377102"/>
              <a:gd name="connsiteX4071" fmla="*/ 3710170 w 6423456"/>
              <a:gd name="connsiteY4071" fmla="*/ 282236 h 6377102"/>
              <a:gd name="connsiteX4072" fmla="*/ 3663968 w 6423456"/>
              <a:gd name="connsiteY4072" fmla="*/ 328438 h 6377102"/>
              <a:gd name="connsiteX4073" fmla="*/ 3710170 w 6423456"/>
              <a:gd name="connsiteY4073" fmla="*/ 374640 h 6377102"/>
              <a:gd name="connsiteX4074" fmla="*/ 3756372 w 6423456"/>
              <a:gd name="connsiteY4074" fmla="*/ 328438 h 6377102"/>
              <a:gd name="connsiteX4075" fmla="*/ 3594855 w 6423456"/>
              <a:gd name="connsiteY4075" fmla="*/ 270666 h 6377102"/>
              <a:gd name="connsiteX4076" fmla="*/ 3550176 w 6423456"/>
              <a:gd name="connsiteY4076" fmla="*/ 225987 h 6377102"/>
              <a:gd name="connsiteX4077" fmla="*/ 3505496 w 6423456"/>
              <a:gd name="connsiteY4077" fmla="*/ 270666 h 6377102"/>
              <a:gd name="connsiteX4078" fmla="*/ 3550176 w 6423456"/>
              <a:gd name="connsiteY4078" fmla="*/ 315346 h 6377102"/>
              <a:gd name="connsiteX4079" fmla="*/ 3594855 w 6423456"/>
              <a:gd name="connsiteY4079" fmla="*/ 270666 h 6377102"/>
              <a:gd name="connsiteX4080" fmla="*/ 3431207 w 6423456"/>
              <a:gd name="connsiteY4080" fmla="*/ 219441 h 6377102"/>
              <a:gd name="connsiteX4081" fmla="*/ 3388126 w 6423456"/>
              <a:gd name="connsiteY4081" fmla="*/ 176359 h 6377102"/>
              <a:gd name="connsiteX4082" fmla="*/ 3345045 w 6423456"/>
              <a:gd name="connsiteY4082" fmla="*/ 219441 h 6377102"/>
              <a:gd name="connsiteX4083" fmla="*/ 3388126 w 6423456"/>
              <a:gd name="connsiteY4083" fmla="*/ 262522 h 6377102"/>
              <a:gd name="connsiteX4084" fmla="*/ 3431207 w 6423456"/>
              <a:gd name="connsiteY4084" fmla="*/ 219441 h 6377102"/>
              <a:gd name="connsiteX4085" fmla="*/ 3265504 w 6423456"/>
              <a:gd name="connsiteY4085" fmla="*/ 174913 h 6377102"/>
              <a:gd name="connsiteX4086" fmla="*/ 3224021 w 6423456"/>
              <a:gd name="connsiteY4086" fmla="*/ 133430 h 6377102"/>
              <a:gd name="connsiteX4087" fmla="*/ 3182538 w 6423456"/>
              <a:gd name="connsiteY4087" fmla="*/ 174913 h 6377102"/>
              <a:gd name="connsiteX4088" fmla="*/ 3224021 w 6423456"/>
              <a:gd name="connsiteY4088" fmla="*/ 216396 h 6377102"/>
              <a:gd name="connsiteX4089" fmla="*/ 3265504 w 6423456"/>
              <a:gd name="connsiteY4089" fmla="*/ 174913 h 6377102"/>
              <a:gd name="connsiteX4090" fmla="*/ 3097670 w 6423456"/>
              <a:gd name="connsiteY4090" fmla="*/ 137084 h 6377102"/>
              <a:gd name="connsiteX4091" fmla="*/ 3058242 w 6423456"/>
              <a:gd name="connsiteY4091" fmla="*/ 97656 h 6377102"/>
              <a:gd name="connsiteX4092" fmla="*/ 3018813 w 6423456"/>
              <a:gd name="connsiteY4092" fmla="*/ 137084 h 6377102"/>
              <a:gd name="connsiteX4093" fmla="*/ 3058242 w 6423456"/>
              <a:gd name="connsiteY4093" fmla="*/ 176512 h 6377102"/>
              <a:gd name="connsiteX4094" fmla="*/ 3097670 w 6423456"/>
              <a:gd name="connsiteY4094" fmla="*/ 137084 h 6377102"/>
              <a:gd name="connsiteX4095" fmla="*/ 2928388 w 6423456"/>
              <a:gd name="connsiteY4095" fmla="*/ 106029 h 6377102"/>
              <a:gd name="connsiteX4096" fmla="*/ 2891092 w 6423456"/>
              <a:gd name="connsiteY4096" fmla="*/ 68732 h 6377102"/>
              <a:gd name="connsiteX4097" fmla="*/ 2853796 w 6423456"/>
              <a:gd name="connsiteY4097" fmla="*/ 106029 h 6377102"/>
              <a:gd name="connsiteX4098" fmla="*/ 2891092 w 6423456"/>
              <a:gd name="connsiteY4098" fmla="*/ 143325 h 6377102"/>
              <a:gd name="connsiteX4099" fmla="*/ 2928388 w 6423456"/>
              <a:gd name="connsiteY4099" fmla="*/ 106029 h 6377102"/>
              <a:gd name="connsiteX4100" fmla="*/ 2758042 w 6423456"/>
              <a:gd name="connsiteY4100" fmla="*/ 81824 h 6377102"/>
              <a:gd name="connsiteX4101" fmla="*/ 2722877 w 6423456"/>
              <a:gd name="connsiteY4101" fmla="*/ 46659 h 6377102"/>
              <a:gd name="connsiteX4102" fmla="*/ 2687711 w 6423456"/>
              <a:gd name="connsiteY4102" fmla="*/ 81824 h 6377102"/>
              <a:gd name="connsiteX4103" fmla="*/ 2722877 w 6423456"/>
              <a:gd name="connsiteY4103" fmla="*/ 116989 h 6377102"/>
              <a:gd name="connsiteX4104" fmla="*/ 2758042 w 6423456"/>
              <a:gd name="connsiteY4104" fmla="*/ 81824 h 6377102"/>
              <a:gd name="connsiteX4105" fmla="*/ 2586782 w 6423456"/>
              <a:gd name="connsiteY4105" fmla="*/ 64546 h 6377102"/>
              <a:gd name="connsiteX4106" fmla="*/ 2553672 w 6423456"/>
              <a:gd name="connsiteY4106" fmla="*/ 31436 h 6377102"/>
              <a:gd name="connsiteX4107" fmla="*/ 2520562 w 6423456"/>
              <a:gd name="connsiteY4107" fmla="*/ 64546 h 6377102"/>
              <a:gd name="connsiteX4108" fmla="*/ 2553672 w 6423456"/>
              <a:gd name="connsiteY4108" fmla="*/ 97656 h 6377102"/>
              <a:gd name="connsiteX4109" fmla="*/ 2586782 w 6423456"/>
              <a:gd name="connsiteY4109" fmla="*/ 64546 h 6377102"/>
              <a:gd name="connsiteX4110" fmla="*/ 2414458 w 6423456"/>
              <a:gd name="connsiteY4110" fmla="*/ 54118 h 6377102"/>
              <a:gd name="connsiteX4111" fmla="*/ 2384012 w 6423456"/>
              <a:gd name="connsiteY4111" fmla="*/ 23672 h 6377102"/>
              <a:gd name="connsiteX4112" fmla="*/ 2353565 w 6423456"/>
              <a:gd name="connsiteY4112" fmla="*/ 54118 h 6377102"/>
              <a:gd name="connsiteX4113" fmla="*/ 2384012 w 6423456"/>
              <a:gd name="connsiteY4113" fmla="*/ 84564 h 6377102"/>
              <a:gd name="connsiteX4114" fmla="*/ 2414458 w 6423456"/>
              <a:gd name="connsiteY4114" fmla="*/ 54118 h 6377102"/>
              <a:gd name="connsiteX4115" fmla="*/ 2242360 w 6423456"/>
              <a:gd name="connsiteY4115" fmla="*/ 50617 h 6377102"/>
              <a:gd name="connsiteX4116" fmla="*/ 2213969 w 6423456"/>
              <a:gd name="connsiteY4116" fmla="*/ 22226 h 6377102"/>
              <a:gd name="connsiteX4117" fmla="*/ 2185578 w 6423456"/>
              <a:gd name="connsiteY4117" fmla="*/ 50617 h 6377102"/>
              <a:gd name="connsiteX4118" fmla="*/ 2213969 w 6423456"/>
              <a:gd name="connsiteY4118" fmla="*/ 79008 h 6377102"/>
              <a:gd name="connsiteX4119" fmla="*/ 2242360 w 6423456"/>
              <a:gd name="connsiteY4119" fmla="*/ 50617 h 6377102"/>
              <a:gd name="connsiteX4120" fmla="*/ 2070263 w 6423456"/>
              <a:gd name="connsiteY4120" fmla="*/ 54118 h 6377102"/>
              <a:gd name="connsiteX4121" fmla="*/ 2044004 w 6423456"/>
              <a:gd name="connsiteY4121" fmla="*/ 27858 h 6377102"/>
              <a:gd name="connsiteX4122" fmla="*/ 2017744 w 6423456"/>
              <a:gd name="connsiteY4122" fmla="*/ 54118 h 6377102"/>
              <a:gd name="connsiteX4123" fmla="*/ 2044004 w 6423456"/>
              <a:gd name="connsiteY4123" fmla="*/ 80378 h 6377102"/>
              <a:gd name="connsiteX4124" fmla="*/ 2070263 w 6423456"/>
              <a:gd name="connsiteY4124" fmla="*/ 54118 h 6377102"/>
              <a:gd name="connsiteX4125" fmla="*/ 1898471 w 6423456"/>
              <a:gd name="connsiteY4125" fmla="*/ 64546 h 6377102"/>
              <a:gd name="connsiteX4126" fmla="*/ 1874266 w 6423456"/>
              <a:gd name="connsiteY4126" fmla="*/ 40417 h 6377102"/>
              <a:gd name="connsiteX4127" fmla="*/ 1850137 w 6423456"/>
              <a:gd name="connsiteY4127" fmla="*/ 64546 h 6377102"/>
              <a:gd name="connsiteX4128" fmla="*/ 1874266 w 6423456"/>
              <a:gd name="connsiteY4128" fmla="*/ 88751 h 6377102"/>
              <a:gd name="connsiteX4129" fmla="*/ 1898471 w 6423456"/>
              <a:gd name="connsiteY4129" fmla="*/ 64546 h 6377102"/>
              <a:gd name="connsiteX4130" fmla="*/ 1727287 w 6423456"/>
              <a:gd name="connsiteY4130" fmla="*/ 81824 h 6377102"/>
              <a:gd name="connsiteX4131" fmla="*/ 1705214 w 6423456"/>
              <a:gd name="connsiteY4131" fmla="*/ 59751 h 6377102"/>
              <a:gd name="connsiteX4132" fmla="*/ 1683140 w 6423456"/>
              <a:gd name="connsiteY4132" fmla="*/ 81824 h 6377102"/>
              <a:gd name="connsiteX4133" fmla="*/ 1705214 w 6423456"/>
              <a:gd name="connsiteY4133" fmla="*/ 103898 h 6377102"/>
              <a:gd name="connsiteX4134" fmla="*/ 1727287 w 6423456"/>
              <a:gd name="connsiteY4134" fmla="*/ 81824 h 6377102"/>
              <a:gd name="connsiteX4135" fmla="*/ 1556865 w 6423456"/>
              <a:gd name="connsiteY4135" fmla="*/ 106029 h 6377102"/>
              <a:gd name="connsiteX4136" fmla="*/ 1536923 w 6423456"/>
              <a:gd name="connsiteY4136" fmla="*/ 86087 h 6377102"/>
              <a:gd name="connsiteX4137" fmla="*/ 1516980 w 6423456"/>
              <a:gd name="connsiteY4137" fmla="*/ 106029 h 6377102"/>
              <a:gd name="connsiteX4138" fmla="*/ 1536923 w 6423456"/>
              <a:gd name="connsiteY4138" fmla="*/ 125971 h 6377102"/>
              <a:gd name="connsiteX4139" fmla="*/ 1556865 w 6423456"/>
              <a:gd name="connsiteY4139" fmla="*/ 106029 h 6377102"/>
              <a:gd name="connsiteX4140" fmla="*/ 1387584 w 6423456"/>
              <a:gd name="connsiteY4140" fmla="*/ 137084 h 6377102"/>
              <a:gd name="connsiteX4141" fmla="*/ 1369697 w 6423456"/>
              <a:gd name="connsiteY4141" fmla="*/ 119197 h 6377102"/>
              <a:gd name="connsiteX4142" fmla="*/ 1351810 w 6423456"/>
              <a:gd name="connsiteY4142" fmla="*/ 137084 h 6377102"/>
              <a:gd name="connsiteX4143" fmla="*/ 1369697 w 6423456"/>
              <a:gd name="connsiteY4143" fmla="*/ 154971 h 6377102"/>
              <a:gd name="connsiteX4144" fmla="*/ 1387584 w 6423456"/>
              <a:gd name="connsiteY4144" fmla="*/ 137084 h 6377102"/>
              <a:gd name="connsiteX4145" fmla="*/ 1219750 w 6423456"/>
              <a:gd name="connsiteY4145" fmla="*/ 174913 h 6377102"/>
              <a:gd name="connsiteX4146" fmla="*/ 1203994 w 6423456"/>
              <a:gd name="connsiteY4146" fmla="*/ 159157 h 6377102"/>
              <a:gd name="connsiteX4147" fmla="*/ 1188238 w 6423456"/>
              <a:gd name="connsiteY4147" fmla="*/ 174913 h 6377102"/>
              <a:gd name="connsiteX4148" fmla="*/ 1203994 w 6423456"/>
              <a:gd name="connsiteY4148" fmla="*/ 190669 h 6377102"/>
              <a:gd name="connsiteX4149" fmla="*/ 1219750 w 6423456"/>
              <a:gd name="connsiteY4149" fmla="*/ 174913 h 6377102"/>
              <a:gd name="connsiteX4150" fmla="*/ 1054123 w 6423456"/>
              <a:gd name="connsiteY4150" fmla="*/ 219441 h 6377102"/>
              <a:gd name="connsiteX4151" fmla="*/ 1039965 w 6423456"/>
              <a:gd name="connsiteY4151" fmla="*/ 205283 h 6377102"/>
              <a:gd name="connsiteX4152" fmla="*/ 1025807 w 6423456"/>
              <a:gd name="connsiteY4152" fmla="*/ 219441 h 6377102"/>
              <a:gd name="connsiteX4153" fmla="*/ 1039965 w 6423456"/>
              <a:gd name="connsiteY4153" fmla="*/ 233598 h 6377102"/>
              <a:gd name="connsiteX4154" fmla="*/ 1054123 w 6423456"/>
              <a:gd name="connsiteY4154" fmla="*/ 219441 h 6377102"/>
              <a:gd name="connsiteX4155" fmla="*/ 889865 w 6423456"/>
              <a:gd name="connsiteY4155" fmla="*/ 270666 h 6377102"/>
              <a:gd name="connsiteX4156" fmla="*/ 877763 w 6423456"/>
              <a:gd name="connsiteY4156" fmla="*/ 258564 h 6377102"/>
              <a:gd name="connsiteX4157" fmla="*/ 865661 w 6423456"/>
              <a:gd name="connsiteY4157" fmla="*/ 270666 h 6377102"/>
              <a:gd name="connsiteX4158" fmla="*/ 877763 w 6423456"/>
              <a:gd name="connsiteY4158" fmla="*/ 282769 h 6377102"/>
              <a:gd name="connsiteX4159" fmla="*/ 889865 w 6423456"/>
              <a:gd name="connsiteY4159" fmla="*/ 270666 h 6377102"/>
              <a:gd name="connsiteX4160" fmla="*/ 728424 w 6423456"/>
              <a:gd name="connsiteY4160" fmla="*/ 328438 h 6377102"/>
              <a:gd name="connsiteX4161" fmla="*/ 717920 w 6423456"/>
              <a:gd name="connsiteY4161" fmla="*/ 317934 h 6377102"/>
              <a:gd name="connsiteX4162" fmla="*/ 707417 w 6423456"/>
              <a:gd name="connsiteY4162" fmla="*/ 328438 h 6377102"/>
              <a:gd name="connsiteX4163" fmla="*/ 717920 w 6423456"/>
              <a:gd name="connsiteY4163" fmla="*/ 338942 h 6377102"/>
              <a:gd name="connsiteX4164" fmla="*/ 728424 w 6423456"/>
              <a:gd name="connsiteY4164" fmla="*/ 328438 h 6377102"/>
              <a:gd name="connsiteX4165" fmla="*/ 569420 w 6423456"/>
              <a:gd name="connsiteY4165" fmla="*/ 392756 h 6377102"/>
              <a:gd name="connsiteX4166" fmla="*/ 560514 w 6423456"/>
              <a:gd name="connsiteY4166" fmla="*/ 383850 h 6377102"/>
              <a:gd name="connsiteX4167" fmla="*/ 551608 w 6423456"/>
              <a:gd name="connsiteY4167" fmla="*/ 392756 h 6377102"/>
              <a:gd name="connsiteX4168" fmla="*/ 560514 w 6423456"/>
              <a:gd name="connsiteY4168" fmla="*/ 401661 h 6377102"/>
              <a:gd name="connsiteX4169" fmla="*/ 569420 w 6423456"/>
              <a:gd name="connsiteY4169" fmla="*/ 392756 h 6377102"/>
              <a:gd name="connsiteX4170" fmla="*/ 413230 w 6423456"/>
              <a:gd name="connsiteY4170" fmla="*/ 463391 h 6377102"/>
              <a:gd name="connsiteX4171" fmla="*/ 405847 w 6423456"/>
              <a:gd name="connsiteY4171" fmla="*/ 456008 h 6377102"/>
              <a:gd name="connsiteX4172" fmla="*/ 398464 w 6423456"/>
              <a:gd name="connsiteY4172" fmla="*/ 463391 h 6377102"/>
              <a:gd name="connsiteX4173" fmla="*/ 405847 w 6423456"/>
              <a:gd name="connsiteY4173" fmla="*/ 470774 h 6377102"/>
              <a:gd name="connsiteX4174" fmla="*/ 413230 w 6423456"/>
              <a:gd name="connsiteY4174" fmla="*/ 463391 h 6377102"/>
              <a:gd name="connsiteX4175" fmla="*/ 260010 w 6423456"/>
              <a:gd name="connsiteY4175" fmla="*/ 540191 h 6377102"/>
              <a:gd name="connsiteX4176" fmla="*/ 254225 w 6423456"/>
              <a:gd name="connsiteY4176" fmla="*/ 534406 h 6377102"/>
              <a:gd name="connsiteX4177" fmla="*/ 248440 w 6423456"/>
              <a:gd name="connsiteY4177" fmla="*/ 540191 h 6377102"/>
              <a:gd name="connsiteX4178" fmla="*/ 254225 w 6423456"/>
              <a:gd name="connsiteY4178" fmla="*/ 545976 h 6377102"/>
              <a:gd name="connsiteX4179" fmla="*/ 260010 w 6423456"/>
              <a:gd name="connsiteY4179" fmla="*/ 540191 h 6377102"/>
              <a:gd name="connsiteX4180" fmla="*/ 110519 w 6423456"/>
              <a:gd name="connsiteY4180" fmla="*/ 623233 h 6377102"/>
              <a:gd name="connsiteX4181" fmla="*/ 105800 w 6423456"/>
              <a:gd name="connsiteY4181" fmla="*/ 618514 h 6377102"/>
              <a:gd name="connsiteX4182" fmla="*/ 101081 w 6423456"/>
              <a:gd name="connsiteY4182" fmla="*/ 623233 h 6377102"/>
              <a:gd name="connsiteX4183" fmla="*/ 105800 w 6423456"/>
              <a:gd name="connsiteY4183" fmla="*/ 627952 h 6377102"/>
              <a:gd name="connsiteX4184" fmla="*/ 110519 w 6423456"/>
              <a:gd name="connsiteY4184" fmla="*/ 623233 h 6377102"/>
              <a:gd name="connsiteX4185" fmla="*/ 6006496 w 6423456"/>
              <a:gd name="connsiteY4185" fmla="*/ 6371851 h 6377102"/>
              <a:gd name="connsiteX4186" fmla="*/ 6001245 w 6423456"/>
              <a:gd name="connsiteY4186" fmla="*/ 6366599 h 6377102"/>
              <a:gd name="connsiteX4187" fmla="*/ 5995992 w 6423456"/>
              <a:gd name="connsiteY4187" fmla="*/ 6371851 h 6377102"/>
              <a:gd name="connsiteX4188" fmla="*/ 6001245 w 6423456"/>
              <a:gd name="connsiteY4188" fmla="*/ 6377103 h 6377102"/>
              <a:gd name="connsiteX4189" fmla="*/ 6006496 w 6423456"/>
              <a:gd name="connsiteY4189" fmla="*/ 6371851 h 6377102"/>
              <a:gd name="connsiteX4190" fmla="*/ 6089234 w 6423456"/>
              <a:gd name="connsiteY4190" fmla="*/ 6222437 h 6377102"/>
              <a:gd name="connsiteX4191" fmla="*/ 6082383 w 6423456"/>
              <a:gd name="connsiteY4191" fmla="*/ 6215586 h 6377102"/>
              <a:gd name="connsiteX4192" fmla="*/ 6075534 w 6423456"/>
              <a:gd name="connsiteY4192" fmla="*/ 6222437 h 6377102"/>
              <a:gd name="connsiteX4193" fmla="*/ 6082383 w 6423456"/>
              <a:gd name="connsiteY4193" fmla="*/ 6229287 h 6377102"/>
              <a:gd name="connsiteX4194" fmla="*/ 6089234 w 6423456"/>
              <a:gd name="connsiteY4194" fmla="*/ 6222437 h 6377102"/>
              <a:gd name="connsiteX4195" fmla="*/ 6165502 w 6423456"/>
              <a:gd name="connsiteY4195" fmla="*/ 6069977 h 6377102"/>
              <a:gd name="connsiteX4196" fmla="*/ 6157661 w 6423456"/>
              <a:gd name="connsiteY4196" fmla="*/ 6062137 h 6377102"/>
              <a:gd name="connsiteX4197" fmla="*/ 6149746 w 6423456"/>
              <a:gd name="connsiteY4197" fmla="*/ 6069977 h 6377102"/>
              <a:gd name="connsiteX4198" fmla="*/ 6157661 w 6423456"/>
              <a:gd name="connsiteY4198" fmla="*/ 6077893 h 6377102"/>
              <a:gd name="connsiteX4199" fmla="*/ 6165502 w 6423456"/>
              <a:gd name="connsiteY4199" fmla="*/ 6069977 h 6377102"/>
              <a:gd name="connsiteX4200" fmla="*/ 6236898 w 6423456"/>
              <a:gd name="connsiteY4200" fmla="*/ 5914702 h 6377102"/>
              <a:gd name="connsiteX4201" fmla="*/ 6226927 w 6423456"/>
              <a:gd name="connsiteY4201" fmla="*/ 5904731 h 6377102"/>
              <a:gd name="connsiteX4202" fmla="*/ 6216956 w 6423456"/>
              <a:gd name="connsiteY4202" fmla="*/ 5914702 h 6377102"/>
              <a:gd name="connsiteX4203" fmla="*/ 6226927 w 6423456"/>
              <a:gd name="connsiteY4203" fmla="*/ 5924673 h 6377102"/>
              <a:gd name="connsiteX4204" fmla="*/ 6236898 w 6423456"/>
              <a:gd name="connsiteY4204" fmla="*/ 5914702 h 6377102"/>
              <a:gd name="connsiteX4205" fmla="*/ 6301596 w 6423456"/>
              <a:gd name="connsiteY4205" fmla="*/ 5756914 h 6377102"/>
              <a:gd name="connsiteX4206" fmla="*/ 6290026 w 6423456"/>
              <a:gd name="connsiteY4206" fmla="*/ 5745345 h 6377102"/>
              <a:gd name="connsiteX4207" fmla="*/ 6278457 w 6423456"/>
              <a:gd name="connsiteY4207" fmla="*/ 5756914 h 6377102"/>
              <a:gd name="connsiteX4208" fmla="*/ 6290026 w 6423456"/>
              <a:gd name="connsiteY4208" fmla="*/ 5768484 h 6377102"/>
              <a:gd name="connsiteX4209" fmla="*/ 6301596 w 6423456"/>
              <a:gd name="connsiteY4209" fmla="*/ 5756914 h 6377102"/>
              <a:gd name="connsiteX4210" fmla="*/ 6360662 w 6423456"/>
              <a:gd name="connsiteY4210" fmla="*/ 5596691 h 6377102"/>
              <a:gd name="connsiteX4211" fmla="*/ 6346961 w 6423456"/>
              <a:gd name="connsiteY4211" fmla="*/ 5583067 h 6377102"/>
              <a:gd name="connsiteX4212" fmla="*/ 6333336 w 6423456"/>
              <a:gd name="connsiteY4212" fmla="*/ 5596691 h 6377102"/>
              <a:gd name="connsiteX4213" fmla="*/ 6346961 w 6423456"/>
              <a:gd name="connsiteY4213" fmla="*/ 5610392 h 6377102"/>
              <a:gd name="connsiteX4214" fmla="*/ 6360662 w 6423456"/>
              <a:gd name="connsiteY4214" fmla="*/ 5596691 h 6377102"/>
              <a:gd name="connsiteX4215" fmla="*/ 6412877 w 6423456"/>
              <a:gd name="connsiteY4215" fmla="*/ 5434413 h 6377102"/>
              <a:gd name="connsiteX4216" fmla="*/ 6397654 w 6423456"/>
              <a:gd name="connsiteY4216" fmla="*/ 5419190 h 6377102"/>
              <a:gd name="connsiteX4217" fmla="*/ 6382431 w 6423456"/>
              <a:gd name="connsiteY4217" fmla="*/ 5434413 h 6377102"/>
              <a:gd name="connsiteX4218" fmla="*/ 6397654 w 6423456"/>
              <a:gd name="connsiteY4218" fmla="*/ 5449636 h 6377102"/>
              <a:gd name="connsiteX4219" fmla="*/ 6412877 w 6423456"/>
              <a:gd name="connsiteY4219" fmla="*/ 5434413 h 6377102"/>
              <a:gd name="connsiteX4220" fmla="*/ 6423457 w 6423456"/>
              <a:gd name="connsiteY4220" fmla="*/ 3038147 h 6377102"/>
              <a:gd name="connsiteX4221" fmla="*/ 6420564 w 6423456"/>
              <a:gd name="connsiteY4221" fmla="*/ 3037843 h 6377102"/>
              <a:gd name="connsiteX4222" fmla="*/ 6374895 w 6423456"/>
              <a:gd name="connsiteY4222" fmla="*/ 3083512 h 6377102"/>
              <a:gd name="connsiteX4223" fmla="*/ 6420564 w 6423456"/>
              <a:gd name="connsiteY4223" fmla="*/ 3129181 h 6377102"/>
              <a:gd name="connsiteX4224" fmla="*/ 6423457 w 6423456"/>
              <a:gd name="connsiteY4224" fmla="*/ 3128877 h 6377102"/>
              <a:gd name="connsiteX4225" fmla="*/ 6423457 w 6423456"/>
              <a:gd name="connsiteY4225" fmla="*/ 3038147 h 6377102"/>
              <a:gd name="connsiteX4226" fmla="*/ 6420336 w 6423456"/>
              <a:gd name="connsiteY4226" fmla="*/ 2920321 h 6377102"/>
              <a:gd name="connsiteX4227" fmla="*/ 6373069 w 6423456"/>
              <a:gd name="connsiteY4227" fmla="*/ 2873053 h 6377102"/>
              <a:gd name="connsiteX4228" fmla="*/ 6325801 w 6423456"/>
              <a:gd name="connsiteY4228" fmla="*/ 2920321 h 6377102"/>
              <a:gd name="connsiteX4229" fmla="*/ 6373069 w 6423456"/>
              <a:gd name="connsiteY4229" fmla="*/ 2967589 h 6377102"/>
              <a:gd name="connsiteX4230" fmla="*/ 6420336 w 6423456"/>
              <a:gd name="connsiteY4230" fmla="*/ 2920321 h 6377102"/>
              <a:gd name="connsiteX4231" fmla="*/ 6368654 w 6423456"/>
              <a:gd name="connsiteY4231" fmla="*/ 2759032 h 6377102"/>
              <a:gd name="connsiteX4232" fmla="*/ 6319255 w 6423456"/>
              <a:gd name="connsiteY4232" fmla="*/ 2709633 h 6377102"/>
              <a:gd name="connsiteX4233" fmla="*/ 6269856 w 6423456"/>
              <a:gd name="connsiteY4233" fmla="*/ 2759032 h 6377102"/>
              <a:gd name="connsiteX4234" fmla="*/ 6319255 w 6423456"/>
              <a:gd name="connsiteY4234" fmla="*/ 2808431 h 6377102"/>
              <a:gd name="connsiteX4235" fmla="*/ 6368654 w 6423456"/>
              <a:gd name="connsiteY4235" fmla="*/ 2759032 h 6377102"/>
              <a:gd name="connsiteX4236" fmla="*/ 6310197 w 6423456"/>
              <a:gd name="connsiteY4236" fmla="*/ 2599951 h 6377102"/>
              <a:gd name="connsiteX4237" fmla="*/ 6259276 w 6423456"/>
              <a:gd name="connsiteY4237" fmla="*/ 2549030 h 6377102"/>
              <a:gd name="connsiteX4238" fmla="*/ 6208355 w 6423456"/>
              <a:gd name="connsiteY4238" fmla="*/ 2599951 h 6377102"/>
              <a:gd name="connsiteX4239" fmla="*/ 6259276 w 6423456"/>
              <a:gd name="connsiteY4239" fmla="*/ 2650872 h 6377102"/>
              <a:gd name="connsiteX4240" fmla="*/ 6310197 w 6423456"/>
              <a:gd name="connsiteY4240" fmla="*/ 2599951 h 6377102"/>
              <a:gd name="connsiteX4241" fmla="*/ 6245575 w 6423456"/>
              <a:gd name="connsiteY4241" fmla="*/ 2443381 h 6377102"/>
              <a:gd name="connsiteX4242" fmla="*/ 6193055 w 6423456"/>
              <a:gd name="connsiteY4242" fmla="*/ 2390862 h 6377102"/>
              <a:gd name="connsiteX4243" fmla="*/ 6140536 w 6423456"/>
              <a:gd name="connsiteY4243" fmla="*/ 2443381 h 6377102"/>
              <a:gd name="connsiteX4244" fmla="*/ 6193055 w 6423456"/>
              <a:gd name="connsiteY4244" fmla="*/ 2495901 h 6377102"/>
              <a:gd name="connsiteX4245" fmla="*/ 6245575 w 6423456"/>
              <a:gd name="connsiteY4245" fmla="*/ 2443381 h 6377102"/>
              <a:gd name="connsiteX4246" fmla="*/ 6174864 w 6423456"/>
              <a:gd name="connsiteY4246" fmla="*/ 2289476 h 6377102"/>
              <a:gd name="connsiteX4247" fmla="*/ 6120746 w 6423456"/>
              <a:gd name="connsiteY4247" fmla="*/ 2235358 h 6377102"/>
              <a:gd name="connsiteX4248" fmla="*/ 6066628 w 6423456"/>
              <a:gd name="connsiteY4248" fmla="*/ 2289476 h 6377102"/>
              <a:gd name="connsiteX4249" fmla="*/ 6120746 w 6423456"/>
              <a:gd name="connsiteY4249" fmla="*/ 2343594 h 6377102"/>
              <a:gd name="connsiteX4250" fmla="*/ 6174864 w 6423456"/>
              <a:gd name="connsiteY4250" fmla="*/ 2289476 h 6377102"/>
              <a:gd name="connsiteX4251" fmla="*/ 6098216 w 6423456"/>
              <a:gd name="connsiteY4251" fmla="*/ 2138539 h 6377102"/>
              <a:gd name="connsiteX4252" fmla="*/ 6042499 w 6423456"/>
              <a:gd name="connsiteY4252" fmla="*/ 2082823 h 6377102"/>
              <a:gd name="connsiteX4253" fmla="*/ 5986783 w 6423456"/>
              <a:gd name="connsiteY4253" fmla="*/ 2138539 h 6377102"/>
              <a:gd name="connsiteX4254" fmla="*/ 6042499 w 6423456"/>
              <a:gd name="connsiteY4254" fmla="*/ 2194256 h 6377102"/>
              <a:gd name="connsiteX4255" fmla="*/ 6098216 w 6423456"/>
              <a:gd name="connsiteY4255" fmla="*/ 2138539 h 6377102"/>
              <a:gd name="connsiteX4256" fmla="*/ 6015174 w 6423456"/>
              <a:gd name="connsiteY4256" fmla="*/ 1990723 h 6377102"/>
              <a:gd name="connsiteX4257" fmla="*/ 5958468 w 6423456"/>
              <a:gd name="connsiteY4257" fmla="*/ 1934017 h 6377102"/>
              <a:gd name="connsiteX4258" fmla="*/ 5901761 w 6423456"/>
              <a:gd name="connsiteY4258" fmla="*/ 1990723 h 6377102"/>
              <a:gd name="connsiteX4259" fmla="*/ 5958468 w 6423456"/>
              <a:gd name="connsiteY4259" fmla="*/ 2047429 h 6377102"/>
              <a:gd name="connsiteX4260" fmla="*/ 6015174 w 6423456"/>
              <a:gd name="connsiteY4260" fmla="*/ 1990723 h 6377102"/>
              <a:gd name="connsiteX4261" fmla="*/ 5926499 w 6423456"/>
              <a:gd name="connsiteY4261" fmla="*/ 1846332 h 6377102"/>
              <a:gd name="connsiteX4262" fmla="*/ 5868728 w 6423456"/>
              <a:gd name="connsiteY4262" fmla="*/ 1788560 h 6377102"/>
              <a:gd name="connsiteX4263" fmla="*/ 5810956 w 6423456"/>
              <a:gd name="connsiteY4263" fmla="*/ 1846332 h 6377102"/>
              <a:gd name="connsiteX4264" fmla="*/ 5868728 w 6423456"/>
              <a:gd name="connsiteY4264" fmla="*/ 1904104 h 6377102"/>
              <a:gd name="connsiteX4265" fmla="*/ 5926499 w 6423456"/>
              <a:gd name="connsiteY4265" fmla="*/ 1846332 h 6377102"/>
              <a:gd name="connsiteX4266" fmla="*/ 5832268 w 6423456"/>
              <a:gd name="connsiteY4266" fmla="*/ 1705518 h 6377102"/>
              <a:gd name="connsiteX4267" fmla="*/ 5773431 w 6423456"/>
              <a:gd name="connsiteY4267" fmla="*/ 1646681 h 6377102"/>
              <a:gd name="connsiteX4268" fmla="*/ 5714594 w 6423456"/>
              <a:gd name="connsiteY4268" fmla="*/ 1705518 h 6377102"/>
              <a:gd name="connsiteX4269" fmla="*/ 5773431 w 6423456"/>
              <a:gd name="connsiteY4269" fmla="*/ 1764356 h 6377102"/>
              <a:gd name="connsiteX4270" fmla="*/ 5832268 w 6423456"/>
              <a:gd name="connsiteY4270" fmla="*/ 1705518 h 6377102"/>
              <a:gd name="connsiteX4271" fmla="*/ 5732025 w 6423456"/>
              <a:gd name="connsiteY4271" fmla="*/ 1568587 h 6377102"/>
              <a:gd name="connsiteX4272" fmla="*/ 5672654 w 6423456"/>
              <a:gd name="connsiteY4272" fmla="*/ 1509217 h 6377102"/>
              <a:gd name="connsiteX4273" fmla="*/ 5613285 w 6423456"/>
              <a:gd name="connsiteY4273" fmla="*/ 1568587 h 6377102"/>
              <a:gd name="connsiteX4274" fmla="*/ 5672654 w 6423456"/>
              <a:gd name="connsiteY4274" fmla="*/ 1627957 h 6377102"/>
              <a:gd name="connsiteX4275" fmla="*/ 5732025 w 6423456"/>
              <a:gd name="connsiteY4275" fmla="*/ 1568587 h 6377102"/>
              <a:gd name="connsiteX4276" fmla="*/ 5626529 w 6423456"/>
              <a:gd name="connsiteY4276" fmla="*/ 1435689 h 6377102"/>
              <a:gd name="connsiteX4277" fmla="*/ 5566626 w 6423456"/>
              <a:gd name="connsiteY4277" fmla="*/ 1375786 h 6377102"/>
              <a:gd name="connsiteX4278" fmla="*/ 5506723 w 6423456"/>
              <a:gd name="connsiteY4278" fmla="*/ 1435689 h 6377102"/>
              <a:gd name="connsiteX4279" fmla="*/ 5566626 w 6423456"/>
              <a:gd name="connsiteY4279" fmla="*/ 1495592 h 6377102"/>
              <a:gd name="connsiteX4280" fmla="*/ 5626529 w 6423456"/>
              <a:gd name="connsiteY4280" fmla="*/ 1435689 h 6377102"/>
              <a:gd name="connsiteX4281" fmla="*/ 5515399 w 6423456"/>
              <a:gd name="connsiteY4281" fmla="*/ 1306978 h 6377102"/>
              <a:gd name="connsiteX4282" fmla="*/ 5455497 w 6423456"/>
              <a:gd name="connsiteY4282" fmla="*/ 1247075 h 6377102"/>
              <a:gd name="connsiteX4283" fmla="*/ 5395594 w 6423456"/>
              <a:gd name="connsiteY4283" fmla="*/ 1306978 h 6377102"/>
              <a:gd name="connsiteX4284" fmla="*/ 5455497 w 6423456"/>
              <a:gd name="connsiteY4284" fmla="*/ 1366881 h 6377102"/>
              <a:gd name="connsiteX4285" fmla="*/ 5515399 w 6423456"/>
              <a:gd name="connsiteY4285" fmla="*/ 1306978 h 6377102"/>
              <a:gd name="connsiteX4286" fmla="*/ 5399933 w 6423456"/>
              <a:gd name="connsiteY4286" fmla="*/ 1182758 h 6377102"/>
              <a:gd name="connsiteX4287" fmla="*/ 5339497 w 6423456"/>
              <a:gd name="connsiteY4287" fmla="*/ 1122322 h 6377102"/>
              <a:gd name="connsiteX4288" fmla="*/ 5279062 w 6423456"/>
              <a:gd name="connsiteY4288" fmla="*/ 1182758 h 6377102"/>
              <a:gd name="connsiteX4289" fmla="*/ 5339497 w 6423456"/>
              <a:gd name="connsiteY4289" fmla="*/ 1243193 h 6377102"/>
              <a:gd name="connsiteX4290" fmla="*/ 5399933 w 6423456"/>
              <a:gd name="connsiteY4290" fmla="*/ 1182758 h 6377102"/>
              <a:gd name="connsiteX4291" fmla="*/ 5279138 w 6423456"/>
              <a:gd name="connsiteY4291" fmla="*/ 1063104 h 6377102"/>
              <a:gd name="connsiteX4292" fmla="*/ 5218702 w 6423456"/>
              <a:gd name="connsiteY4292" fmla="*/ 1002669 h 6377102"/>
              <a:gd name="connsiteX4293" fmla="*/ 5158267 w 6423456"/>
              <a:gd name="connsiteY4293" fmla="*/ 1063104 h 6377102"/>
              <a:gd name="connsiteX4294" fmla="*/ 5218702 w 6423456"/>
              <a:gd name="connsiteY4294" fmla="*/ 1123540 h 6377102"/>
              <a:gd name="connsiteX4295" fmla="*/ 5279138 w 6423456"/>
              <a:gd name="connsiteY4295" fmla="*/ 1063104 h 6377102"/>
              <a:gd name="connsiteX4296" fmla="*/ 5153166 w 6423456"/>
              <a:gd name="connsiteY4296" fmla="*/ 948246 h 6377102"/>
              <a:gd name="connsiteX4297" fmla="*/ 5093264 w 6423456"/>
              <a:gd name="connsiteY4297" fmla="*/ 888343 h 6377102"/>
              <a:gd name="connsiteX4298" fmla="*/ 5033361 w 6423456"/>
              <a:gd name="connsiteY4298" fmla="*/ 948246 h 6377102"/>
              <a:gd name="connsiteX4299" fmla="*/ 5093264 w 6423456"/>
              <a:gd name="connsiteY4299" fmla="*/ 1008149 h 6377102"/>
              <a:gd name="connsiteX4300" fmla="*/ 5153166 w 6423456"/>
              <a:gd name="connsiteY4300" fmla="*/ 948246 h 6377102"/>
              <a:gd name="connsiteX4301" fmla="*/ 5023465 w 6423456"/>
              <a:gd name="connsiteY4301" fmla="*/ 838411 h 6377102"/>
              <a:gd name="connsiteX4302" fmla="*/ 4963563 w 6423456"/>
              <a:gd name="connsiteY4302" fmla="*/ 778509 h 6377102"/>
              <a:gd name="connsiteX4303" fmla="*/ 4903660 w 6423456"/>
              <a:gd name="connsiteY4303" fmla="*/ 838411 h 6377102"/>
              <a:gd name="connsiteX4304" fmla="*/ 4963563 w 6423456"/>
              <a:gd name="connsiteY4304" fmla="*/ 898314 h 6377102"/>
              <a:gd name="connsiteX4305" fmla="*/ 5023465 w 6423456"/>
              <a:gd name="connsiteY4305" fmla="*/ 838411 h 6377102"/>
              <a:gd name="connsiteX4306" fmla="*/ 4888970 w 6423456"/>
              <a:gd name="connsiteY4306" fmla="*/ 733677 h 6377102"/>
              <a:gd name="connsiteX4307" fmla="*/ 4829600 w 6423456"/>
              <a:gd name="connsiteY4307" fmla="*/ 674307 h 6377102"/>
              <a:gd name="connsiteX4308" fmla="*/ 4770230 w 6423456"/>
              <a:gd name="connsiteY4308" fmla="*/ 733677 h 6377102"/>
              <a:gd name="connsiteX4309" fmla="*/ 4829600 w 6423456"/>
              <a:gd name="connsiteY4309" fmla="*/ 793047 h 6377102"/>
              <a:gd name="connsiteX4310" fmla="*/ 4888970 w 6423456"/>
              <a:gd name="connsiteY4310" fmla="*/ 733677 h 6377102"/>
              <a:gd name="connsiteX4311" fmla="*/ 4749983 w 6423456"/>
              <a:gd name="connsiteY4311" fmla="*/ 634346 h 6377102"/>
              <a:gd name="connsiteX4312" fmla="*/ 4691679 w 6423456"/>
              <a:gd name="connsiteY4312" fmla="*/ 576042 h 6377102"/>
              <a:gd name="connsiteX4313" fmla="*/ 4633374 w 6423456"/>
              <a:gd name="connsiteY4313" fmla="*/ 634346 h 6377102"/>
              <a:gd name="connsiteX4314" fmla="*/ 4691679 w 6423456"/>
              <a:gd name="connsiteY4314" fmla="*/ 692650 h 6377102"/>
              <a:gd name="connsiteX4315" fmla="*/ 4749983 w 6423456"/>
              <a:gd name="connsiteY4315" fmla="*/ 634346 h 6377102"/>
              <a:gd name="connsiteX4316" fmla="*/ 4607191 w 6423456"/>
              <a:gd name="connsiteY4316" fmla="*/ 540343 h 6377102"/>
              <a:gd name="connsiteX4317" fmla="*/ 4549952 w 6423456"/>
              <a:gd name="connsiteY4317" fmla="*/ 483105 h 6377102"/>
              <a:gd name="connsiteX4318" fmla="*/ 4492713 w 6423456"/>
              <a:gd name="connsiteY4318" fmla="*/ 540343 h 6377102"/>
              <a:gd name="connsiteX4319" fmla="*/ 4549952 w 6423456"/>
              <a:gd name="connsiteY4319" fmla="*/ 597582 h 6377102"/>
              <a:gd name="connsiteX4320" fmla="*/ 4607191 w 6423456"/>
              <a:gd name="connsiteY4320" fmla="*/ 540343 h 6377102"/>
              <a:gd name="connsiteX4321" fmla="*/ 4460897 w 6423456"/>
              <a:gd name="connsiteY4321" fmla="*/ 452050 h 6377102"/>
              <a:gd name="connsiteX4322" fmla="*/ 4404648 w 6423456"/>
              <a:gd name="connsiteY4322" fmla="*/ 395876 h 6377102"/>
              <a:gd name="connsiteX4323" fmla="*/ 4348474 w 6423456"/>
              <a:gd name="connsiteY4323" fmla="*/ 452050 h 6377102"/>
              <a:gd name="connsiteX4324" fmla="*/ 4404648 w 6423456"/>
              <a:gd name="connsiteY4324" fmla="*/ 508223 h 6377102"/>
              <a:gd name="connsiteX4325" fmla="*/ 4460897 w 6423456"/>
              <a:gd name="connsiteY4325" fmla="*/ 452050 h 6377102"/>
              <a:gd name="connsiteX4326" fmla="*/ 4311254 w 6423456"/>
              <a:gd name="connsiteY4326" fmla="*/ 369388 h 6377102"/>
              <a:gd name="connsiteX4327" fmla="*/ 4256070 w 6423456"/>
              <a:gd name="connsiteY4327" fmla="*/ 314205 h 6377102"/>
              <a:gd name="connsiteX4328" fmla="*/ 4200963 w 6423456"/>
              <a:gd name="connsiteY4328" fmla="*/ 369388 h 6377102"/>
              <a:gd name="connsiteX4329" fmla="*/ 4256070 w 6423456"/>
              <a:gd name="connsiteY4329" fmla="*/ 424572 h 6377102"/>
              <a:gd name="connsiteX4330" fmla="*/ 4311254 w 6423456"/>
              <a:gd name="connsiteY4330" fmla="*/ 369388 h 6377102"/>
              <a:gd name="connsiteX4331" fmla="*/ 4157957 w 6423456"/>
              <a:gd name="connsiteY4331" fmla="*/ 292664 h 6377102"/>
              <a:gd name="connsiteX4332" fmla="*/ 4104372 w 6423456"/>
              <a:gd name="connsiteY4332" fmla="*/ 239079 h 6377102"/>
              <a:gd name="connsiteX4333" fmla="*/ 4050787 w 6423456"/>
              <a:gd name="connsiteY4333" fmla="*/ 292664 h 6377102"/>
              <a:gd name="connsiteX4334" fmla="*/ 4104372 w 6423456"/>
              <a:gd name="connsiteY4334" fmla="*/ 346249 h 6377102"/>
              <a:gd name="connsiteX4335" fmla="*/ 4157957 w 6423456"/>
              <a:gd name="connsiteY4335" fmla="*/ 292664 h 6377102"/>
              <a:gd name="connsiteX4336" fmla="*/ 4002301 w 6423456"/>
              <a:gd name="connsiteY4336" fmla="*/ 221953 h 6377102"/>
              <a:gd name="connsiteX4337" fmla="*/ 3949782 w 6423456"/>
              <a:gd name="connsiteY4337" fmla="*/ 169433 h 6377102"/>
              <a:gd name="connsiteX4338" fmla="*/ 3897262 w 6423456"/>
              <a:gd name="connsiteY4338" fmla="*/ 221953 h 6377102"/>
              <a:gd name="connsiteX4339" fmla="*/ 3949782 w 6423456"/>
              <a:gd name="connsiteY4339" fmla="*/ 274472 h 6377102"/>
              <a:gd name="connsiteX4340" fmla="*/ 4002301 w 6423456"/>
              <a:gd name="connsiteY4340" fmla="*/ 221953 h 6377102"/>
              <a:gd name="connsiteX4341" fmla="*/ 3843525 w 6423456"/>
              <a:gd name="connsiteY4341" fmla="*/ 157254 h 6377102"/>
              <a:gd name="connsiteX4342" fmla="*/ 3792603 w 6423456"/>
              <a:gd name="connsiteY4342" fmla="*/ 106333 h 6377102"/>
              <a:gd name="connsiteX4343" fmla="*/ 3741682 w 6423456"/>
              <a:gd name="connsiteY4343" fmla="*/ 157254 h 6377102"/>
              <a:gd name="connsiteX4344" fmla="*/ 3792603 w 6423456"/>
              <a:gd name="connsiteY4344" fmla="*/ 208176 h 6377102"/>
              <a:gd name="connsiteX4345" fmla="*/ 3843525 w 6423456"/>
              <a:gd name="connsiteY4345" fmla="*/ 157254 h 6377102"/>
              <a:gd name="connsiteX4346" fmla="*/ 3681780 w 6423456"/>
              <a:gd name="connsiteY4346" fmla="*/ 98722 h 6377102"/>
              <a:gd name="connsiteX4347" fmla="*/ 3632913 w 6423456"/>
              <a:gd name="connsiteY4347" fmla="*/ 49856 h 6377102"/>
              <a:gd name="connsiteX4348" fmla="*/ 3584047 w 6423456"/>
              <a:gd name="connsiteY4348" fmla="*/ 98722 h 6377102"/>
              <a:gd name="connsiteX4349" fmla="*/ 3632913 w 6423456"/>
              <a:gd name="connsiteY4349" fmla="*/ 147588 h 6377102"/>
              <a:gd name="connsiteX4350" fmla="*/ 3681780 w 6423456"/>
              <a:gd name="connsiteY4350" fmla="*/ 98722 h 6377102"/>
              <a:gd name="connsiteX4351" fmla="*/ 3468656 w 6423456"/>
              <a:gd name="connsiteY4351" fmla="*/ 0 h 6377102"/>
              <a:gd name="connsiteX4352" fmla="*/ 3424357 w 6423456"/>
              <a:gd name="connsiteY4352" fmla="*/ 46507 h 6377102"/>
              <a:gd name="connsiteX4353" fmla="*/ 3471092 w 6423456"/>
              <a:gd name="connsiteY4353" fmla="*/ 93241 h 6377102"/>
              <a:gd name="connsiteX4354" fmla="*/ 3517827 w 6423456"/>
              <a:gd name="connsiteY4354" fmla="*/ 46507 h 6377102"/>
              <a:gd name="connsiteX4355" fmla="*/ 3473527 w 6423456"/>
              <a:gd name="connsiteY4355" fmla="*/ 0 h 6377102"/>
              <a:gd name="connsiteX4356" fmla="*/ 3468656 w 6423456"/>
              <a:gd name="connsiteY4356" fmla="*/ 0 h 6377102"/>
              <a:gd name="connsiteX4357" fmla="*/ 3262307 w 6423456"/>
              <a:gd name="connsiteY4357" fmla="*/ 0 h 6377102"/>
              <a:gd name="connsiteX4358" fmla="*/ 3262231 w 6423456"/>
              <a:gd name="connsiteY4358" fmla="*/ 609 h 6377102"/>
              <a:gd name="connsiteX4359" fmla="*/ 3307367 w 6423456"/>
              <a:gd name="connsiteY4359" fmla="*/ 45745 h 6377102"/>
              <a:gd name="connsiteX4360" fmla="*/ 3352580 w 6423456"/>
              <a:gd name="connsiteY4360" fmla="*/ 609 h 6377102"/>
              <a:gd name="connsiteX4361" fmla="*/ 3352504 w 6423456"/>
              <a:gd name="connsiteY4361" fmla="*/ 0 h 6377102"/>
              <a:gd name="connsiteX4362" fmla="*/ 3262307 w 6423456"/>
              <a:gd name="connsiteY4362" fmla="*/ 0 h 6377102"/>
              <a:gd name="connsiteX4363" fmla="*/ 971613 w 6423456"/>
              <a:gd name="connsiteY4363" fmla="*/ 46507 h 6377102"/>
              <a:gd name="connsiteX4364" fmla="*/ 956923 w 6423456"/>
              <a:gd name="connsiteY4364" fmla="*/ 31816 h 6377102"/>
              <a:gd name="connsiteX4365" fmla="*/ 942233 w 6423456"/>
              <a:gd name="connsiteY4365" fmla="*/ 46507 h 6377102"/>
              <a:gd name="connsiteX4366" fmla="*/ 956923 w 6423456"/>
              <a:gd name="connsiteY4366" fmla="*/ 61197 h 6377102"/>
              <a:gd name="connsiteX4367" fmla="*/ 971613 w 6423456"/>
              <a:gd name="connsiteY4367" fmla="*/ 46507 h 6377102"/>
              <a:gd name="connsiteX4368" fmla="*/ 808270 w 6423456"/>
              <a:gd name="connsiteY4368" fmla="*/ 98722 h 6377102"/>
              <a:gd name="connsiteX4369" fmla="*/ 795101 w 6423456"/>
              <a:gd name="connsiteY4369" fmla="*/ 85630 h 6377102"/>
              <a:gd name="connsiteX4370" fmla="*/ 782010 w 6423456"/>
              <a:gd name="connsiteY4370" fmla="*/ 98722 h 6377102"/>
              <a:gd name="connsiteX4371" fmla="*/ 795101 w 6423456"/>
              <a:gd name="connsiteY4371" fmla="*/ 111890 h 6377102"/>
              <a:gd name="connsiteX4372" fmla="*/ 808270 w 6423456"/>
              <a:gd name="connsiteY4372" fmla="*/ 98722 h 6377102"/>
              <a:gd name="connsiteX4373" fmla="*/ 646524 w 6423456"/>
              <a:gd name="connsiteY4373" fmla="*/ 157254 h 6377102"/>
              <a:gd name="connsiteX4374" fmla="*/ 635488 w 6423456"/>
              <a:gd name="connsiteY4374" fmla="*/ 146218 h 6377102"/>
              <a:gd name="connsiteX4375" fmla="*/ 624451 w 6423456"/>
              <a:gd name="connsiteY4375" fmla="*/ 157254 h 6377102"/>
              <a:gd name="connsiteX4376" fmla="*/ 635488 w 6423456"/>
              <a:gd name="connsiteY4376" fmla="*/ 168291 h 6377102"/>
              <a:gd name="connsiteX4377" fmla="*/ 646524 w 6423456"/>
              <a:gd name="connsiteY4377" fmla="*/ 157254 h 6377102"/>
              <a:gd name="connsiteX4378" fmla="*/ 487671 w 6423456"/>
              <a:gd name="connsiteY4378" fmla="*/ 221953 h 6377102"/>
              <a:gd name="connsiteX4379" fmla="*/ 478233 w 6423456"/>
              <a:gd name="connsiteY4379" fmla="*/ 212514 h 6377102"/>
              <a:gd name="connsiteX4380" fmla="*/ 468795 w 6423456"/>
              <a:gd name="connsiteY4380" fmla="*/ 221953 h 6377102"/>
              <a:gd name="connsiteX4381" fmla="*/ 478233 w 6423456"/>
              <a:gd name="connsiteY4381" fmla="*/ 231391 h 6377102"/>
              <a:gd name="connsiteX4382" fmla="*/ 487671 w 6423456"/>
              <a:gd name="connsiteY4382" fmla="*/ 221953 h 6377102"/>
              <a:gd name="connsiteX4383" fmla="*/ 331559 w 6423456"/>
              <a:gd name="connsiteY4383" fmla="*/ 292664 h 6377102"/>
              <a:gd name="connsiteX4384" fmla="*/ 323642 w 6423456"/>
              <a:gd name="connsiteY4384" fmla="*/ 284824 h 6377102"/>
              <a:gd name="connsiteX4385" fmla="*/ 315803 w 6423456"/>
              <a:gd name="connsiteY4385" fmla="*/ 292664 h 6377102"/>
              <a:gd name="connsiteX4386" fmla="*/ 323642 w 6423456"/>
              <a:gd name="connsiteY4386" fmla="*/ 300580 h 6377102"/>
              <a:gd name="connsiteX4387" fmla="*/ 331559 w 6423456"/>
              <a:gd name="connsiteY4387" fmla="*/ 292664 h 6377102"/>
              <a:gd name="connsiteX4388" fmla="*/ 178262 w 6423456"/>
              <a:gd name="connsiteY4388" fmla="*/ 369388 h 6377102"/>
              <a:gd name="connsiteX4389" fmla="*/ 171944 w 6423456"/>
              <a:gd name="connsiteY4389" fmla="*/ 363071 h 6377102"/>
              <a:gd name="connsiteX4390" fmla="*/ 165627 w 6423456"/>
              <a:gd name="connsiteY4390" fmla="*/ 369388 h 6377102"/>
              <a:gd name="connsiteX4391" fmla="*/ 171944 w 6423456"/>
              <a:gd name="connsiteY4391" fmla="*/ 375706 h 6377102"/>
              <a:gd name="connsiteX4392" fmla="*/ 178262 w 6423456"/>
              <a:gd name="connsiteY4392" fmla="*/ 369388 h 6377102"/>
              <a:gd name="connsiteX4393" fmla="*/ 28619 w 6423456"/>
              <a:gd name="connsiteY4393" fmla="*/ 452050 h 6377102"/>
              <a:gd name="connsiteX4394" fmla="*/ 23367 w 6423456"/>
              <a:gd name="connsiteY4394" fmla="*/ 446798 h 6377102"/>
              <a:gd name="connsiteX4395" fmla="*/ 18115 w 6423456"/>
              <a:gd name="connsiteY4395" fmla="*/ 452050 h 6377102"/>
              <a:gd name="connsiteX4396" fmla="*/ 23367 w 6423456"/>
              <a:gd name="connsiteY4396" fmla="*/ 457302 h 6377102"/>
              <a:gd name="connsiteX4397" fmla="*/ 28619 w 6423456"/>
              <a:gd name="connsiteY4397" fmla="*/ 452050 h 6377102"/>
              <a:gd name="connsiteX4398" fmla="*/ 6240247 w 6423456"/>
              <a:gd name="connsiteY4398" fmla="*/ 6342394 h 6377102"/>
              <a:gd name="connsiteX4399" fmla="*/ 6233397 w 6423456"/>
              <a:gd name="connsiteY4399" fmla="*/ 6335544 h 6377102"/>
              <a:gd name="connsiteX4400" fmla="*/ 6226546 w 6423456"/>
              <a:gd name="connsiteY4400" fmla="*/ 6342394 h 6377102"/>
              <a:gd name="connsiteX4401" fmla="*/ 6233397 w 6423456"/>
              <a:gd name="connsiteY4401" fmla="*/ 6349245 h 6377102"/>
              <a:gd name="connsiteX4402" fmla="*/ 6240247 w 6423456"/>
              <a:gd name="connsiteY4402" fmla="*/ 6342394 h 6377102"/>
              <a:gd name="connsiteX4403" fmla="*/ 6318417 w 6423456"/>
              <a:gd name="connsiteY4403" fmla="*/ 6190620 h 6377102"/>
              <a:gd name="connsiteX4404" fmla="*/ 6310045 w 6423456"/>
              <a:gd name="connsiteY4404" fmla="*/ 6182247 h 6377102"/>
              <a:gd name="connsiteX4405" fmla="*/ 6301596 w 6423456"/>
              <a:gd name="connsiteY4405" fmla="*/ 6190620 h 6377102"/>
              <a:gd name="connsiteX4406" fmla="*/ 6310045 w 6423456"/>
              <a:gd name="connsiteY4406" fmla="*/ 6198993 h 6377102"/>
              <a:gd name="connsiteX4407" fmla="*/ 6318417 w 6423456"/>
              <a:gd name="connsiteY4407" fmla="*/ 6190620 h 6377102"/>
              <a:gd name="connsiteX4408" fmla="*/ 6390879 w 6423456"/>
              <a:gd name="connsiteY4408" fmla="*/ 6036030 h 6377102"/>
              <a:gd name="connsiteX4409" fmla="*/ 6380909 w 6423456"/>
              <a:gd name="connsiteY4409" fmla="*/ 6026059 h 6377102"/>
              <a:gd name="connsiteX4410" fmla="*/ 6370937 w 6423456"/>
              <a:gd name="connsiteY4410" fmla="*/ 6036030 h 6377102"/>
              <a:gd name="connsiteX4411" fmla="*/ 6380909 w 6423456"/>
              <a:gd name="connsiteY4411" fmla="*/ 6046001 h 6377102"/>
              <a:gd name="connsiteX4412" fmla="*/ 6390879 w 6423456"/>
              <a:gd name="connsiteY4412" fmla="*/ 6036030 h 6377102"/>
              <a:gd name="connsiteX4413" fmla="*/ 6423457 w 6423456"/>
              <a:gd name="connsiteY4413" fmla="*/ 2506862 h 6377102"/>
              <a:gd name="connsiteX4414" fmla="*/ 6390879 w 6423456"/>
              <a:gd name="connsiteY4414" fmla="*/ 2557098 h 6377102"/>
              <a:gd name="connsiteX4415" fmla="*/ 6423457 w 6423456"/>
              <a:gd name="connsiteY4415" fmla="*/ 2607334 h 6377102"/>
              <a:gd name="connsiteX4416" fmla="*/ 6423457 w 6423456"/>
              <a:gd name="connsiteY4416" fmla="*/ 2506862 h 6377102"/>
              <a:gd name="connsiteX4417" fmla="*/ 6423457 w 6423456"/>
              <a:gd name="connsiteY4417" fmla="*/ 2362851 h 6377102"/>
              <a:gd name="connsiteX4418" fmla="*/ 6380909 w 6423456"/>
              <a:gd name="connsiteY4418" fmla="*/ 2343290 h 6377102"/>
              <a:gd name="connsiteX4419" fmla="*/ 6324202 w 6423456"/>
              <a:gd name="connsiteY4419" fmla="*/ 2399996 h 6377102"/>
              <a:gd name="connsiteX4420" fmla="*/ 6380909 w 6423456"/>
              <a:gd name="connsiteY4420" fmla="*/ 2456702 h 6377102"/>
              <a:gd name="connsiteX4421" fmla="*/ 6423457 w 6423456"/>
              <a:gd name="connsiteY4421" fmla="*/ 2437140 h 6377102"/>
              <a:gd name="connsiteX4422" fmla="*/ 6423457 w 6423456"/>
              <a:gd name="connsiteY4422" fmla="*/ 2362851 h 6377102"/>
              <a:gd name="connsiteX4423" fmla="*/ 6368349 w 6423456"/>
              <a:gd name="connsiteY4423" fmla="*/ 2245481 h 6377102"/>
              <a:gd name="connsiteX4424" fmla="*/ 6310045 w 6423456"/>
              <a:gd name="connsiteY4424" fmla="*/ 2187177 h 6377102"/>
              <a:gd name="connsiteX4425" fmla="*/ 6251740 w 6423456"/>
              <a:gd name="connsiteY4425" fmla="*/ 2245481 h 6377102"/>
              <a:gd name="connsiteX4426" fmla="*/ 6310045 w 6423456"/>
              <a:gd name="connsiteY4426" fmla="*/ 2303786 h 6377102"/>
              <a:gd name="connsiteX4427" fmla="*/ 6368349 w 6423456"/>
              <a:gd name="connsiteY4427" fmla="*/ 2245481 h 6377102"/>
              <a:gd name="connsiteX4428" fmla="*/ 6293300 w 6423456"/>
              <a:gd name="connsiteY4428" fmla="*/ 2093707 h 6377102"/>
              <a:gd name="connsiteX4429" fmla="*/ 6233397 w 6423456"/>
              <a:gd name="connsiteY4429" fmla="*/ 2033804 h 6377102"/>
              <a:gd name="connsiteX4430" fmla="*/ 6173494 w 6423456"/>
              <a:gd name="connsiteY4430" fmla="*/ 2093707 h 6377102"/>
              <a:gd name="connsiteX4431" fmla="*/ 6233397 w 6423456"/>
              <a:gd name="connsiteY4431" fmla="*/ 2153610 h 6377102"/>
              <a:gd name="connsiteX4432" fmla="*/ 6293300 w 6423456"/>
              <a:gd name="connsiteY4432" fmla="*/ 2093707 h 6377102"/>
              <a:gd name="connsiteX4433" fmla="*/ 6212618 w 6423456"/>
              <a:gd name="connsiteY4433" fmla="*/ 1944901 h 6377102"/>
              <a:gd name="connsiteX4434" fmla="*/ 6151192 w 6423456"/>
              <a:gd name="connsiteY4434" fmla="*/ 1883476 h 6377102"/>
              <a:gd name="connsiteX4435" fmla="*/ 6089767 w 6423456"/>
              <a:gd name="connsiteY4435" fmla="*/ 1944901 h 6377102"/>
              <a:gd name="connsiteX4436" fmla="*/ 6151192 w 6423456"/>
              <a:gd name="connsiteY4436" fmla="*/ 2006327 h 6377102"/>
              <a:gd name="connsiteX4437" fmla="*/ 6212618 w 6423456"/>
              <a:gd name="connsiteY4437" fmla="*/ 1944901 h 6377102"/>
              <a:gd name="connsiteX4438" fmla="*/ 6125922 w 6423456"/>
              <a:gd name="connsiteY4438" fmla="*/ 1799293 h 6377102"/>
              <a:gd name="connsiteX4439" fmla="*/ 6063431 w 6423456"/>
              <a:gd name="connsiteY4439" fmla="*/ 1736802 h 6377102"/>
              <a:gd name="connsiteX4440" fmla="*/ 6000940 w 6423456"/>
              <a:gd name="connsiteY4440" fmla="*/ 1799293 h 6377102"/>
              <a:gd name="connsiteX4441" fmla="*/ 6063431 w 6423456"/>
              <a:gd name="connsiteY4441" fmla="*/ 1861783 h 6377102"/>
              <a:gd name="connsiteX4442" fmla="*/ 6125922 w 6423456"/>
              <a:gd name="connsiteY4442" fmla="*/ 1799293 h 6377102"/>
              <a:gd name="connsiteX4443" fmla="*/ 6033365 w 6423456"/>
              <a:gd name="connsiteY4443" fmla="*/ 1657033 h 6377102"/>
              <a:gd name="connsiteX4444" fmla="*/ 5970342 w 6423456"/>
              <a:gd name="connsiteY4444" fmla="*/ 1594009 h 6377102"/>
              <a:gd name="connsiteX4445" fmla="*/ 5907318 w 6423456"/>
              <a:gd name="connsiteY4445" fmla="*/ 1657033 h 6377102"/>
              <a:gd name="connsiteX4446" fmla="*/ 5970342 w 6423456"/>
              <a:gd name="connsiteY4446" fmla="*/ 1720057 h 6377102"/>
              <a:gd name="connsiteX4447" fmla="*/ 6033365 w 6423456"/>
              <a:gd name="connsiteY4447" fmla="*/ 1657033 h 6377102"/>
              <a:gd name="connsiteX4448" fmla="*/ 5936013 w 6423456"/>
              <a:gd name="connsiteY4448" fmla="*/ 1518427 h 6377102"/>
              <a:gd name="connsiteX4449" fmla="*/ 5871925 w 6423456"/>
              <a:gd name="connsiteY4449" fmla="*/ 1454338 h 6377102"/>
              <a:gd name="connsiteX4450" fmla="*/ 5807835 w 6423456"/>
              <a:gd name="connsiteY4450" fmla="*/ 1518427 h 6377102"/>
              <a:gd name="connsiteX4451" fmla="*/ 5871925 w 6423456"/>
              <a:gd name="connsiteY4451" fmla="*/ 1582516 h 6377102"/>
              <a:gd name="connsiteX4452" fmla="*/ 5936013 w 6423456"/>
              <a:gd name="connsiteY4452" fmla="*/ 1518427 h 6377102"/>
              <a:gd name="connsiteX4453" fmla="*/ 5833030 w 6423456"/>
              <a:gd name="connsiteY4453" fmla="*/ 1383474 h 6377102"/>
              <a:gd name="connsiteX4454" fmla="*/ 5768407 w 6423456"/>
              <a:gd name="connsiteY4454" fmla="*/ 1318852 h 6377102"/>
              <a:gd name="connsiteX4455" fmla="*/ 5703785 w 6423456"/>
              <a:gd name="connsiteY4455" fmla="*/ 1383474 h 6377102"/>
              <a:gd name="connsiteX4456" fmla="*/ 5768407 w 6423456"/>
              <a:gd name="connsiteY4456" fmla="*/ 1448096 h 6377102"/>
              <a:gd name="connsiteX4457" fmla="*/ 5833030 w 6423456"/>
              <a:gd name="connsiteY4457" fmla="*/ 1383474 h 6377102"/>
              <a:gd name="connsiteX4458" fmla="*/ 5725098 w 6423456"/>
              <a:gd name="connsiteY4458" fmla="*/ 1252556 h 6377102"/>
              <a:gd name="connsiteX4459" fmla="*/ 5659943 w 6423456"/>
              <a:gd name="connsiteY4459" fmla="*/ 1187401 h 6377102"/>
              <a:gd name="connsiteX4460" fmla="*/ 5594788 w 6423456"/>
              <a:gd name="connsiteY4460" fmla="*/ 1252556 h 6377102"/>
              <a:gd name="connsiteX4461" fmla="*/ 5659943 w 6423456"/>
              <a:gd name="connsiteY4461" fmla="*/ 1317710 h 6377102"/>
              <a:gd name="connsiteX4462" fmla="*/ 5725098 w 6423456"/>
              <a:gd name="connsiteY4462" fmla="*/ 1252556 h 6377102"/>
              <a:gd name="connsiteX4463" fmla="*/ 5611762 w 6423456"/>
              <a:gd name="connsiteY4463" fmla="*/ 1125823 h 6377102"/>
              <a:gd name="connsiteX4464" fmla="*/ 5546608 w 6423456"/>
              <a:gd name="connsiteY4464" fmla="*/ 1060669 h 6377102"/>
              <a:gd name="connsiteX4465" fmla="*/ 5481452 w 6423456"/>
              <a:gd name="connsiteY4465" fmla="*/ 1125823 h 6377102"/>
              <a:gd name="connsiteX4466" fmla="*/ 5546608 w 6423456"/>
              <a:gd name="connsiteY4466" fmla="*/ 1190978 h 6377102"/>
              <a:gd name="connsiteX4467" fmla="*/ 5611762 w 6423456"/>
              <a:gd name="connsiteY4467" fmla="*/ 1125823 h 6377102"/>
              <a:gd name="connsiteX4468" fmla="*/ 5494392 w 6423456"/>
              <a:gd name="connsiteY4468" fmla="*/ 1003354 h 6377102"/>
              <a:gd name="connsiteX4469" fmla="*/ 5428705 w 6423456"/>
              <a:gd name="connsiteY4469" fmla="*/ 937666 h 6377102"/>
              <a:gd name="connsiteX4470" fmla="*/ 5363017 w 6423456"/>
              <a:gd name="connsiteY4470" fmla="*/ 1003354 h 6377102"/>
              <a:gd name="connsiteX4471" fmla="*/ 5428705 w 6423456"/>
              <a:gd name="connsiteY4471" fmla="*/ 1069041 h 6377102"/>
              <a:gd name="connsiteX4472" fmla="*/ 5494392 w 6423456"/>
              <a:gd name="connsiteY4472" fmla="*/ 1003354 h 6377102"/>
              <a:gd name="connsiteX4473" fmla="*/ 5371390 w 6423456"/>
              <a:gd name="connsiteY4473" fmla="*/ 885375 h 6377102"/>
              <a:gd name="connsiteX4474" fmla="*/ 5306234 w 6423456"/>
              <a:gd name="connsiteY4474" fmla="*/ 820220 h 6377102"/>
              <a:gd name="connsiteX4475" fmla="*/ 5241080 w 6423456"/>
              <a:gd name="connsiteY4475" fmla="*/ 885375 h 6377102"/>
              <a:gd name="connsiteX4476" fmla="*/ 5306234 w 6423456"/>
              <a:gd name="connsiteY4476" fmla="*/ 950529 h 6377102"/>
              <a:gd name="connsiteX4477" fmla="*/ 5371390 w 6423456"/>
              <a:gd name="connsiteY4477" fmla="*/ 885375 h 6377102"/>
              <a:gd name="connsiteX4478" fmla="*/ 5244581 w 6423456"/>
              <a:gd name="connsiteY4478" fmla="*/ 772115 h 6377102"/>
              <a:gd name="connsiteX4479" fmla="*/ 5179427 w 6423456"/>
              <a:gd name="connsiteY4479" fmla="*/ 706960 h 6377102"/>
              <a:gd name="connsiteX4480" fmla="*/ 5114272 w 6423456"/>
              <a:gd name="connsiteY4480" fmla="*/ 772115 h 6377102"/>
              <a:gd name="connsiteX4481" fmla="*/ 5179427 w 6423456"/>
              <a:gd name="connsiteY4481" fmla="*/ 837270 h 6377102"/>
              <a:gd name="connsiteX4482" fmla="*/ 5244581 w 6423456"/>
              <a:gd name="connsiteY4482" fmla="*/ 772115 h 6377102"/>
              <a:gd name="connsiteX4483" fmla="*/ 5113130 w 6423456"/>
              <a:gd name="connsiteY4483" fmla="*/ 663650 h 6377102"/>
              <a:gd name="connsiteX4484" fmla="*/ 5048508 w 6423456"/>
              <a:gd name="connsiteY4484" fmla="*/ 599028 h 6377102"/>
              <a:gd name="connsiteX4485" fmla="*/ 4983886 w 6423456"/>
              <a:gd name="connsiteY4485" fmla="*/ 663650 h 6377102"/>
              <a:gd name="connsiteX4486" fmla="*/ 5048508 w 6423456"/>
              <a:gd name="connsiteY4486" fmla="*/ 728272 h 6377102"/>
              <a:gd name="connsiteX4487" fmla="*/ 5113130 w 6423456"/>
              <a:gd name="connsiteY4487" fmla="*/ 663650 h 6377102"/>
              <a:gd name="connsiteX4488" fmla="*/ 4977721 w 6423456"/>
              <a:gd name="connsiteY4488" fmla="*/ 560133 h 6377102"/>
              <a:gd name="connsiteX4489" fmla="*/ 4913631 w 6423456"/>
              <a:gd name="connsiteY4489" fmla="*/ 496044 h 6377102"/>
              <a:gd name="connsiteX4490" fmla="*/ 4849542 w 6423456"/>
              <a:gd name="connsiteY4490" fmla="*/ 560133 h 6377102"/>
              <a:gd name="connsiteX4491" fmla="*/ 4913631 w 6423456"/>
              <a:gd name="connsiteY4491" fmla="*/ 624223 h 6377102"/>
              <a:gd name="connsiteX4492" fmla="*/ 4977721 w 6423456"/>
              <a:gd name="connsiteY4492" fmla="*/ 560133 h 6377102"/>
              <a:gd name="connsiteX4493" fmla="*/ 4838048 w 6423456"/>
              <a:gd name="connsiteY4493" fmla="*/ 461792 h 6377102"/>
              <a:gd name="connsiteX4494" fmla="*/ 4775026 w 6423456"/>
              <a:gd name="connsiteY4494" fmla="*/ 398769 h 6377102"/>
              <a:gd name="connsiteX4495" fmla="*/ 4712002 w 6423456"/>
              <a:gd name="connsiteY4495" fmla="*/ 461792 h 6377102"/>
              <a:gd name="connsiteX4496" fmla="*/ 4775026 w 6423456"/>
              <a:gd name="connsiteY4496" fmla="*/ 524816 h 6377102"/>
              <a:gd name="connsiteX4497" fmla="*/ 4838048 w 6423456"/>
              <a:gd name="connsiteY4497" fmla="*/ 461792 h 6377102"/>
              <a:gd name="connsiteX4498" fmla="*/ 4695256 w 6423456"/>
              <a:gd name="connsiteY4498" fmla="*/ 368627 h 6377102"/>
              <a:gd name="connsiteX4499" fmla="*/ 4632765 w 6423456"/>
              <a:gd name="connsiteY4499" fmla="*/ 306136 h 6377102"/>
              <a:gd name="connsiteX4500" fmla="*/ 4570275 w 6423456"/>
              <a:gd name="connsiteY4500" fmla="*/ 368627 h 6377102"/>
              <a:gd name="connsiteX4501" fmla="*/ 4632765 w 6423456"/>
              <a:gd name="connsiteY4501" fmla="*/ 431118 h 6377102"/>
              <a:gd name="connsiteX4502" fmla="*/ 4695256 w 6423456"/>
              <a:gd name="connsiteY4502" fmla="*/ 368627 h 6377102"/>
              <a:gd name="connsiteX4503" fmla="*/ 4548582 w 6423456"/>
              <a:gd name="connsiteY4503" fmla="*/ 280866 h 6377102"/>
              <a:gd name="connsiteX4504" fmla="*/ 4487156 w 6423456"/>
              <a:gd name="connsiteY4504" fmla="*/ 219441 h 6377102"/>
              <a:gd name="connsiteX4505" fmla="*/ 4425732 w 6423456"/>
              <a:gd name="connsiteY4505" fmla="*/ 280866 h 6377102"/>
              <a:gd name="connsiteX4506" fmla="*/ 4487156 w 6423456"/>
              <a:gd name="connsiteY4506" fmla="*/ 342291 h 6377102"/>
              <a:gd name="connsiteX4507" fmla="*/ 4548582 w 6423456"/>
              <a:gd name="connsiteY4507" fmla="*/ 280866 h 6377102"/>
              <a:gd name="connsiteX4508" fmla="*/ 4398178 w 6423456"/>
              <a:gd name="connsiteY4508" fmla="*/ 198661 h 6377102"/>
              <a:gd name="connsiteX4509" fmla="*/ 4338275 w 6423456"/>
              <a:gd name="connsiteY4509" fmla="*/ 138758 h 6377102"/>
              <a:gd name="connsiteX4510" fmla="*/ 4278372 w 6423456"/>
              <a:gd name="connsiteY4510" fmla="*/ 198661 h 6377102"/>
              <a:gd name="connsiteX4511" fmla="*/ 4338275 w 6423456"/>
              <a:gd name="connsiteY4511" fmla="*/ 258564 h 6377102"/>
              <a:gd name="connsiteX4512" fmla="*/ 4398178 w 6423456"/>
              <a:gd name="connsiteY4512" fmla="*/ 198661 h 6377102"/>
              <a:gd name="connsiteX4513" fmla="*/ 4244881 w 6423456"/>
              <a:gd name="connsiteY4513" fmla="*/ 122013 h 6377102"/>
              <a:gd name="connsiteX4514" fmla="*/ 4186577 w 6423456"/>
              <a:gd name="connsiteY4514" fmla="*/ 63709 h 6377102"/>
              <a:gd name="connsiteX4515" fmla="*/ 4128272 w 6423456"/>
              <a:gd name="connsiteY4515" fmla="*/ 122013 h 6377102"/>
              <a:gd name="connsiteX4516" fmla="*/ 4186577 w 6423456"/>
              <a:gd name="connsiteY4516" fmla="*/ 180317 h 6377102"/>
              <a:gd name="connsiteX4517" fmla="*/ 4244881 w 6423456"/>
              <a:gd name="connsiteY4517" fmla="*/ 122013 h 6377102"/>
              <a:gd name="connsiteX4518" fmla="*/ 4007782 w 6423456"/>
              <a:gd name="connsiteY4518" fmla="*/ 0 h 6377102"/>
              <a:gd name="connsiteX4519" fmla="*/ 3975280 w 6423456"/>
              <a:gd name="connsiteY4519" fmla="*/ 51073 h 6377102"/>
              <a:gd name="connsiteX4520" fmla="*/ 4031987 w 6423456"/>
              <a:gd name="connsiteY4520" fmla="*/ 107779 h 6377102"/>
              <a:gd name="connsiteX4521" fmla="*/ 4088692 w 6423456"/>
              <a:gd name="connsiteY4521" fmla="*/ 51073 h 6377102"/>
              <a:gd name="connsiteX4522" fmla="*/ 4056191 w 6423456"/>
              <a:gd name="connsiteY4522" fmla="*/ 0 h 6377102"/>
              <a:gd name="connsiteX4523" fmla="*/ 4007782 w 6423456"/>
              <a:gd name="connsiteY4523" fmla="*/ 0 h 6377102"/>
              <a:gd name="connsiteX4524" fmla="*/ 3821831 w 6423456"/>
              <a:gd name="connsiteY4524" fmla="*/ 0 h 6377102"/>
              <a:gd name="connsiteX4525" fmla="*/ 3874961 w 6423456"/>
              <a:gd name="connsiteY4525" fmla="*/ 41178 h 6377102"/>
              <a:gd name="connsiteX4526" fmla="*/ 3928089 w 6423456"/>
              <a:gd name="connsiteY4526" fmla="*/ 0 h 6377102"/>
              <a:gd name="connsiteX4527" fmla="*/ 3821831 w 6423456"/>
              <a:gd name="connsiteY4527" fmla="*/ 0 h 6377102"/>
              <a:gd name="connsiteX4528" fmla="*/ 405999 w 6423456"/>
              <a:gd name="connsiteY4528" fmla="*/ 51150 h 6377102"/>
              <a:gd name="connsiteX4529" fmla="*/ 396028 w 6423456"/>
              <a:gd name="connsiteY4529" fmla="*/ 41178 h 6377102"/>
              <a:gd name="connsiteX4530" fmla="*/ 386057 w 6423456"/>
              <a:gd name="connsiteY4530" fmla="*/ 51150 h 6377102"/>
              <a:gd name="connsiteX4531" fmla="*/ 396028 w 6423456"/>
              <a:gd name="connsiteY4531" fmla="*/ 61121 h 6377102"/>
              <a:gd name="connsiteX4532" fmla="*/ 405999 w 6423456"/>
              <a:gd name="connsiteY4532" fmla="*/ 51150 h 6377102"/>
              <a:gd name="connsiteX4533" fmla="*/ 249887 w 6423456"/>
              <a:gd name="connsiteY4533" fmla="*/ 122013 h 6377102"/>
              <a:gd name="connsiteX4534" fmla="*/ 241514 w 6423456"/>
              <a:gd name="connsiteY4534" fmla="*/ 113640 h 6377102"/>
              <a:gd name="connsiteX4535" fmla="*/ 233141 w 6423456"/>
              <a:gd name="connsiteY4535" fmla="*/ 122013 h 6377102"/>
              <a:gd name="connsiteX4536" fmla="*/ 241514 w 6423456"/>
              <a:gd name="connsiteY4536" fmla="*/ 130386 h 6377102"/>
              <a:gd name="connsiteX4537" fmla="*/ 249887 w 6423456"/>
              <a:gd name="connsiteY4537" fmla="*/ 122013 h 6377102"/>
              <a:gd name="connsiteX4538" fmla="*/ 96514 w 6423456"/>
              <a:gd name="connsiteY4538" fmla="*/ 198661 h 6377102"/>
              <a:gd name="connsiteX4539" fmla="*/ 89664 w 6423456"/>
              <a:gd name="connsiteY4539" fmla="*/ 191811 h 6377102"/>
              <a:gd name="connsiteX4540" fmla="*/ 82813 w 6423456"/>
              <a:gd name="connsiteY4540" fmla="*/ 198661 h 6377102"/>
              <a:gd name="connsiteX4541" fmla="*/ 89664 w 6423456"/>
              <a:gd name="connsiteY4541" fmla="*/ 205512 h 6377102"/>
              <a:gd name="connsiteX4542" fmla="*/ 96514 w 6423456"/>
              <a:gd name="connsiteY4542" fmla="*/ 198661 h 6377102"/>
              <a:gd name="connsiteX4543" fmla="*/ 6423457 w 6423456"/>
              <a:gd name="connsiteY4543" fmla="*/ 1984634 h 6377102"/>
              <a:gd name="connsiteX4544" fmla="*/ 6359216 w 6423456"/>
              <a:gd name="connsiteY4544" fmla="*/ 2049180 h 6377102"/>
              <a:gd name="connsiteX4545" fmla="*/ 6423457 w 6423456"/>
              <a:gd name="connsiteY4545" fmla="*/ 2113725 h 6377102"/>
              <a:gd name="connsiteX4546" fmla="*/ 6423457 w 6423456"/>
              <a:gd name="connsiteY4546" fmla="*/ 1984634 h 6377102"/>
              <a:gd name="connsiteX4547" fmla="*/ 6408919 w 6423456"/>
              <a:gd name="connsiteY4547" fmla="*/ 1899461 h 6377102"/>
              <a:gd name="connsiteX4548" fmla="*/ 6343231 w 6423456"/>
              <a:gd name="connsiteY4548" fmla="*/ 1833773 h 6377102"/>
              <a:gd name="connsiteX4549" fmla="*/ 6277543 w 6423456"/>
              <a:gd name="connsiteY4549" fmla="*/ 1899461 h 6377102"/>
              <a:gd name="connsiteX4550" fmla="*/ 6343231 w 6423456"/>
              <a:gd name="connsiteY4550" fmla="*/ 1965148 h 6377102"/>
              <a:gd name="connsiteX4551" fmla="*/ 6408919 w 6423456"/>
              <a:gd name="connsiteY4551" fmla="*/ 1899461 h 6377102"/>
              <a:gd name="connsiteX4552" fmla="*/ 6324583 w 6423456"/>
              <a:gd name="connsiteY4552" fmla="*/ 1752710 h 6377102"/>
              <a:gd name="connsiteX4553" fmla="*/ 6257373 w 6423456"/>
              <a:gd name="connsiteY4553" fmla="*/ 1685500 h 6377102"/>
              <a:gd name="connsiteX4554" fmla="*/ 6190163 w 6423456"/>
              <a:gd name="connsiteY4554" fmla="*/ 1752710 h 6377102"/>
              <a:gd name="connsiteX4555" fmla="*/ 6257373 w 6423456"/>
              <a:gd name="connsiteY4555" fmla="*/ 1819920 h 6377102"/>
              <a:gd name="connsiteX4556" fmla="*/ 6324583 w 6423456"/>
              <a:gd name="connsiteY4556" fmla="*/ 1752710 h 6377102"/>
              <a:gd name="connsiteX4557" fmla="*/ 6234539 w 6423456"/>
              <a:gd name="connsiteY4557" fmla="*/ 1609156 h 6377102"/>
              <a:gd name="connsiteX4558" fmla="*/ 6166263 w 6423456"/>
              <a:gd name="connsiteY4558" fmla="*/ 1540881 h 6377102"/>
              <a:gd name="connsiteX4559" fmla="*/ 6097987 w 6423456"/>
              <a:gd name="connsiteY4559" fmla="*/ 1609156 h 6377102"/>
              <a:gd name="connsiteX4560" fmla="*/ 6166263 w 6423456"/>
              <a:gd name="connsiteY4560" fmla="*/ 1677432 h 6377102"/>
              <a:gd name="connsiteX4561" fmla="*/ 6234539 w 6423456"/>
              <a:gd name="connsiteY4561" fmla="*/ 1609156 h 6377102"/>
              <a:gd name="connsiteX4562" fmla="*/ 6138861 w 6423456"/>
              <a:gd name="connsiteY4562" fmla="*/ 1468952 h 6377102"/>
              <a:gd name="connsiteX4563" fmla="*/ 6070053 w 6423456"/>
              <a:gd name="connsiteY4563" fmla="*/ 1400143 h 6377102"/>
              <a:gd name="connsiteX4564" fmla="*/ 6001245 w 6423456"/>
              <a:gd name="connsiteY4564" fmla="*/ 1468952 h 6377102"/>
              <a:gd name="connsiteX4565" fmla="*/ 6070053 w 6423456"/>
              <a:gd name="connsiteY4565" fmla="*/ 1537760 h 6377102"/>
              <a:gd name="connsiteX4566" fmla="*/ 6138861 w 6423456"/>
              <a:gd name="connsiteY4566" fmla="*/ 1468952 h 6377102"/>
              <a:gd name="connsiteX4567" fmla="*/ 6038769 w 6423456"/>
              <a:gd name="connsiteY4567" fmla="*/ 1332325 h 6377102"/>
              <a:gd name="connsiteX4568" fmla="*/ 5968896 w 6423456"/>
              <a:gd name="connsiteY4568" fmla="*/ 1262451 h 6377102"/>
              <a:gd name="connsiteX4569" fmla="*/ 5899021 w 6423456"/>
              <a:gd name="connsiteY4569" fmla="*/ 1332325 h 6377102"/>
              <a:gd name="connsiteX4570" fmla="*/ 5968896 w 6423456"/>
              <a:gd name="connsiteY4570" fmla="*/ 1402198 h 6377102"/>
              <a:gd name="connsiteX4571" fmla="*/ 6038769 w 6423456"/>
              <a:gd name="connsiteY4571" fmla="*/ 1332325 h 6377102"/>
              <a:gd name="connsiteX4572" fmla="*/ 5933273 w 6423456"/>
              <a:gd name="connsiteY4572" fmla="*/ 1199427 h 6377102"/>
              <a:gd name="connsiteX4573" fmla="*/ 5862867 w 6423456"/>
              <a:gd name="connsiteY4573" fmla="*/ 1129020 h 6377102"/>
              <a:gd name="connsiteX4574" fmla="*/ 5792460 w 6423456"/>
              <a:gd name="connsiteY4574" fmla="*/ 1199427 h 6377102"/>
              <a:gd name="connsiteX4575" fmla="*/ 5862867 w 6423456"/>
              <a:gd name="connsiteY4575" fmla="*/ 1269834 h 6377102"/>
              <a:gd name="connsiteX4576" fmla="*/ 5933273 w 6423456"/>
              <a:gd name="connsiteY4576" fmla="*/ 1199427 h 6377102"/>
              <a:gd name="connsiteX4577" fmla="*/ 5823135 w 6423456"/>
              <a:gd name="connsiteY4577" fmla="*/ 1070335 h 6377102"/>
              <a:gd name="connsiteX4578" fmla="*/ 5752195 w 6423456"/>
              <a:gd name="connsiteY4578" fmla="*/ 999396 h 6377102"/>
              <a:gd name="connsiteX4579" fmla="*/ 5681255 w 6423456"/>
              <a:gd name="connsiteY4579" fmla="*/ 1070335 h 6377102"/>
              <a:gd name="connsiteX4580" fmla="*/ 5752195 w 6423456"/>
              <a:gd name="connsiteY4580" fmla="*/ 1141275 h 6377102"/>
              <a:gd name="connsiteX4581" fmla="*/ 5823135 w 6423456"/>
              <a:gd name="connsiteY4581" fmla="*/ 1070335 h 6377102"/>
              <a:gd name="connsiteX4582" fmla="*/ 5707820 w 6423456"/>
              <a:gd name="connsiteY4582" fmla="*/ 945354 h 6377102"/>
              <a:gd name="connsiteX4583" fmla="*/ 5636880 w 6423456"/>
              <a:gd name="connsiteY4583" fmla="*/ 874414 h 6377102"/>
              <a:gd name="connsiteX4584" fmla="*/ 5565940 w 6423456"/>
              <a:gd name="connsiteY4584" fmla="*/ 945354 h 6377102"/>
              <a:gd name="connsiteX4585" fmla="*/ 5636880 w 6423456"/>
              <a:gd name="connsiteY4585" fmla="*/ 1016293 h 6377102"/>
              <a:gd name="connsiteX4586" fmla="*/ 5707820 w 6423456"/>
              <a:gd name="connsiteY4586" fmla="*/ 945354 h 6377102"/>
              <a:gd name="connsiteX4587" fmla="*/ 5588166 w 6423456"/>
              <a:gd name="connsiteY4587" fmla="*/ 824635 h 6377102"/>
              <a:gd name="connsiteX4588" fmla="*/ 5517226 w 6423456"/>
              <a:gd name="connsiteY4588" fmla="*/ 753695 h 6377102"/>
              <a:gd name="connsiteX4589" fmla="*/ 5446287 w 6423456"/>
              <a:gd name="connsiteY4589" fmla="*/ 824635 h 6377102"/>
              <a:gd name="connsiteX4590" fmla="*/ 5517226 w 6423456"/>
              <a:gd name="connsiteY4590" fmla="*/ 895574 h 6377102"/>
              <a:gd name="connsiteX4591" fmla="*/ 5588166 w 6423456"/>
              <a:gd name="connsiteY4591" fmla="*/ 824635 h 6377102"/>
              <a:gd name="connsiteX4592" fmla="*/ 5464250 w 6423456"/>
              <a:gd name="connsiteY4592" fmla="*/ 708254 h 6377102"/>
              <a:gd name="connsiteX4593" fmla="*/ 5393311 w 6423456"/>
              <a:gd name="connsiteY4593" fmla="*/ 637314 h 6377102"/>
              <a:gd name="connsiteX4594" fmla="*/ 5322371 w 6423456"/>
              <a:gd name="connsiteY4594" fmla="*/ 708254 h 6377102"/>
              <a:gd name="connsiteX4595" fmla="*/ 5393311 w 6423456"/>
              <a:gd name="connsiteY4595" fmla="*/ 779194 h 6377102"/>
              <a:gd name="connsiteX4596" fmla="*/ 5464250 w 6423456"/>
              <a:gd name="connsiteY4596" fmla="*/ 708254 h 6377102"/>
              <a:gd name="connsiteX4597" fmla="*/ 5335691 w 6423456"/>
              <a:gd name="connsiteY4597" fmla="*/ 596364 h 6377102"/>
              <a:gd name="connsiteX4598" fmla="*/ 5265284 w 6423456"/>
              <a:gd name="connsiteY4598" fmla="*/ 525958 h 6377102"/>
              <a:gd name="connsiteX4599" fmla="*/ 5194878 w 6423456"/>
              <a:gd name="connsiteY4599" fmla="*/ 596364 h 6377102"/>
              <a:gd name="connsiteX4600" fmla="*/ 5265284 w 6423456"/>
              <a:gd name="connsiteY4600" fmla="*/ 666771 h 6377102"/>
              <a:gd name="connsiteX4601" fmla="*/ 5335691 w 6423456"/>
              <a:gd name="connsiteY4601" fmla="*/ 596364 h 6377102"/>
              <a:gd name="connsiteX4602" fmla="*/ 5203175 w 6423456"/>
              <a:gd name="connsiteY4602" fmla="*/ 489194 h 6377102"/>
              <a:gd name="connsiteX4603" fmla="*/ 5133300 w 6423456"/>
              <a:gd name="connsiteY4603" fmla="*/ 419320 h 6377102"/>
              <a:gd name="connsiteX4604" fmla="*/ 5063426 w 6423456"/>
              <a:gd name="connsiteY4604" fmla="*/ 489194 h 6377102"/>
              <a:gd name="connsiteX4605" fmla="*/ 5133300 w 6423456"/>
              <a:gd name="connsiteY4605" fmla="*/ 559068 h 6377102"/>
              <a:gd name="connsiteX4606" fmla="*/ 5203175 w 6423456"/>
              <a:gd name="connsiteY4606" fmla="*/ 489194 h 6377102"/>
              <a:gd name="connsiteX4607" fmla="*/ 5066928 w 6423456"/>
              <a:gd name="connsiteY4607" fmla="*/ 386819 h 6377102"/>
              <a:gd name="connsiteX4608" fmla="*/ 4997587 w 6423456"/>
              <a:gd name="connsiteY4608" fmla="*/ 317477 h 6377102"/>
              <a:gd name="connsiteX4609" fmla="*/ 4928246 w 6423456"/>
              <a:gd name="connsiteY4609" fmla="*/ 386819 h 6377102"/>
              <a:gd name="connsiteX4610" fmla="*/ 4997587 w 6423456"/>
              <a:gd name="connsiteY4610" fmla="*/ 456160 h 6377102"/>
              <a:gd name="connsiteX4611" fmla="*/ 5066928 w 6423456"/>
              <a:gd name="connsiteY4611" fmla="*/ 386819 h 6377102"/>
              <a:gd name="connsiteX4612" fmla="*/ 4926571 w 6423456"/>
              <a:gd name="connsiteY4612" fmla="*/ 289391 h 6377102"/>
              <a:gd name="connsiteX4613" fmla="*/ 4858295 w 6423456"/>
              <a:gd name="connsiteY4613" fmla="*/ 221115 h 6377102"/>
              <a:gd name="connsiteX4614" fmla="*/ 4790020 w 6423456"/>
              <a:gd name="connsiteY4614" fmla="*/ 289391 h 6377102"/>
              <a:gd name="connsiteX4615" fmla="*/ 4858295 w 6423456"/>
              <a:gd name="connsiteY4615" fmla="*/ 357666 h 6377102"/>
              <a:gd name="connsiteX4616" fmla="*/ 4926571 w 6423456"/>
              <a:gd name="connsiteY4616" fmla="*/ 289391 h 6377102"/>
              <a:gd name="connsiteX4617" fmla="*/ 4782789 w 6423456"/>
              <a:gd name="connsiteY4617" fmla="*/ 196987 h 6377102"/>
              <a:gd name="connsiteX4618" fmla="*/ 4715579 w 6423456"/>
              <a:gd name="connsiteY4618" fmla="*/ 129777 h 6377102"/>
              <a:gd name="connsiteX4619" fmla="*/ 4648369 w 6423456"/>
              <a:gd name="connsiteY4619" fmla="*/ 196987 h 6377102"/>
              <a:gd name="connsiteX4620" fmla="*/ 4715579 w 6423456"/>
              <a:gd name="connsiteY4620" fmla="*/ 264197 h 6377102"/>
              <a:gd name="connsiteX4621" fmla="*/ 4782789 w 6423456"/>
              <a:gd name="connsiteY4621" fmla="*/ 196987 h 6377102"/>
              <a:gd name="connsiteX4622" fmla="*/ 4635734 w 6423456"/>
              <a:gd name="connsiteY4622" fmla="*/ 109758 h 6377102"/>
              <a:gd name="connsiteX4623" fmla="*/ 4569514 w 6423456"/>
              <a:gd name="connsiteY4623" fmla="*/ 43538 h 6377102"/>
              <a:gd name="connsiteX4624" fmla="*/ 4503293 w 6423456"/>
              <a:gd name="connsiteY4624" fmla="*/ 109758 h 6377102"/>
              <a:gd name="connsiteX4625" fmla="*/ 4569514 w 6423456"/>
              <a:gd name="connsiteY4625" fmla="*/ 175903 h 6377102"/>
              <a:gd name="connsiteX4626" fmla="*/ 4635734 w 6423456"/>
              <a:gd name="connsiteY4626" fmla="*/ 109758 h 6377102"/>
              <a:gd name="connsiteX4627" fmla="*/ 4362479 w 6423456"/>
              <a:gd name="connsiteY4627" fmla="*/ 0 h 6377102"/>
              <a:gd name="connsiteX4628" fmla="*/ 4355934 w 6423456"/>
              <a:gd name="connsiteY4628" fmla="*/ 27858 h 6377102"/>
              <a:gd name="connsiteX4629" fmla="*/ 4420555 w 6423456"/>
              <a:gd name="connsiteY4629" fmla="*/ 92480 h 6377102"/>
              <a:gd name="connsiteX4630" fmla="*/ 4485177 w 6423456"/>
              <a:gd name="connsiteY4630" fmla="*/ 27858 h 6377102"/>
              <a:gd name="connsiteX4631" fmla="*/ 4478632 w 6423456"/>
              <a:gd name="connsiteY4631" fmla="*/ 0 h 6377102"/>
              <a:gd name="connsiteX4632" fmla="*/ 4362479 w 6423456"/>
              <a:gd name="connsiteY4632" fmla="*/ 0 h 6377102"/>
              <a:gd name="connsiteX4633" fmla="*/ 14766 w 6423456"/>
              <a:gd name="connsiteY4633" fmla="*/ 27858 h 6377102"/>
              <a:gd name="connsiteX4634" fmla="*/ 7383 w 6423456"/>
              <a:gd name="connsiteY4634" fmla="*/ 20475 h 6377102"/>
              <a:gd name="connsiteX4635" fmla="*/ 0 w 6423456"/>
              <a:gd name="connsiteY4635" fmla="*/ 27858 h 6377102"/>
              <a:gd name="connsiteX4636" fmla="*/ 7383 w 6423456"/>
              <a:gd name="connsiteY4636" fmla="*/ 35241 h 6377102"/>
              <a:gd name="connsiteX4637" fmla="*/ 14766 w 6423456"/>
              <a:gd name="connsiteY4637" fmla="*/ 27858 h 6377102"/>
              <a:gd name="connsiteX4638" fmla="*/ 6423457 w 6423456"/>
              <a:gd name="connsiteY4638" fmla="*/ 1639983 h 6377102"/>
              <a:gd name="connsiteX4639" fmla="*/ 6378701 w 6423456"/>
              <a:gd name="connsiteY4639" fmla="*/ 1706508 h 6377102"/>
              <a:gd name="connsiteX4640" fmla="*/ 6423457 w 6423456"/>
              <a:gd name="connsiteY4640" fmla="*/ 1773033 h 6377102"/>
              <a:gd name="connsiteX4641" fmla="*/ 6423457 w 6423456"/>
              <a:gd name="connsiteY4641" fmla="*/ 1639983 h 6377102"/>
              <a:gd name="connsiteX4642" fmla="*/ 6423457 w 6423456"/>
              <a:gd name="connsiteY4642" fmla="*/ 1523679 h 6377102"/>
              <a:gd name="connsiteX4643" fmla="*/ 6361423 w 6423456"/>
              <a:gd name="connsiteY4643" fmla="*/ 1488818 h 6377102"/>
              <a:gd name="connsiteX4644" fmla="*/ 6288428 w 6423456"/>
              <a:gd name="connsiteY4644" fmla="*/ 1561812 h 6377102"/>
              <a:gd name="connsiteX4645" fmla="*/ 6361423 w 6423456"/>
              <a:gd name="connsiteY4645" fmla="*/ 1634807 h 6377102"/>
              <a:gd name="connsiteX4646" fmla="*/ 6423457 w 6423456"/>
              <a:gd name="connsiteY4646" fmla="*/ 1599946 h 6377102"/>
              <a:gd name="connsiteX4647" fmla="*/ 6423457 w 6423456"/>
              <a:gd name="connsiteY4647" fmla="*/ 1523679 h 6377102"/>
              <a:gd name="connsiteX4648" fmla="*/ 6341328 w 6423456"/>
              <a:gd name="connsiteY4648" fmla="*/ 1420238 h 6377102"/>
              <a:gd name="connsiteX4649" fmla="*/ 6267268 w 6423456"/>
              <a:gd name="connsiteY4649" fmla="*/ 1346177 h 6377102"/>
              <a:gd name="connsiteX4650" fmla="*/ 6193208 w 6423456"/>
              <a:gd name="connsiteY4650" fmla="*/ 1420238 h 6377102"/>
              <a:gd name="connsiteX4651" fmla="*/ 6267268 w 6423456"/>
              <a:gd name="connsiteY4651" fmla="*/ 1494298 h 6377102"/>
              <a:gd name="connsiteX4652" fmla="*/ 6341328 w 6423456"/>
              <a:gd name="connsiteY4652" fmla="*/ 1420238 h 6377102"/>
              <a:gd name="connsiteX4653" fmla="*/ 6243444 w 6423456"/>
              <a:gd name="connsiteY4653" fmla="*/ 1282012 h 6377102"/>
              <a:gd name="connsiteX4654" fmla="*/ 6168318 w 6423456"/>
              <a:gd name="connsiteY4654" fmla="*/ 1206886 h 6377102"/>
              <a:gd name="connsiteX4655" fmla="*/ 6093192 w 6423456"/>
              <a:gd name="connsiteY4655" fmla="*/ 1282012 h 6377102"/>
              <a:gd name="connsiteX4656" fmla="*/ 6168318 w 6423456"/>
              <a:gd name="connsiteY4656" fmla="*/ 1357138 h 6377102"/>
              <a:gd name="connsiteX4657" fmla="*/ 6243444 w 6423456"/>
              <a:gd name="connsiteY4657" fmla="*/ 1282012 h 6377102"/>
              <a:gd name="connsiteX4658" fmla="*/ 6140232 w 6423456"/>
              <a:gd name="connsiteY4658" fmla="*/ 1147288 h 6377102"/>
              <a:gd name="connsiteX4659" fmla="*/ 6064572 w 6423456"/>
              <a:gd name="connsiteY4659" fmla="*/ 1071629 h 6377102"/>
              <a:gd name="connsiteX4660" fmla="*/ 5988914 w 6423456"/>
              <a:gd name="connsiteY4660" fmla="*/ 1147288 h 6377102"/>
              <a:gd name="connsiteX4661" fmla="*/ 6064572 w 6423456"/>
              <a:gd name="connsiteY4661" fmla="*/ 1222947 h 6377102"/>
              <a:gd name="connsiteX4662" fmla="*/ 6140232 w 6423456"/>
              <a:gd name="connsiteY4662" fmla="*/ 1147288 h 6377102"/>
              <a:gd name="connsiteX4663" fmla="*/ 6032528 w 6423456"/>
              <a:gd name="connsiteY4663" fmla="*/ 1016217 h 6377102"/>
              <a:gd name="connsiteX4664" fmla="*/ 5956337 w 6423456"/>
              <a:gd name="connsiteY4664" fmla="*/ 940026 h 6377102"/>
              <a:gd name="connsiteX4665" fmla="*/ 5880145 w 6423456"/>
              <a:gd name="connsiteY4665" fmla="*/ 1016217 h 6377102"/>
              <a:gd name="connsiteX4666" fmla="*/ 5956337 w 6423456"/>
              <a:gd name="connsiteY4666" fmla="*/ 1092409 h 6377102"/>
              <a:gd name="connsiteX4667" fmla="*/ 6032528 w 6423456"/>
              <a:gd name="connsiteY4667" fmla="*/ 1016217 h 6377102"/>
              <a:gd name="connsiteX4668" fmla="*/ 5920258 w 6423456"/>
              <a:gd name="connsiteY4668" fmla="*/ 888952 h 6377102"/>
              <a:gd name="connsiteX4669" fmla="*/ 5843534 w 6423456"/>
              <a:gd name="connsiteY4669" fmla="*/ 812228 h 6377102"/>
              <a:gd name="connsiteX4670" fmla="*/ 5766809 w 6423456"/>
              <a:gd name="connsiteY4670" fmla="*/ 888952 h 6377102"/>
              <a:gd name="connsiteX4671" fmla="*/ 5843534 w 6423456"/>
              <a:gd name="connsiteY4671" fmla="*/ 965676 h 6377102"/>
              <a:gd name="connsiteX4672" fmla="*/ 5920258 w 6423456"/>
              <a:gd name="connsiteY4672" fmla="*/ 888952 h 6377102"/>
              <a:gd name="connsiteX4673" fmla="*/ 5803192 w 6423456"/>
              <a:gd name="connsiteY4673" fmla="*/ 765645 h 6377102"/>
              <a:gd name="connsiteX4674" fmla="*/ 5726468 w 6423456"/>
              <a:gd name="connsiteY4674" fmla="*/ 688921 h 6377102"/>
              <a:gd name="connsiteX4675" fmla="*/ 5649743 w 6423456"/>
              <a:gd name="connsiteY4675" fmla="*/ 765645 h 6377102"/>
              <a:gd name="connsiteX4676" fmla="*/ 5726468 w 6423456"/>
              <a:gd name="connsiteY4676" fmla="*/ 842369 h 6377102"/>
              <a:gd name="connsiteX4677" fmla="*/ 5803192 w 6423456"/>
              <a:gd name="connsiteY4677" fmla="*/ 765645 h 6377102"/>
              <a:gd name="connsiteX4678" fmla="*/ 5681940 w 6423456"/>
              <a:gd name="connsiteY4678" fmla="*/ 646448 h 6377102"/>
              <a:gd name="connsiteX4679" fmla="*/ 5605216 w 6423456"/>
              <a:gd name="connsiteY4679" fmla="*/ 569724 h 6377102"/>
              <a:gd name="connsiteX4680" fmla="*/ 5528568 w 6423456"/>
              <a:gd name="connsiteY4680" fmla="*/ 646448 h 6377102"/>
              <a:gd name="connsiteX4681" fmla="*/ 5605216 w 6423456"/>
              <a:gd name="connsiteY4681" fmla="*/ 723173 h 6377102"/>
              <a:gd name="connsiteX4682" fmla="*/ 5681940 w 6423456"/>
              <a:gd name="connsiteY4682" fmla="*/ 646448 h 6377102"/>
              <a:gd name="connsiteX4683" fmla="*/ 5556122 w 6423456"/>
              <a:gd name="connsiteY4683" fmla="*/ 531514 h 6377102"/>
              <a:gd name="connsiteX4684" fmla="*/ 5479930 w 6423456"/>
              <a:gd name="connsiteY4684" fmla="*/ 455323 h 6377102"/>
              <a:gd name="connsiteX4685" fmla="*/ 5403739 w 6423456"/>
              <a:gd name="connsiteY4685" fmla="*/ 531514 h 6377102"/>
              <a:gd name="connsiteX4686" fmla="*/ 5479930 w 6423456"/>
              <a:gd name="connsiteY4686" fmla="*/ 607706 h 6377102"/>
              <a:gd name="connsiteX4687" fmla="*/ 5556122 w 6423456"/>
              <a:gd name="connsiteY4687" fmla="*/ 531514 h 6377102"/>
              <a:gd name="connsiteX4688" fmla="*/ 5426953 w 6423456"/>
              <a:gd name="connsiteY4688" fmla="*/ 420994 h 6377102"/>
              <a:gd name="connsiteX4689" fmla="*/ 5350762 w 6423456"/>
              <a:gd name="connsiteY4689" fmla="*/ 344803 h 6377102"/>
              <a:gd name="connsiteX4690" fmla="*/ 5274571 w 6423456"/>
              <a:gd name="connsiteY4690" fmla="*/ 420994 h 6377102"/>
              <a:gd name="connsiteX4691" fmla="*/ 5350762 w 6423456"/>
              <a:gd name="connsiteY4691" fmla="*/ 497186 h 6377102"/>
              <a:gd name="connsiteX4692" fmla="*/ 5426953 w 6423456"/>
              <a:gd name="connsiteY4692" fmla="*/ 420994 h 6377102"/>
              <a:gd name="connsiteX4693" fmla="*/ 5292990 w 6423456"/>
              <a:gd name="connsiteY4693" fmla="*/ 315042 h 6377102"/>
              <a:gd name="connsiteX4694" fmla="*/ 5217865 w 6423456"/>
              <a:gd name="connsiteY4694" fmla="*/ 239916 h 6377102"/>
              <a:gd name="connsiteX4695" fmla="*/ 5142739 w 6423456"/>
              <a:gd name="connsiteY4695" fmla="*/ 315042 h 6377102"/>
              <a:gd name="connsiteX4696" fmla="*/ 5217865 w 6423456"/>
              <a:gd name="connsiteY4696" fmla="*/ 390168 h 6377102"/>
              <a:gd name="connsiteX4697" fmla="*/ 5292990 w 6423456"/>
              <a:gd name="connsiteY4697" fmla="*/ 315042 h 6377102"/>
              <a:gd name="connsiteX4698" fmla="*/ 5155906 w 6423456"/>
              <a:gd name="connsiteY4698" fmla="*/ 213656 h 6377102"/>
              <a:gd name="connsiteX4699" fmla="*/ 5081314 w 6423456"/>
              <a:gd name="connsiteY4699" fmla="*/ 139063 h 6377102"/>
              <a:gd name="connsiteX4700" fmla="*/ 5006720 w 6423456"/>
              <a:gd name="connsiteY4700" fmla="*/ 213656 h 6377102"/>
              <a:gd name="connsiteX4701" fmla="*/ 5081314 w 6423456"/>
              <a:gd name="connsiteY4701" fmla="*/ 288249 h 6377102"/>
              <a:gd name="connsiteX4702" fmla="*/ 5155906 w 6423456"/>
              <a:gd name="connsiteY4702" fmla="*/ 213656 h 6377102"/>
              <a:gd name="connsiteX4703" fmla="*/ 5014941 w 6423456"/>
              <a:gd name="connsiteY4703" fmla="*/ 117066 h 6377102"/>
              <a:gd name="connsiteX4704" fmla="*/ 4941414 w 6423456"/>
              <a:gd name="connsiteY4704" fmla="*/ 43538 h 6377102"/>
              <a:gd name="connsiteX4705" fmla="*/ 4867886 w 6423456"/>
              <a:gd name="connsiteY4705" fmla="*/ 117066 h 6377102"/>
              <a:gd name="connsiteX4706" fmla="*/ 4941414 w 6423456"/>
              <a:gd name="connsiteY4706" fmla="*/ 190593 h 6377102"/>
              <a:gd name="connsiteX4707" fmla="*/ 5014941 w 6423456"/>
              <a:gd name="connsiteY4707" fmla="*/ 117066 h 6377102"/>
              <a:gd name="connsiteX4708" fmla="*/ 4730573 w 6423456"/>
              <a:gd name="connsiteY4708" fmla="*/ 0 h 6377102"/>
              <a:gd name="connsiteX4709" fmla="*/ 4725778 w 6423456"/>
              <a:gd name="connsiteY4709" fmla="*/ 25346 h 6377102"/>
              <a:gd name="connsiteX4710" fmla="*/ 4798240 w 6423456"/>
              <a:gd name="connsiteY4710" fmla="*/ 97808 h 6377102"/>
              <a:gd name="connsiteX4711" fmla="*/ 4870702 w 6423456"/>
              <a:gd name="connsiteY4711" fmla="*/ 25346 h 6377102"/>
              <a:gd name="connsiteX4712" fmla="*/ 4865907 w 6423456"/>
              <a:gd name="connsiteY4712" fmla="*/ 0 h 6377102"/>
              <a:gd name="connsiteX4713" fmla="*/ 4730573 w 6423456"/>
              <a:gd name="connsiteY4713" fmla="*/ 0 h 6377102"/>
              <a:gd name="connsiteX4714" fmla="*/ 6423457 w 6423456"/>
              <a:gd name="connsiteY4714" fmla="*/ 1304086 h 6377102"/>
              <a:gd name="connsiteX4715" fmla="*/ 6384333 w 6423456"/>
              <a:gd name="connsiteY4715" fmla="*/ 1372133 h 6377102"/>
              <a:gd name="connsiteX4716" fmla="*/ 6423457 w 6423456"/>
              <a:gd name="connsiteY4716" fmla="*/ 1440180 h 6377102"/>
              <a:gd name="connsiteX4717" fmla="*/ 6423457 w 6423456"/>
              <a:gd name="connsiteY4717" fmla="*/ 1304086 h 6377102"/>
              <a:gd name="connsiteX4718" fmla="*/ 6423457 w 6423456"/>
              <a:gd name="connsiteY4718" fmla="*/ 1175603 h 6377102"/>
              <a:gd name="connsiteX4719" fmla="*/ 6366675 w 6423456"/>
              <a:gd name="connsiteY4719" fmla="*/ 1152083 h 6377102"/>
              <a:gd name="connsiteX4720" fmla="*/ 6286297 w 6423456"/>
              <a:gd name="connsiteY4720" fmla="*/ 1232461 h 6377102"/>
              <a:gd name="connsiteX4721" fmla="*/ 6366675 w 6423456"/>
              <a:gd name="connsiteY4721" fmla="*/ 1312839 h 6377102"/>
              <a:gd name="connsiteX4722" fmla="*/ 6423457 w 6423456"/>
              <a:gd name="connsiteY4722" fmla="*/ 1289319 h 6377102"/>
              <a:gd name="connsiteX4723" fmla="*/ 6423457 w 6423456"/>
              <a:gd name="connsiteY4723" fmla="*/ 1175603 h 6377102"/>
              <a:gd name="connsiteX4724" fmla="*/ 6346047 w 6423456"/>
              <a:gd name="connsiteY4724" fmla="*/ 1096062 h 6377102"/>
              <a:gd name="connsiteX4725" fmla="*/ 6265136 w 6423456"/>
              <a:gd name="connsiteY4725" fmla="*/ 1015152 h 6377102"/>
              <a:gd name="connsiteX4726" fmla="*/ 6184226 w 6423456"/>
              <a:gd name="connsiteY4726" fmla="*/ 1096062 h 6377102"/>
              <a:gd name="connsiteX4727" fmla="*/ 6265136 w 6423456"/>
              <a:gd name="connsiteY4727" fmla="*/ 1176973 h 6377102"/>
              <a:gd name="connsiteX4728" fmla="*/ 6346047 w 6423456"/>
              <a:gd name="connsiteY4728" fmla="*/ 1096062 h 6377102"/>
              <a:gd name="connsiteX4729" fmla="*/ 6240551 w 6423456"/>
              <a:gd name="connsiteY4729" fmla="*/ 963165 h 6377102"/>
              <a:gd name="connsiteX4730" fmla="*/ 6159108 w 6423456"/>
              <a:gd name="connsiteY4730" fmla="*/ 881721 h 6377102"/>
              <a:gd name="connsiteX4731" fmla="*/ 6077664 w 6423456"/>
              <a:gd name="connsiteY4731" fmla="*/ 963165 h 6377102"/>
              <a:gd name="connsiteX4732" fmla="*/ 6159108 w 6423456"/>
              <a:gd name="connsiteY4732" fmla="*/ 1044608 h 6377102"/>
              <a:gd name="connsiteX4733" fmla="*/ 6240551 w 6423456"/>
              <a:gd name="connsiteY4733" fmla="*/ 963165 h 6377102"/>
              <a:gd name="connsiteX4734" fmla="*/ 6130717 w 6423456"/>
              <a:gd name="connsiteY4734" fmla="*/ 833845 h 6377102"/>
              <a:gd name="connsiteX4735" fmla="*/ 6048741 w 6423456"/>
              <a:gd name="connsiteY4735" fmla="*/ 751868 h 6377102"/>
              <a:gd name="connsiteX4736" fmla="*/ 5966764 w 6423456"/>
              <a:gd name="connsiteY4736" fmla="*/ 833845 h 6377102"/>
              <a:gd name="connsiteX4737" fmla="*/ 6048741 w 6423456"/>
              <a:gd name="connsiteY4737" fmla="*/ 915821 h 6377102"/>
              <a:gd name="connsiteX4738" fmla="*/ 6130717 w 6423456"/>
              <a:gd name="connsiteY4738" fmla="*/ 833845 h 6377102"/>
              <a:gd name="connsiteX4739" fmla="*/ 6016163 w 6423456"/>
              <a:gd name="connsiteY4739" fmla="*/ 708254 h 6377102"/>
              <a:gd name="connsiteX4740" fmla="*/ 5934187 w 6423456"/>
              <a:gd name="connsiteY4740" fmla="*/ 626278 h 6377102"/>
              <a:gd name="connsiteX4741" fmla="*/ 5852210 w 6423456"/>
              <a:gd name="connsiteY4741" fmla="*/ 708254 h 6377102"/>
              <a:gd name="connsiteX4742" fmla="*/ 5934187 w 6423456"/>
              <a:gd name="connsiteY4742" fmla="*/ 790230 h 6377102"/>
              <a:gd name="connsiteX4743" fmla="*/ 6016163 w 6423456"/>
              <a:gd name="connsiteY4743" fmla="*/ 708254 h 6377102"/>
              <a:gd name="connsiteX4744" fmla="*/ 5897956 w 6423456"/>
              <a:gd name="connsiteY4744" fmla="*/ 586546 h 6377102"/>
              <a:gd name="connsiteX4745" fmla="*/ 5815447 w 6423456"/>
              <a:gd name="connsiteY4745" fmla="*/ 504112 h 6377102"/>
              <a:gd name="connsiteX4746" fmla="*/ 5733014 w 6423456"/>
              <a:gd name="connsiteY4746" fmla="*/ 586546 h 6377102"/>
              <a:gd name="connsiteX4747" fmla="*/ 5815447 w 6423456"/>
              <a:gd name="connsiteY4747" fmla="*/ 669055 h 6377102"/>
              <a:gd name="connsiteX4748" fmla="*/ 5897956 w 6423456"/>
              <a:gd name="connsiteY4748" fmla="*/ 586546 h 6377102"/>
              <a:gd name="connsiteX4749" fmla="*/ 5774725 w 6423456"/>
              <a:gd name="connsiteY4749" fmla="*/ 468795 h 6377102"/>
              <a:gd name="connsiteX4750" fmla="*/ 5692749 w 6423456"/>
              <a:gd name="connsiteY4750" fmla="*/ 386819 h 6377102"/>
              <a:gd name="connsiteX4751" fmla="*/ 5610772 w 6423456"/>
              <a:gd name="connsiteY4751" fmla="*/ 468795 h 6377102"/>
              <a:gd name="connsiteX4752" fmla="*/ 5692749 w 6423456"/>
              <a:gd name="connsiteY4752" fmla="*/ 550771 h 6377102"/>
              <a:gd name="connsiteX4753" fmla="*/ 5774725 w 6423456"/>
              <a:gd name="connsiteY4753" fmla="*/ 468795 h 6377102"/>
              <a:gd name="connsiteX4754" fmla="*/ 5648145 w 6423456"/>
              <a:gd name="connsiteY4754" fmla="*/ 355307 h 6377102"/>
              <a:gd name="connsiteX4755" fmla="*/ 5566169 w 6423456"/>
              <a:gd name="connsiteY4755" fmla="*/ 273331 h 6377102"/>
              <a:gd name="connsiteX4756" fmla="*/ 5484192 w 6423456"/>
              <a:gd name="connsiteY4756" fmla="*/ 355307 h 6377102"/>
              <a:gd name="connsiteX4757" fmla="*/ 5566169 w 6423456"/>
              <a:gd name="connsiteY4757" fmla="*/ 437283 h 6377102"/>
              <a:gd name="connsiteX4758" fmla="*/ 5648145 w 6423456"/>
              <a:gd name="connsiteY4758" fmla="*/ 355307 h 6377102"/>
              <a:gd name="connsiteX4759" fmla="*/ 5517379 w 6423456"/>
              <a:gd name="connsiteY4759" fmla="*/ 246005 h 6377102"/>
              <a:gd name="connsiteX4760" fmla="*/ 5435935 w 6423456"/>
              <a:gd name="connsiteY4760" fmla="*/ 164562 h 6377102"/>
              <a:gd name="connsiteX4761" fmla="*/ 5354492 w 6423456"/>
              <a:gd name="connsiteY4761" fmla="*/ 246005 h 6377102"/>
              <a:gd name="connsiteX4762" fmla="*/ 5435935 w 6423456"/>
              <a:gd name="connsiteY4762" fmla="*/ 327449 h 6377102"/>
              <a:gd name="connsiteX4763" fmla="*/ 5517379 w 6423456"/>
              <a:gd name="connsiteY4763" fmla="*/ 246005 h 6377102"/>
              <a:gd name="connsiteX4764" fmla="*/ 5383111 w 6423456"/>
              <a:gd name="connsiteY4764" fmla="*/ 141118 h 6377102"/>
              <a:gd name="connsiteX4765" fmla="*/ 5302200 w 6423456"/>
              <a:gd name="connsiteY4765" fmla="*/ 60207 h 6377102"/>
              <a:gd name="connsiteX4766" fmla="*/ 5221290 w 6423456"/>
              <a:gd name="connsiteY4766" fmla="*/ 141118 h 6377102"/>
              <a:gd name="connsiteX4767" fmla="*/ 5302200 w 6423456"/>
              <a:gd name="connsiteY4767" fmla="*/ 222029 h 6377102"/>
              <a:gd name="connsiteX4768" fmla="*/ 5383111 w 6423456"/>
              <a:gd name="connsiteY4768" fmla="*/ 141118 h 6377102"/>
              <a:gd name="connsiteX4769" fmla="*/ 5096613 w 6423456"/>
              <a:gd name="connsiteY4769" fmla="*/ 0 h 6377102"/>
              <a:gd name="connsiteX4770" fmla="*/ 5085120 w 6423456"/>
              <a:gd name="connsiteY4770" fmla="*/ 40646 h 6377102"/>
              <a:gd name="connsiteX4771" fmla="*/ 5164965 w 6423456"/>
              <a:gd name="connsiteY4771" fmla="*/ 120491 h 6377102"/>
              <a:gd name="connsiteX4772" fmla="*/ 5244810 w 6423456"/>
              <a:gd name="connsiteY4772" fmla="*/ 40646 h 6377102"/>
              <a:gd name="connsiteX4773" fmla="*/ 5233316 w 6423456"/>
              <a:gd name="connsiteY4773" fmla="*/ 0 h 6377102"/>
              <a:gd name="connsiteX4774" fmla="*/ 5096613 w 6423456"/>
              <a:gd name="connsiteY4774" fmla="*/ 0 h 6377102"/>
              <a:gd name="connsiteX4775" fmla="*/ 6423457 w 6423456"/>
              <a:gd name="connsiteY4775" fmla="*/ 969863 h 6377102"/>
              <a:gd name="connsiteX4776" fmla="*/ 6378016 w 6423456"/>
              <a:gd name="connsiteY4776" fmla="*/ 1045674 h 6377102"/>
              <a:gd name="connsiteX4777" fmla="*/ 6423457 w 6423456"/>
              <a:gd name="connsiteY4777" fmla="*/ 1121485 h 6377102"/>
              <a:gd name="connsiteX4778" fmla="*/ 6423457 w 6423456"/>
              <a:gd name="connsiteY4778" fmla="*/ 969863 h 6377102"/>
              <a:gd name="connsiteX4779" fmla="*/ 6423457 w 6423456"/>
              <a:gd name="connsiteY4779" fmla="*/ 849829 h 6377102"/>
              <a:gd name="connsiteX4780" fmla="*/ 6360814 w 6423456"/>
              <a:gd name="connsiteY4780" fmla="*/ 823417 h 6377102"/>
              <a:gd name="connsiteX4781" fmla="*/ 6273053 w 6423456"/>
              <a:gd name="connsiteY4781" fmla="*/ 911178 h 6377102"/>
              <a:gd name="connsiteX4782" fmla="*/ 6360814 w 6423456"/>
              <a:gd name="connsiteY4782" fmla="*/ 998863 h 6377102"/>
              <a:gd name="connsiteX4783" fmla="*/ 6423457 w 6423456"/>
              <a:gd name="connsiteY4783" fmla="*/ 972451 h 6377102"/>
              <a:gd name="connsiteX4784" fmla="*/ 6423457 w 6423456"/>
              <a:gd name="connsiteY4784" fmla="*/ 849829 h 6377102"/>
              <a:gd name="connsiteX4785" fmla="*/ 6340948 w 6423456"/>
              <a:gd name="connsiteY4785" fmla="*/ 779879 h 6377102"/>
              <a:gd name="connsiteX4786" fmla="*/ 6252730 w 6423456"/>
              <a:gd name="connsiteY4786" fmla="*/ 691661 h 6377102"/>
              <a:gd name="connsiteX4787" fmla="*/ 6164512 w 6423456"/>
              <a:gd name="connsiteY4787" fmla="*/ 779879 h 6377102"/>
              <a:gd name="connsiteX4788" fmla="*/ 6252730 w 6423456"/>
              <a:gd name="connsiteY4788" fmla="*/ 868096 h 6377102"/>
              <a:gd name="connsiteX4789" fmla="*/ 6340948 w 6423456"/>
              <a:gd name="connsiteY4789" fmla="*/ 779879 h 6377102"/>
              <a:gd name="connsiteX4790" fmla="*/ 6228678 w 6423456"/>
              <a:gd name="connsiteY4790" fmla="*/ 652157 h 6377102"/>
              <a:gd name="connsiteX4791" fmla="*/ 6140459 w 6423456"/>
              <a:gd name="connsiteY4791" fmla="*/ 563939 h 6377102"/>
              <a:gd name="connsiteX4792" fmla="*/ 6052242 w 6423456"/>
              <a:gd name="connsiteY4792" fmla="*/ 652157 h 6377102"/>
              <a:gd name="connsiteX4793" fmla="*/ 6140459 w 6423456"/>
              <a:gd name="connsiteY4793" fmla="*/ 740375 h 6377102"/>
              <a:gd name="connsiteX4794" fmla="*/ 6228678 w 6423456"/>
              <a:gd name="connsiteY4794" fmla="*/ 652157 h 6377102"/>
              <a:gd name="connsiteX4795" fmla="*/ 6112906 w 6423456"/>
              <a:gd name="connsiteY4795" fmla="*/ 528165 h 6377102"/>
              <a:gd name="connsiteX4796" fmla="*/ 6024156 w 6423456"/>
              <a:gd name="connsiteY4796" fmla="*/ 439414 h 6377102"/>
              <a:gd name="connsiteX4797" fmla="*/ 5935405 w 6423456"/>
              <a:gd name="connsiteY4797" fmla="*/ 528165 h 6377102"/>
              <a:gd name="connsiteX4798" fmla="*/ 6024156 w 6423456"/>
              <a:gd name="connsiteY4798" fmla="*/ 616916 h 6377102"/>
              <a:gd name="connsiteX4799" fmla="*/ 6112906 w 6423456"/>
              <a:gd name="connsiteY4799" fmla="*/ 528165 h 6377102"/>
              <a:gd name="connsiteX4800" fmla="*/ 5992644 w 6423456"/>
              <a:gd name="connsiteY4800" fmla="*/ 407979 h 6377102"/>
              <a:gd name="connsiteX4801" fmla="*/ 5903893 w 6423456"/>
              <a:gd name="connsiteY4801" fmla="*/ 319228 h 6377102"/>
              <a:gd name="connsiteX4802" fmla="*/ 5815142 w 6423456"/>
              <a:gd name="connsiteY4802" fmla="*/ 407979 h 6377102"/>
              <a:gd name="connsiteX4803" fmla="*/ 5903893 w 6423456"/>
              <a:gd name="connsiteY4803" fmla="*/ 496729 h 6377102"/>
              <a:gd name="connsiteX4804" fmla="*/ 5992644 w 6423456"/>
              <a:gd name="connsiteY4804" fmla="*/ 407979 h 6377102"/>
              <a:gd name="connsiteX4805" fmla="*/ 5868119 w 6423456"/>
              <a:gd name="connsiteY4805" fmla="*/ 291674 h 6377102"/>
              <a:gd name="connsiteX4806" fmla="*/ 5779901 w 6423456"/>
              <a:gd name="connsiteY4806" fmla="*/ 203457 h 6377102"/>
              <a:gd name="connsiteX4807" fmla="*/ 5691683 w 6423456"/>
              <a:gd name="connsiteY4807" fmla="*/ 291674 h 6377102"/>
              <a:gd name="connsiteX4808" fmla="*/ 5779901 w 6423456"/>
              <a:gd name="connsiteY4808" fmla="*/ 379892 h 6377102"/>
              <a:gd name="connsiteX4809" fmla="*/ 5868119 w 6423456"/>
              <a:gd name="connsiteY4809" fmla="*/ 291674 h 6377102"/>
              <a:gd name="connsiteX4810" fmla="*/ 5740397 w 6423456"/>
              <a:gd name="connsiteY4810" fmla="*/ 179328 h 6377102"/>
              <a:gd name="connsiteX4811" fmla="*/ 5652180 w 6423456"/>
              <a:gd name="connsiteY4811" fmla="*/ 91110 h 6377102"/>
              <a:gd name="connsiteX4812" fmla="*/ 5563961 w 6423456"/>
              <a:gd name="connsiteY4812" fmla="*/ 179328 h 6377102"/>
              <a:gd name="connsiteX4813" fmla="*/ 5652180 w 6423456"/>
              <a:gd name="connsiteY4813" fmla="*/ 267546 h 6377102"/>
              <a:gd name="connsiteX4814" fmla="*/ 5740397 w 6423456"/>
              <a:gd name="connsiteY4814" fmla="*/ 179328 h 6377102"/>
              <a:gd name="connsiteX4815" fmla="*/ 5470111 w 6423456"/>
              <a:gd name="connsiteY4815" fmla="*/ 0 h 6377102"/>
              <a:gd name="connsiteX4816" fmla="*/ 5433272 w 6423456"/>
              <a:gd name="connsiteY4816" fmla="*/ 71244 h 6377102"/>
              <a:gd name="connsiteX4817" fmla="*/ 5520957 w 6423456"/>
              <a:gd name="connsiteY4817" fmla="*/ 158929 h 6377102"/>
              <a:gd name="connsiteX4818" fmla="*/ 5608641 w 6423456"/>
              <a:gd name="connsiteY4818" fmla="*/ 71244 h 6377102"/>
              <a:gd name="connsiteX4819" fmla="*/ 5571801 w 6423456"/>
              <a:gd name="connsiteY4819" fmla="*/ 0 h 6377102"/>
              <a:gd name="connsiteX4820" fmla="*/ 5470111 w 6423456"/>
              <a:gd name="connsiteY4820" fmla="*/ 0 h 6377102"/>
              <a:gd name="connsiteX4821" fmla="*/ 5306158 w 6423456"/>
              <a:gd name="connsiteY4821" fmla="*/ 0 h 6377102"/>
              <a:gd name="connsiteX4822" fmla="*/ 5386384 w 6423456"/>
              <a:gd name="connsiteY4822" fmla="*/ 54042 h 6377102"/>
              <a:gd name="connsiteX4823" fmla="*/ 5466610 w 6423456"/>
              <a:gd name="connsiteY4823" fmla="*/ 0 h 6377102"/>
              <a:gd name="connsiteX4824" fmla="*/ 5306158 w 6423456"/>
              <a:gd name="connsiteY4824" fmla="*/ 0 h 6377102"/>
              <a:gd name="connsiteX4825" fmla="*/ 6423457 w 6423456"/>
              <a:gd name="connsiteY4825" fmla="*/ 638837 h 6377102"/>
              <a:gd name="connsiteX4826" fmla="*/ 6361346 w 6423456"/>
              <a:gd name="connsiteY4826" fmla="*/ 726902 h 6377102"/>
              <a:gd name="connsiteX4827" fmla="*/ 6423457 w 6423456"/>
              <a:gd name="connsiteY4827" fmla="*/ 814968 h 6377102"/>
              <a:gd name="connsiteX4828" fmla="*/ 6423457 w 6423456"/>
              <a:gd name="connsiteY4828" fmla="*/ 638837 h 6377102"/>
              <a:gd name="connsiteX4829" fmla="*/ 6423457 w 6423456"/>
              <a:gd name="connsiteY4829" fmla="*/ 544149 h 6377102"/>
              <a:gd name="connsiteX4830" fmla="*/ 6345362 w 6423456"/>
              <a:gd name="connsiteY4830" fmla="*/ 502819 h 6377102"/>
              <a:gd name="connsiteX4831" fmla="*/ 6250827 w 6423456"/>
              <a:gd name="connsiteY4831" fmla="*/ 597354 h 6377102"/>
              <a:gd name="connsiteX4832" fmla="*/ 6345362 w 6423456"/>
              <a:gd name="connsiteY4832" fmla="*/ 691889 h 6377102"/>
              <a:gd name="connsiteX4833" fmla="*/ 6423457 w 6423456"/>
              <a:gd name="connsiteY4833" fmla="*/ 650559 h 6377102"/>
              <a:gd name="connsiteX4834" fmla="*/ 6423457 w 6423456"/>
              <a:gd name="connsiteY4834" fmla="*/ 544149 h 6377102"/>
              <a:gd name="connsiteX4835" fmla="*/ 6325877 w 6423456"/>
              <a:gd name="connsiteY4835" fmla="*/ 471231 h 6377102"/>
              <a:gd name="connsiteX4836" fmla="*/ 6231342 w 6423456"/>
              <a:gd name="connsiteY4836" fmla="*/ 376695 h 6377102"/>
              <a:gd name="connsiteX4837" fmla="*/ 6136806 w 6423456"/>
              <a:gd name="connsiteY4837" fmla="*/ 471231 h 6377102"/>
              <a:gd name="connsiteX4838" fmla="*/ 6231342 w 6423456"/>
              <a:gd name="connsiteY4838" fmla="*/ 565766 h 6377102"/>
              <a:gd name="connsiteX4839" fmla="*/ 6325877 w 6423456"/>
              <a:gd name="connsiteY4839" fmla="*/ 471231 h 6377102"/>
              <a:gd name="connsiteX4840" fmla="*/ 6207974 w 6423456"/>
              <a:gd name="connsiteY4840" fmla="*/ 348685 h 6377102"/>
              <a:gd name="connsiteX4841" fmla="*/ 6113439 w 6423456"/>
              <a:gd name="connsiteY4841" fmla="*/ 254149 h 6377102"/>
              <a:gd name="connsiteX4842" fmla="*/ 6018903 w 6423456"/>
              <a:gd name="connsiteY4842" fmla="*/ 348685 h 6377102"/>
              <a:gd name="connsiteX4843" fmla="*/ 6113439 w 6423456"/>
              <a:gd name="connsiteY4843" fmla="*/ 443220 h 6377102"/>
              <a:gd name="connsiteX4844" fmla="*/ 6207974 w 6423456"/>
              <a:gd name="connsiteY4844" fmla="*/ 348685 h 6377102"/>
              <a:gd name="connsiteX4845" fmla="*/ 6086341 w 6423456"/>
              <a:gd name="connsiteY4845" fmla="*/ 229869 h 6377102"/>
              <a:gd name="connsiteX4846" fmla="*/ 5991807 w 6423456"/>
              <a:gd name="connsiteY4846" fmla="*/ 135333 h 6377102"/>
              <a:gd name="connsiteX4847" fmla="*/ 5897271 w 6423456"/>
              <a:gd name="connsiteY4847" fmla="*/ 229869 h 6377102"/>
              <a:gd name="connsiteX4848" fmla="*/ 5991807 w 6423456"/>
              <a:gd name="connsiteY4848" fmla="*/ 324404 h 6377102"/>
              <a:gd name="connsiteX4849" fmla="*/ 6086341 w 6423456"/>
              <a:gd name="connsiteY4849" fmla="*/ 229869 h 6377102"/>
              <a:gd name="connsiteX4850" fmla="*/ 5961132 w 6423456"/>
              <a:gd name="connsiteY4850" fmla="*/ 114858 h 6377102"/>
              <a:gd name="connsiteX4851" fmla="*/ 5866596 w 6423456"/>
              <a:gd name="connsiteY4851" fmla="*/ 20323 h 6377102"/>
              <a:gd name="connsiteX4852" fmla="*/ 5772061 w 6423456"/>
              <a:gd name="connsiteY4852" fmla="*/ 114858 h 6377102"/>
              <a:gd name="connsiteX4853" fmla="*/ 5866596 w 6423456"/>
              <a:gd name="connsiteY4853" fmla="*/ 209394 h 6377102"/>
              <a:gd name="connsiteX4854" fmla="*/ 5961132 w 6423456"/>
              <a:gd name="connsiteY4854" fmla="*/ 114858 h 6377102"/>
              <a:gd name="connsiteX4855" fmla="*/ 5644187 w 6423456"/>
              <a:gd name="connsiteY4855" fmla="*/ 0 h 6377102"/>
              <a:gd name="connsiteX4856" fmla="*/ 5643806 w 6423456"/>
              <a:gd name="connsiteY4856" fmla="*/ 3806 h 6377102"/>
              <a:gd name="connsiteX4857" fmla="*/ 5737809 w 6423456"/>
              <a:gd name="connsiteY4857" fmla="*/ 97808 h 6377102"/>
              <a:gd name="connsiteX4858" fmla="*/ 5831812 w 6423456"/>
              <a:gd name="connsiteY4858" fmla="*/ 3806 h 6377102"/>
              <a:gd name="connsiteX4859" fmla="*/ 5831431 w 6423456"/>
              <a:gd name="connsiteY4859" fmla="*/ 0 h 6377102"/>
              <a:gd name="connsiteX4860" fmla="*/ 5644187 w 6423456"/>
              <a:gd name="connsiteY4860" fmla="*/ 0 h 6377102"/>
              <a:gd name="connsiteX4861" fmla="*/ 6423457 w 6423456"/>
              <a:gd name="connsiteY4861" fmla="*/ 316031 h 6377102"/>
              <a:gd name="connsiteX4862" fmla="*/ 6336305 w 6423456"/>
              <a:gd name="connsiteY4862" fmla="*/ 415514 h 6377102"/>
              <a:gd name="connsiteX4863" fmla="*/ 6423457 w 6423456"/>
              <a:gd name="connsiteY4863" fmla="*/ 514997 h 6377102"/>
              <a:gd name="connsiteX4864" fmla="*/ 6423457 w 6423456"/>
              <a:gd name="connsiteY4864" fmla="*/ 316031 h 6377102"/>
              <a:gd name="connsiteX4865" fmla="*/ 6422924 w 6423456"/>
              <a:gd name="connsiteY4865" fmla="*/ 290837 h 6377102"/>
              <a:gd name="connsiteX4866" fmla="*/ 6321538 w 6423456"/>
              <a:gd name="connsiteY4866" fmla="*/ 189451 h 6377102"/>
              <a:gd name="connsiteX4867" fmla="*/ 6220153 w 6423456"/>
              <a:gd name="connsiteY4867" fmla="*/ 290837 h 6377102"/>
              <a:gd name="connsiteX4868" fmla="*/ 6321538 w 6423456"/>
              <a:gd name="connsiteY4868" fmla="*/ 392223 h 6377102"/>
              <a:gd name="connsiteX4869" fmla="*/ 6422924 w 6423456"/>
              <a:gd name="connsiteY4869" fmla="*/ 290837 h 6377102"/>
              <a:gd name="connsiteX4870" fmla="*/ 6303575 w 6423456"/>
              <a:gd name="connsiteY4870" fmla="*/ 169737 h 6377102"/>
              <a:gd name="connsiteX4871" fmla="*/ 6202190 w 6423456"/>
              <a:gd name="connsiteY4871" fmla="*/ 68352 h 6377102"/>
              <a:gd name="connsiteX4872" fmla="*/ 6100803 w 6423456"/>
              <a:gd name="connsiteY4872" fmla="*/ 169737 h 6377102"/>
              <a:gd name="connsiteX4873" fmla="*/ 6202190 w 6423456"/>
              <a:gd name="connsiteY4873" fmla="*/ 271123 h 6377102"/>
              <a:gd name="connsiteX4874" fmla="*/ 6303575 w 6423456"/>
              <a:gd name="connsiteY4874" fmla="*/ 169737 h 6377102"/>
              <a:gd name="connsiteX4875" fmla="*/ 5992796 w 6423456"/>
              <a:gd name="connsiteY4875" fmla="*/ 0 h 6377102"/>
              <a:gd name="connsiteX4876" fmla="*/ 5977877 w 6423456"/>
              <a:gd name="connsiteY4876" fmla="*/ 52215 h 6377102"/>
              <a:gd name="connsiteX4877" fmla="*/ 6079263 w 6423456"/>
              <a:gd name="connsiteY4877" fmla="*/ 153601 h 6377102"/>
              <a:gd name="connsiteX4878" fmla="*/ 6180648 w 6423456"/>
              <a:gd name="connsiteY4878" fmla="*/ 52215 h 6377102"/>
              <a:gd name="connsiteX4879" fmla="*/ 6165730 w 6423456"/>
              <a:gd name="connsiteY4879" fmla="*/ 0 h 6377102"/>
              <a:gd name="connsiteX4880" fmla="*/ 5992796 w 6423456"/>
              <a:gd name="connsiteY4880" fmla="*/ 0 h 6377102"/>
              <a:gd name="connsiteX4881" fmla="*/ 5873599 w 6423456"/>
              <a:gd name="connsiteY4881" fmla="*/ 0 h 6377102"/>
              <a:gd name="connsiteX4882" fmla="*/ 5952987 w 6423456"/>
              <a:gd name="connsiteY4882" fmla="*/ 39352 h 6377102"/>
              <a:gd name="connsiteX4883" fmla="*/ 6032376 w 6423456"/>
              <a:gd name="connsiteY4883" fmla="*/ 0 h 6377102"/>
              <a:gd name="connsiteX4884" fmla="*/ 5873599 w 6423456"/>
              <a:gd name="connsiteY4884" fmla="*/ 0 h 6377102"/>
              <a:gd name="connsiteX4885" fmla="*/ 6423457 w 6423456"/>
              <a:gd name="connsiteY4885" fmla="*/ 4110 h 6377102"/>
              <a:gd name="connsiteX4886" fmla="*/ 6411126 w 6423456"/>
              <a:gd name="connsiteY4886" fmla="*/ 2892 h 6377102"/>
              <a:gd name="connsiteX4887" fmla="*/ 6302890 w 6423456"/>
              <a:gd name="connsiteY4887" fmla="*/ 111129 h 6377102"/>
              <a:gd name="connsiteX4888" fmla="*/ 6411126 w 6423456"/>
              <a:gd name="connsiteY4888" fmla="*/ 219365 h 6377102"/>
              <a:gd name="connsiteX4889" fmla="*/ 6423457 w 6423456"/>
              <a:gd name="connsiteY4889" fmla="*/ 218147 h 6377102"/>
              <a:gd name="connsiteX4890" fmla="*/ 6423457 w 6423456"/>
              <a:gd name="connsiteY4890" fmla="*/ 4110 h 6377102"/>
              <a:gd name="connsiteX4891" fmla="*/ 6183161 w 6423456"/>
              <a:gd name="connsiteY4891" fmla="*/ 0 h 6377102"/>
              <a:gd name="connsiteX4892" fmla="*/ 6290483 w 6423456"/>
              <a:gd name="connsiteY4892" fmla="*/ 99483 h 6377102"/>
              <a:gd name="connsiteX4893" fmla="*/ 6397806 w 6423456"/>
              <a:gd name="connsiteY4893" fmla="*/ 0 h 6377102"/>
              <a:gd name="connsiteX4894" fmla="*/ 6183161 w 6423456"/>
              <a:gd name="connsiteY4894" fmla="*/ 0 h 6377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Lst>
            <a:rect l="l" t="t" r="r" b="b"/>
            <a:pathLst>
              <a:path w="6423456" h="6377102">
                <a:moveTo>
                  <a:pt x="2362623" y="4336144"/>
                </a:moveTo>
                <a:cubicBezTo>
                  <a:pt x="2362623" y="4336448"/>
                  <a:pt x="2362394" y="4336677"/>
                  <a:pt x="2362090" y="4336677"/>
                </a:cubicBezTo>
                <a:cubicBezTo>
                  <a:pt x="2361785" y="4336677"/>
                  <a:pt x="2361557" y="4336448"/>
                  <a:pt x="2361557" y="4336144"/>
                </a:cubicBezTo>
                <a:cubicBezTo>
                  <a:pt x="2361557" y="4335840"/>
                  <a:pt x="2361785" y="4335611"/>
                  <a:pt x="2362090" y="4335611"/>
                </a:cubicBezTo>
                <a:cubicBezTo>
                  <a:pt x="2362394" y="4335611"/>
                  <a:pt x="2362623" y="4335840"/>
                  <a:pt x="2362623" y="4336144"/>
                </a:cubicBezTo>
                <a:moveTo>
                  <a:pt x="2399235" y="4175921"/>
                </a:moveTo>
                <a:cubicBezTo>
                  <a:pt x="2399235" y="4175616"/>
                  <a:pt x="2399006" y="4175388"/>
                  <a:pt x="2398701" y="4175388"/>
                </a:cubicBezTo>
                <a:cubicBezTo>
                  <a:pt x="2398397" y="4175388"/>
                  <a:pt x="2398169" y="4175616"/>
                  <a:pt x="2398169" y="4175921"/>
                </a:cubicBezTo>
                <a:cubicBezTo>
                  <a:pt x="2398169" y="4176225"/>
                  <a:pt x="2398397" y="4176454"/>
                  <a:pt x="2398701" y="4176454"/>
                </a:cubicBezTo>
                <a:cubicBezTo>
                  <a:pt x="2399006" y="4176454"/>
                  <a:pt x="2399235" y="4176149"/>
                  <a:pt x="2399235" y="4175921"/>
                </a:cubicBezTo>
                <a:moveTo>
                  <a:pt x="2296706" y="4047362"/>
                </a:moveTo>
                <a:cubicBezTo>
                  <a:pt x="2296706" y="4047058"/>
                  <a:pt x="2296479" y="4046829"/>
                  <a:pt x="2296174" y="4046829"/>
                </a:cubicBezTo>
                <a:cubicBezTo>
                  <a:pt x="2295869" y="4046829"/>
                  <a:pt x="2295641" y="4047058"/>
                  <a:pt x="2295641" y="4047362"/>
                </a:cubicBezTo>
                <a:cubicBezTo>
                  <a:pt x="2295641" y="4047666"/>
                  <a:pt x="2295869" y="4047895"/>
                  <a:pt x="2296174" y="4047895"/>
                </a:cubicBezTo>
                <a:cubicBezTo>
                  <a:pt x="2296479" y="4047895"/>
                  <a:pt x="2296706" y="4047666"/>
                  <a:pt x="2296706" y="4047362"/>
                </a:cubicBezTo>
                <a:moveTo>
                  <a:pt x="2132373" y="4047362"/>
                </a:moveTo>
                <a:cubicBezTo>
                  <a:pt x="2132373" y="4047058"/>
                  <a:pt x="2132145" y="4046829"/>
                  <a:pt x="2131841" y="4046829"/>
                </a:cubicBezTo>
                <a:cubicBezTo>
                  <a:pt x="2131536" y="4046829"/>
                  <a:pt x="2131308" y="4047058"/>
                  <a:pt x="2131308" y="4047362"/>
                </a:cubicBezTo>
                <a:cubicBezTo>
                  <a:pt x="2131308" y="4047666"/>
                  <a:pt x="2131536" y="4047895"/>
                  <a:pt x="2131841" y="4047895"/>
                </a:cubicBezTo>
                <a:cubicBezTo>
                  <a:pt x="2132145" y="4047895"/>
                  <a:pt x="2132373" y="4047666"/>
                  <a:pt x="2132373" y="4047362"/>
                </a:cubicBezTo>
                <a:moveTo>
                  <a:pt x="2510743" y="4454275"/>
                </a:moveTo>
                <a:cubicBezTo>
                  <a:pt x="2510743" y="4453970"/>
                  <a:pt x="2510515" y="4453742"/>
                  <a:pt x="2510211" y="4453742"/>
                </a:cubicBezTo>
                <a:cubicBezTo>
                  <a:pt x="2509906" y="4453742"/>
                  <a:pt x="2509678" y="4453970"/>
                  <a:pt x="2509678" y="4454275"/>
                </a:cubicBezTo>
                <a:cubicBezTo>
                  <a:pt x="2509678" y="4454580"/>
                  <a:pt x="2509906" y="4454808"/>
                  <a:pt x="2510211" y="4454808"/>
                </a:cubicBezTo>
                <a:cubicBezTo>
                  <a:pt x="2510515" y="4454808"/>
                  <a:pt x="2510743" y="4454580"/>
                  <a:pt x="2510743" y="4454275"/>
                </a:cubicBezTo>
                <a:moveTo>
                  <a:pt x="2583891" y="4302349"/>
                </a:moveTo>
                <a:cubicBezTo>
                  <a:pt x="2583891" y="4302044"/>
                  <a:pt x="2583662" y="4301816"/>
                  <a:pt x="2583357" y="4301816"/>
                </a:cubicBezTo>
                <a:cubicBezTo>
                  <a:pt x="2583053" y="4301816"/>
                  <a:pt x="2582825" y="4302044"/>
                  <a:pt x="2582825" y="4302349"/>
                </a:cubicBezTo>
                <a:cubicBezTo>
                  <a:pt x="2582825" y="4302653"/>
                  <a:pt x="2583053" y="4302882"/>
                  <a:pt x="2583357" y="4302882"/>
                </a:cubicBezTo>
                <a:cubicBezTo>
                  <a:pt x="2583662" y="4302882"/>
                  <a:pt x="2583891" y="4302653"/>
                  <a:pt x="2583891" y="4302349"/>
                </a:cubicBezTo>
                <a:moveTo>
                  <a:pt x="2584423" y="4133753"/>
                </a:moveTo>
                <a:cubicBezTo>
                  <a:pt x="2584423" y="4133144"/>
                  <a:pt x="2583966" y="4132687"/>
                  <a:pt x="2583357" y="4132687"/>
                </a:cubicBezTo>
                <a:cubicBezTo>
                  <a:pt x="2582749" y="4132687"/>
                  <a:pt x="2582292" y="4133144"/>
                  <a:pt x="2582292" y="4133753"/>
                </a:cubicBezTo>
                <a:cubicBezTo>
                  <a:pt x="2582292" y="4134362"/>
                  <a:pt x="2582749" y="4134818"/>
                  <a:pt x="2583357" y="4134818"/>
                </a:cubicBezTo>
                <a:cubicBezTo>
                  <a:pt x="2583966" y="4134818"/>
                  <a:pt x="2584423" y="4134286"/>
                  <a:pt x="2584423" y="4133753"/>
                </a:cubicBezTo>
                <a:moveTo>
                  <a:pt x="2511276" y="3981827"/>
                </a:moveTo>
                <a:cubicBezTo>
                  <a:pt x="2511276" y="3981218"/>
                  <a:pt x="2510819" y="3980761"/>
                  <a:pt x="2510211" y="3980761"/>
                </a:cubicBezTo>
                <a:cubicBezTo>
                  <a:pt x="2509602" y="3980761"/>
                  <a:pt x="2509145" y="3981218"/>
                  <a:pt x="2509145" y="3981827"/>
                </a:cubicBezTo>
                <a:cubicBezTo>
                  <a:pt x="2509145" y="3982435"/>
                  <a:pt x="2509602" y="3982892"/>
                  <a:pt x="2510211" y="3982892"/>
                </a:cubicBezTo>
                <a:cubicBezTo>
                  <a:pt x="2510819" y="3982892"/>
                  <a:pt x="2511276" y="3982435"/>
                  <a:pt x="2511276" y="3981827"/>
                </a:cubicBezTo>
                <a:moveTo>
                  <a:pt x="2379444" y="3876711"/>
                </a:moveTo>
                <a:cubicBezTo>
                  <a:pt x="2379444" y="3876102"/>
                  <a:pt x="2378988" y="3875645"/>
                  <a:pt x="2378379" y="3875645"/>
                </a:cubicBezTo>
                <a:cubicBezTo>
                  <a:pt x="2377770" y="3875645"/>
                  <a:pt x="2377313" y="3876102"/>
                  <a:pt x="2377313" y="3876711"/>
                </a:cubicBezTo>
                <a:cubicBezTo>
                  <a:pt x="2377313" y="3877320"/>
                  <a:pt x="2377770" y="3877777"/>
                  <a:pt x="2378379" y="3877777"/>
                </a:cubicBezTo>
                <a:cubicBezTo>
                  <a:pt x="2378988" y="3877777"/>
                  <a:pt x="2379444" y="3877320"/>
                  <a:pt x="2379444" y="3876711"/>
                </a:cubicBezTo>
                <a:moveTo>
                  <a:pt x="2215035" y="3839186"/>
                </a:moveTo>
                <a:cubicBezTo>
                  <a:pt x="2215035" y="3838577"/>
                  <a:pt x="2214579" y="3838121"/>
                  <a:pt x="2213969" y="3838121"/>
                </a:cubicBezTo>
                <a:cubicBezTo>
                  <a:pt x="2213360" y="3838121"/>
                  <a:pt x="2212903" y="3838577"/>
                  <a:pt x="2212903" y="3839186"/>
                </a:cubicBezTo>
                <a:cubicBezTo>
                  <a:pt x="2212903" y="3839795"/>
                  <a:pt x="2213360" y="3840252"/>
                  <a:pt x="2213969" y="3840252"/>
                </a:cubicBezTo>
                <a:cubicBezTo>
                  <a:pt x="2214579" y="3840252"/>
                  <a:pt x="2215035" y="3839795"/>
                  <a:pt x="2215035" y="3839186"/>
                </a:cubicBezTo>
                <a:moveTo>
                  <a:pt x="2050168" y="3876711"/>
                </a:moveTo>
                <a:cubicBezTo>
                  <a:pt x="2050168" y="3876407"/>
                  <a:pt x="2049941" y="3876178"/>
                  <a:pt x="2049636" y="3876178"/>
                </a:cubicBezTo>
                <a:cubicBezTo>
                  <a:pt x="2049331" y="3876178"/>
                  <a:pt x="2049104" y="3876407"/>
                  <a:pt x="2049104" y="3876711"/>
                </a:cubicBezTo>
                <a:cubicBezTo>
                  <a:pt x="2049104" y="3877015"/>
                  <a:pt x="2049331" y="3877244"/>
                  <a:pt x="2049636" y="3877244"/>
                </a:cubicBezTo>
                <a:cubicBezTo>
                  <a:pt x="2049941" y="3877244"/>
                  <a:pt x="2050168" y="3877015"/>
                  <a:pt x="2050168" y="3876711"/>
                </a:cubicBezTo>
                <a:moveTo>
                  <a:pt x="2658864" y="4572330"/>
                </a:moveTo>
                <a:cubicBezTo>
                  <a:pt x="2658864" y="4572026"/>
                  <a:pt x="2658636" y="4571797"/>
                  <a:pt x="2658331" y="4571797"/>
                </a:cubicBezTo>
                <a:cubicBezTo>
                  <a:pt x="2658027" y="4571797"/>
                  <a:pt x="2657798" y="4572026"/>
                  <a:pt x="2657798" y="4572330"/>
                </a:cubicBezTo>
                <a:cubicBezTo>
                  <a:pt x="2657798" y="4572635"/>
                  <a:pt x="2658027" y="4572863"/>
                  <a:pt x="2658331" y="4572863"/>
                </a:cubicBezTo>
                <a:cubicBezTo>
                  <a:pt x="2658636" y="4572863"/>
                  <a:pt x="2658864" y="4572635"/>
                  <a:pt x="2658864" y="4572330"/>
                </a:cubicBezTo>
                <a:moveTo>
                  <a:pt x="2743505" y="4425656"/>
                </a:moveTo>
                <a:cubicBezTo>
                  <a:pt x="2743505" y="4425351"/>
                  <a:pt x="2743276" y="4425123"/>
                  <a:pt x="2742971" y="4425123"/>
                </a:cubicBezTo>
                <a:cubicBezTo>
                  <a:pt x="2742667" y="4425123"/>
                  <a:pt x="2742439" y="4425351"/>
                  <a:pt x="2742439" y="4425656"/>
                </a:cubicBezTo>
                <a:cubicBezTo>
                  <a:pt x="2742439" y="4425960"/>
                  <a:pt x="2742667" y="4426189"/>
                  <a:pt x="2742971" y="4426189"/>
                </a:cubicBezTo>
                <a:cubicBezTo>
                  <a:pt x="2743276" y="4426189"/>
                  <a:pt x="2743505" y="4425960"/>
                  <a:pt x="2743505" y="4425656"/>
                </a:cubicBezTo>
                <a:moveTo>
                  <a:pt x="2781791" y="4260485"/>
                </a:moveTo>
                <a:cubicBezTo>
                  <a:pt x="2781791" y="4259876"/>
                  <a:pt x="2781334" y="4259419"/>
                  <a:pt x="2780725" y="4259419"/>
                </a:cubicBezTo>
                <a:cubicBezTo>
                  <a:pt x="2780116" y="4259419"/>
                  <a:pt x="2779659" y="4259876"/>
                  <a:pt x="2779659" y="4260485"/>
                </a:cubicBezTo>
                <a:cubicBezTo>
                  <a:pt x="2779659" y="4261094"/>
                  <a:pt x="2780116" y="4261551"/>
                  <a:pt x="2780725" y="4261551"/>
                </a:cubicBezTo>
                <a:cubicBezTo>
                  <a:pt x="2781334" y="4261551"/>
                  <a:pt x="2781791" y="4261094"/>
                  <a:pt x="2781791" y="4260485"/>
                </a:cubicBezTo>
                <a:moveTo>
                  <a:pt x="2769612" y="4091585"/>
                </a:moveTo>
                <a:cubicBezTo>
                  <a:pt x="2769612" y="4090748"/>
                  <a:pt x="2768927" y="4089986"/>
                  <a:pt x="2768013" y="4089986"/>
                </a:cubicBezTo>
                <a:cubicBezTo>
                  <a:pt x="2767176" y="4089986"/>
                  <a:pt x="2766415" y="4090672"/>
                  <a:pt x="2766415" y="4091585"/>
                </a:cubicBezTo>
                <a:cubicBezTo>
                  <a:pt x="2766415" y="4092422"/>
                  <a:pt x="2767100" y="4093183"/>
                  <a:pt x="2768013" y="4093183"/>
                </a:cubicBezTo>
                <a:cubicBezTo>
                  <a:pt x="2768927" y="4093183"/>
                  <a:pt x="2769612" y="4092422"/>
                  <a:pt x="2769612" y="4091585"/>
                </a:cubicBezTo>
                <a:moveTo>
                  <a:pt x="2707730" y="3933874"/>
                </a:moveTo>
                <a:cubicBezTo>
                  <a:pt x="2707730" y="3933036"/>
                  <a:pt x="2707045" y="3932275"/>
                  <a:pt x="2706132" y="3932275"/>
                </a:cubicBezTo>
                <a:cubicBezTo>
                  <a:pt x="2705294" y="3932275"/>
                  <a:pt x="2704533" y="3932960"/>
                  <a:pt x="2704533" y="3933874"/>
                </a:cubicBezTo>
                <a:cubicBezTo>
                  <a:pt x="2704533" y="3934711"/>
                  <a:pt x="2705218" y="3935472"/>
                  <a:pt x="2706132" y="3935472"/>
                </a:cubicBezTo>
                <a:cubicBezTo>
                  <a:pt x="2707045" y="3935472"/>
                  <a:pt x="2707730" y="3934787"/>
                  <a:pt x="2707730" y="3933874"/>
                </a:cubicBezTo>
                <a:moveTo>
                  <a:pt x="2602615" y="3801433"/>
                </a:moveTo>
                <a:cubicBezTo>
                  <a:pt x="2602615" y="3800291"/>
                  <a:pt x="2601701" y="3799302"/>
                  <a:pt x="2600483" y="3799302"/>
                </a:cubicBezTo>
                <a:cubicBezTo>
                  <a:pt x="2599341" y="3799302"/>
                  <a:pt x="2598352" y="3800215"/>
                  <a:pt x="2598352" y="3801433"/>
                </a:cubicBezTo>
                <a:cubicBezTo>
                  <a:pt x="2598352" y="3802575"/>
                  <a:pt x="2599265" y="3803564"/>
                  <a:pt x="2600483" y="3803564"/>
                </a:cubicBezTo>
                <a:cubicBezTo>
                  <a:pt x="2601701" y="3803564"/>
                  <a:pt x="2602615" y="3802651"/>
                  <a:pt x="2602615" y="3801433"/>
                </a:cubicBezTo>
                <a:moveTo>
                  <a:pt x="2462181" y="3706060"/>
                </a:moveTo>
                <a:cubicBezTo>
                  <a:pt x="2462181" y="3705223"/>
                  <a:pt x="2461497" y="3704462"/>
                  <a:pt x="2460583" y="3704462"/>
                </a:cubicBezTo>
                <a:cubicBezTo>
                  <a:pt x="2459746" y="3704462"/>
                  <a:pt x="2458985" y="3705147"/>
                  <a:pt x="2458985" y="3706060"/>
                </a:cubicBezTo>
                <a:cubicBezTo>
                  <a:pt x="2458985" y="3706974"/>
                  <a:pt x="2459670" y="3707659"/>
                  <a:pt x="2460583" y="3707659"/>
                </a:cubicBezTo>
                <a:cubicBezTo>
                  <a:pt x="2461420" y="3707582"/>
                  <a:pt x="2462181" y="3706897"/>
                  <a:pt x="2462181" y="3706060"/>
                </a:cubicBezTo>
                <a:moveTo>
                  <a:pt x="2300285" y="3656129"/>
                </a:moveTo>
                <a:cubicBezTo>
                  <a:pt x="2300285" y="3655291"/>
                  <a:pt x="2299599" y="3654530"/>
                  <a:pt x="2298685" y="3654530"/>
                </a:cubicBezTo>
                <a:cubicBezTo>
                  <a:pt x="2297848" y="3654530"/>
                  <a:pt x="2297087" y="3655215"/>
                  <a:pt x="2297087" y="3656129"/>
                </a:cubicBezTo>
                <a:cubicBezTo>
                  <a:pt x="2297087" y="3657042"/>
                  <a:pt x="2297772" y="3657727"/>
                  <a:pt x="2298685" y="3657727"/>
                </a:cubicBezTo>
                <a:cubicBezTo>
                  <a:pt x="2299599" y="3657727"/>
                  <a:pt x="2300285" y="3656966"/>
                  <a:pt x="2300285" y="3656129"/>
                </a:cubicBezTo>
                <a:moveTo>
                  <a:pt x="2130394" y="3656129"/>
                </a:moveTo>
                <a:cubicBezTo>
                  <a:pt x="2130394" y="3655520"/>
                  <a:pt x="2129938" y="3655063"/>
                  <a:pt x="2129329" y="3655063"/>
                </a:cubicBezTo>
                <a:cubicBezTo>
                  <a:pt x="2128720" y="3655063"/>
                  <a:pt x="2128263" y="3655520"/>
                  <a:pt x="2128263" y="3656129"/>
                </a:cubicBezTo>
                <a:cubicBezTo>
                  <a:pt x="2128263" y="3656737"/>
                  <a:pt x="2128720" y="3657194"/>
                  <a:pt x="2129329" y="3657194"/>
                </a:cubicBezTo>
                <a:cubicBezTo>
                  <a:pt x="2129938" y="3657194"/>
                  <a:pt x="2130394" y="3656661"/>
                  <a:pt x="2130394" y="3656129"/>
                </a:cubicBezTo>
                <a:moveTo>
                  <a:pt x="1967964" y="3706060"/>
                </a:moveTo>
                <a:cubicBezTo>
                  <a:pt x="1967964" y="3705756"/>
                  <a:pt x="1967736" y="3705527"/>
                  <a:pt x="1967431" y="3705527"/>
                </a:cubicBezTo>
                <a:cubicBezTo>
                  <a:pt x="1967127" y="3705527"/>
                  <a:pt x="1966899" y="3705756"/>
                  <a:pt x="1966899" y="3706060"/>
                </a:cubicBezTo>
                <a:cubicBezTo>
                  <a:pt x="1966899" y="3706365"/>
                  <a:pt x="1967127" y="3706593"/>
                  <a:pt x="1967431" y="3706593"/>
                </a:cubicBezTo>
                <a:cubicBezTo>
                  <a:pt x="1967736" y="3706593"/>
                  <a:pt x="1967964" y="3706365"/>
                  <a:pt x="1967964" y="3706060"/>
                </a:cubicBezTo>
                <a:moveTo>
                  <a:pt x="1827988" y="3801433"/>
                </a:moveTo>
                <a:cubicBezTo>
                  <a:pt x="1827988" y="3801128"/>
                  <a:pt x="1827759" y="3800900"/>
                  <a:pt x="1827455" y="3800900"/>
                </a:cubicBezTo>
                <a:cubicBezTo>
                  <a:pt x="1827151" y="3800900"/>
                  <a:pt x="1826922" y="3801128"/>
                  <a:pt x="1826922" y="3801433"/>
                </a:cubicBezTo>
                <a:cubicBezTo>
                  <a:pt x="1826922" y="3801737"/>
                  <a:pt x="1827151" y="3801966"/>
                  <a:pt x="1827455" y="3801966"/>
                </a:cubicBezTo>
                <a:cubicBezTo>
                  <a:pt x="1827759" y="3801966"/>
                  <a:pt x="1827988" y="3801737"/>
                  <a:pt x="1827988" y="3801433"/>
                </a:cubicBezTo>
                <a:moveTo>
                  <a:pt x="2806908" y="4690461"/>
                </a:moveTo>
                <a:cubicBezTo>
                  <a:pt x="2806908" y="4690157"/>
                  <a:pt x="2806680" y="4689928"/>
                  <a:pt x="2806376" y="4689928"/>
                </a:cubicBezTo>
                <a:cubicBezTo>
                  <a:pt x="2806071" y="4689928"/>
                  <a:pt x="2805843" y="4690157"/>
                  <a:pt x="2805843" y="4690461"/>
                </a:cubicBezTo>
                <a:cubicBezTo>
                  <a:pt x="2805843" y="4690766"/>
                  <a:pt x="2806071" y="4690994"/>
                  <a:pt x="2806376" y="4690994"/>
                </a:cubicBezTo>
                <a:cubicBezTo>
                  <a:pt x="2806680" y="4690994"/>
                  <a:pt x="2806908" y="4690766"/>
                  <a:pt x="2806908" y="4690461"/>
                </a:cubicBezTo>
                <a:moveTo>
                  <a:pt x="2897181" y="4546831"/>
                </a:moveTo>
                <a:cubicBezTo>
                  <a:pt x="2897181" y="4546527"/>
                  <a:pt x="2896953" y="4546299"/>
                  <a:pt x="2896649" y="4546299"/>
                </a:cubicBezTo>
                <a:cubicBezTo>
                  <a:pt x="2896344" y="4546299"/>
                  <a:pt x="2896115" y="4546527"/>
                  <a:pt x="2896115" y="4546831"/>
                </a:cubicBezTo>
                <a:cubicBezTo>
                  <a:pt x="2896115" y="4547136"/>
                  <a:pt x="2896344" y="4547364"/>
                  <a:pt x="2896649" y="4547364"/>
                </a:cubicBezTo>
                <a:cubicBezTo>
                  <a:pt x="2896953" y="4547364"/>
                  <a:pt x="2897181" y="4547060"/>
                  <a:pt x="2897181" y="4546831"/>
                </a:cubicBezTo>
                <a:moveTo>
                  <a:pt x="2953811" y="4386685"/>
                </a:moveTo>
                <a:cubicBezTo>
                  <a:pt x="2953811" y="4386076"/>
                  <a:pt x="2953354" y="4385619"/>
                  <a:pt x="2952746" y="4385619"/>
                </a:cubicBezTo>
                <a:cubicBezTo>
                  <a:pt x="2952136" y="4385619"/>
                  <a:pt x="2951680" y="4386076"/>
                  <a:pt x="2951680" y="4386685"/>
                </a:cubicBezTo>
                <a:cubicBezTo>
                  <a:pt x="2951680" y="4387293"/>
                  <a:pt x="2952136" y="4387750"/>
                  <a:pt x="2952746" y="4387750"/>
                </a:cubicBezTo>
                <a:cubicBezTo>
                  <a:pt x="2953354" y="4387750"/>
                  <a:pt x="2953811" y="4387218"/>
                  <a:pt x="2953811" y="4386685"/>
                </a:cubicBezTo>
                <a:moveTo>
                  <a:pt x="2973297" y="4218013"/>
                </a:moveTo>
                <a:cubicBezTo>
                  <a:pt x="2973297" y="4217175"/>
                  <a:pt x="2972612" y="4216415"/>
                  <a:pt x="2971698" y="4216415"/>
                </a:cubicBezTo>
                <a:cubicBezTo>
                  <a:pt x="2970861" y="4216415"/>
                  <a:pt x="2970100" y="4217099"/>
                  <a:pt x="2970100" y="4218013"/>
                </a:cubicBezTo>
                <a:cubicBezTo>
                  <a:pt x="2970100" y="4218926"/>
                  <a:pt x="2970785" y="4219611"/>
                  <a:pt x="2971698" y="4219611"/>
                </a:cubicBezTo>
                <a:cubicBezTo>
                  <a:pt x="2972612" y="4219611"/>
                  <a:pt x="2973297" y="4218926"/>
                  <a:pt x="2973297" y="4218013"/>
                </a:cubicBezTo>
                <a:moveTo>
                  <a:pt x="2954801" y="4049417"/>
                </a:moveTo>
                <a:cubicBezTo>
                  <a:pt x="2954801" y="4048275"/>
                  <a:pt x="2953888" y="4047286"/>
                  <a:pt x="2952670" y="4047286"/>
                </a:cubicBezTo>
                <a:cubicBezTo>
                  <a:pt x="2951528" y="4047286"/>
                  <a:pt x="2950538" y="4048199"/>
                  <a:pt x="2950538" y="4049417"/>
                </a:cubicBezTo>
                <a:cubicBezTo>
                  <a:pt x="2950538" y="4050559"/>
                  <a:pt x="2951451" y="4051548"/>
                  <a:pt x="2952670" y="4051548"/>
                </a:cubicBezTo>
                <a:cubicBezTo>
                  <a:pt x="2953888" y="4051548"/>
                  <a:pt x="2954801" y="4050635"/>
                  <a:pt x="2954801" y="4049417"/>
                </a:cubicBezTo>
                <a:moveTo>
                  <a:pt x="2899313" y="3889270"/>
                </a:moveTo>
                <a:cubicBezTo>
                  <a:pt x="2899313" y="3887824"/>
                  <a:pt x="2898171" y="3886682"/>
                  <a:pt x="2896725" y="3886682"/>
                </a:cubicBezTo>
                <a:cubicBezTo>
                  <a:pt x="2895278" y="3886682"/>
                  <a:pt x="2894061" y="3887824"/>
                  <a:pt x="2894061" y="3889270"/>
                </a:cubicBezTo>
                <a:cubicBezTo>
                  <a:pt x="2894061" y="3890716"/>
                  <a:pt x="2895278" y="3891858"/>
                  <a:pt x="2896725" y="3891858"/>
                </a:cubicBezTo>
                <a:cubicBezTo>
                  <a:pt x="2898171" y="3891934"/>
                  <a:pt x="2899313" y="3890716"/>
                  <a:pt x="2899313" y="3889270"/>
                </a:cubicBezTo>
                <a:moveTo>
                  <a:pt x="2809040" y="3745640"/>
                </a:moveTo>
                <a:cubicBezTo>
                  <a:pt x="2809040" y="3744194"/>
                  <a:pt x="2807898" y="3743052"/>
                  <a:pt x="2806452" y="3743052"/>
                </a:cubicBezTo>
                <a:cubicBezTo>
                  <a:pt x="2805005" y="3743052"/>
                  <a:pt x="2803787" y="3744194"/>
                  <a:pt x="2803787" y="3745640"/>
                </a:cubicBezTo>
                <a:cubicBezTo>
                  <a:pt x="2803787" y="3747086"/>
                  <a:pt x="2804929" y="3748228"/>
                  <a:pt x="2806452" y="3748228"/>
                </a:cubicBezTo>
                <a:cubicBezTo>
                  <a:pt x="2807898" y="3748228"/>
                  <a:pt x="2809040" y="3747086"/>
                  <a:pt x="2809040" y="3745640"/>
                </a:cubicBezTo>
                <a:moveTo>
                  <a:pt x="2689082" y="3625682"/>
                </a:moveTo>
                <a:cubicBezTo>
                  <a:pt x="2689082" y="3624236"/>
                  <a:pt x="2687940" y="3623095"/>
                  <a:pt x="2686494" y="3623095"/>
                </a:cubicBezTo>
                <a:cubicBezTo>
                  <a:pt x="2685047" y="3623095"/>
                  <a:pt x="2683829" y="3624236"/>
                  <a:pt x="2683829" y="3625682"/>
                </a:cubicBezTo>
                <a:cubicBezTo>
                  <a:pt x="2683829" y="3627129"/>
                  <a:pt x="2684971" y="3628347"/>
                  <a:pt x="2686494" y="3628347"/>
                </a:cubicBezTo>
                <a:cubicBezTo>
                  <a:pt x="2687864" y="3628270"/>
                  <a:pt x="2689082" y="3627129"/>
                  <a:pt x="2689082" y="3625682"/>
                </a:cubicBezTo>
                <a:moveTo>
                  <a:pt x="2545376" y="3535409"/>
                </a:moveTo>
                <a:cubicBezTo>
                  <a:pt x="2545376" y="3533963"/>
                  <a:pt x="2544234" y="3532822"/>
                  <a:pt x="2542788" y="3532822"/>
                </a:cubicBezTo>
                <a:cubicBezTo>
                  <a:pt x="2541342" y="3532822"/>
                  <a:pt x="2540124" y="3533963"/>
                  <a:pt x="2540124" y="3535409"/>
                </a:cubicBezTo>
                <a:cubicBezTo>
                  <a:pt x="2540124" y="3536856"/>
                  <a:pt x="2541342" y="3538074"/>
                  <a:pt x="2542788" y="3538074"/>
                </a:cubicBezTo>
                <a:cubicBezTo>
                  <a:pt x="2544234" y="3538074"/>
                  <a:pt x="2545376" y="3536856"/>
                  <a:pt x="2545376" y="3535409"/>
                </a:cubicBezTo>
                <a:moveTo>
                  <a:pt x="2384696" y="3479312"/>
                </a:moveTo>
                <a:cubicBezTo>
                  <a:pt x="2384696" y="3478171"/>
                  <a:pt x="2383783" y="3477181"/>
                  <a:pt x="2382565" y="3477181"/>
                </a:cubicBezTo>
                <a:cubicBezTo>
                  <a:pt x="2381423" y="3477181"/>
                  <a:pt x="2380433" y="3478095"/>
                  <a:pt x="2380433" y="3479312"/>
                </a:cubicBezTo>
                <a:cubicBezTo>
                  <a:pt x="2380433" y="3480454"/>
                  <a:pt x="2381347" y="3481444"/>
                  <a:pt x="2382565" y="3481444"/>
                </a:cubicBezTo>
                <a:cubicBezTo>
                  <a:pt x="2383783" y="3481444"/>
                  <a:pt x="2384696" y="3480454"/>
                  <a:pt x="2384696" y="3479312"/>
                </a:cubicBezTo>
                <a:moveTo>
                  <a:pt x="2215568" y="3460360"/>
                </a:moveTo>
                <a:cubicBezTo>
                  <a:pt x="2215568" y="3459522"/>
                  <a:pt x="2214882" y="3458761"/>
                  <a:pt x="2213969" y="3458761"/>
                </a:cubicBezTo>
                <a:cubicBezTo>
                  <a:pt x="2213056" y="3458761"/>
                  <a:pt x="2212371" y="3459446"/>
                  <a:pt x="2212371" y="3460360"/>
                </a:cubicBezTo>
                <a:cubicBezTo>
                  <a:pt x="2212371" y="3461273"/>
                  <a:pt x="2213056" y="3461958"/>
                  <a:pt x="2213969" y="3461958"/>
                </a:cubicBezTo>
                <a:cubicBezTo>
                  <a:pt x="2214882" y="3461958"/>
                  <a:pt x="2215568" y="3461197"/>
                  <a:pt x="2215568" y="3460360"/>
                </a:cubicBezTo>
                <a:moveTo>
                  <a:pt x="2046439" y="3479312"/>
                </a:moveTo>
                <a:cubicBezTo>
                  <a:pt x="2046439" y="3478704"/>
                  <a:pt x="2045983" y="3478247"/>
                  <a:pt x="2045374" y="3478247"/>
                </a:cubicBezTo>
                <a:cubicBezTo>
                  <a:pt x="2044764" y="3478247"/>
                  <a:pt x="2044308" y="3478704"/>
                  <a:pt x="2044308" y="3479312"/>
                </a:cubicBezTo>
                <a:cubicBezTo>
                  <a:pt x="2044308" y="3479921"/>
                  <a:pt x="2044764" y="3480378"/>
                  <a:pt x="2045374" y="3480378"/>
                </a:cubicBezTo>
                <a:cubicBezTo>
                  <a:pt x="2045983" y="3480378"/>
                  <a:pt x="2046439" y="3479921"/>
                  <a:pt x="2046439" y="3479312"/>
                </a:cubicBezTo>
                <a:moveTo>
                  <a:pt x="1885760" y="3535409"/>
                </a:moveTo>
                <a:cubicBezTo>
                  <a:pt x="1885760" y="3535105"/>
                  <a:pt x="1885531" y="3534877"/>
                  <a:pt x="1885227" y="3534877"/>
                </a:cubicBezTo>
                <a:cubicBezTo>
                  <a:pt x="1884922" y="3534877"/>
                  <a:pt x="1884694" y="3535105"/>
                  <a:pt x="1884694" y="3535409"/>
                </a:cubicBezTo>
                <a:cubicBezTo>
                  <a:pt x="1884694" y="3535714"/>
                  <a:pt x="1884922" y="3535942"/>
                  <a:pt x="1885227" y="3535942"/>
                </a:cubicBezTo>
                <a:cubicBezTo>
                  <a:pt x="1885531" y="3535866"/>
                  <a:pt x="1885760" y="3535638"/>
                  <a:pt x="1885760" y="3535409"/>
                </a:cubicBezTo>
                <a:moveTo>
                  <a:pt x="1742129" y="3625682"/>
                </a:moveTo>
                <a:cubicBezTo>
                  <a:pt x="1742129" y="3625378"/>
                  <a:pt x="1741901" y="3625150"/>
                  <a:pt x="1741597" y="3625150"/>
                </a:cubicBezTo>
                <a:cubicBezTo>
                  <a:pt x="1741292" y="3625150"/>
                  <a:pt x="1741064" y="3625378"/>
                  <a:pt x="1741064" y="3625682"/>
                </a:cubicBezTo>
                <a:cubicBezTo>
                  <a:pt x="1741064" y="3625987"/>
                  <a:pt x="1741292" y="3626215"/>
                  <a:pt x="1741597" y="3626215"/>
                </a:cubicBezTo>
                <a:cubicBezTo>
                  <a:pt x="1741901" y="3626215"/>
                  <a:pt x="1742129" y="3625911"/>
                  <a:pt x="1742129" y="3625682"/>
                </a:cubicBezTo>
                <a:moveTo>
                  <a:pt x="2955029" y="4808592"/>
                </a:moveTo>
                <a:cubicBezTo>
                  <a:pt x="2955029" y="4808288"/>
                  <a:pt x="2954801" y="4808060"/>
                  <a:pt x="2954496" y="4808060"/>
                </a:cubicBezTo>
                <a:cubicBezTo>
                  <a:pt x="2954191" y="4808060"/>
                  <a:pt x="2953964" y="4808288"/>
                  <a:pt x="2953964" y="4808592"/>
                </a:cubicBezTo>
                <a:cubicBezTo>
                  <a:pt x="2953964" y="4808897"/>
                  <a:pt x="2954191" y="4809125"/>
                  <a:pt x="2954496" y="4809125"/>
                </a:cubicBezTo>
                <a:cubicBezTo>
                  <a:pt x="2954801" y="4809125"/>
                  <a:pt x="2955029" y="4808897"/>
                  <a:pt x="2955029" y="4808592"/>
                </a:cubicBezTo>
                <a:moveTo>
                  <a:pt x="3049108" y="4666866"/>
                </a:moveTo>
                <a:cubicBezTo>
                  <a:pt x="3049108" y="4666257"/>
                  <a:pt x="3048651" y="4665800"/>
                  <a:pt x="3048042" y="4665800"/>
                </a:cubicBezTo>
                <a:cubicBezTo>
                  <a:pt x="3047433" y="4665800"/>
                  <a:pt x="3046977" y="4666257"/>
                  <a:pt x="3046977" y="4666866"/>
                </a:cubicBezTo>
                <a:cubicBezTo>
                  <a:pt x="3046977" y="4667474"/>
                  <a:pt x="3047433" y="4667931"/>
                  <a:pt x="3048042" y="4667931"/>
                </a:cubicBezTo>
                <a:cubicBezTo>
                  <a:pt x="3048651" y="4667931"/>
                  <a:pt x="3049108" y="4667474"/>
                  <a:pt x="3049108" y="4666866"/>
                </a:cubicBezTo>
                <a:moveTo>
                  <a:pt x="3115861" y="4510753"/>
                </a:moveTo>
                <a:cubicBezTo>
                  <a:pt x="3115861" y="4510144"/>
                  <a:pt x="3115404" y="4509687"/>
                  <a:pt x="3114796" y="4509687"/>
                </a:cubicBezTo>
                <a:cubicBezTo>
                  <a:pt x="3114186" y="4509687"/>
                  <a:pt x="3113730" y="4510144"/>
                  <a:pt x="3113730" y="4510753"/>
                </a:cubicBezTo>
                <a:cubicBezTo>
                  <a:pt x="3113730" y="4511362"/>
                  <a:pt x="3114186" y="4511818"/>
                  <a:pt x="3114796" y="4511818"/>
                </a:cubicBezTo>
                <a:cubicBezTo>
                  <a:pt x="3115404" y="4511818"/>
                  <a:pt x="3115861" y="4511286"/>
                  <a:pt x="3115861" y="4510753"/>
                </a:cubicBezTo>
                <a:moveTo>
                  <a:pt x="3154680" y="4345202"/>
                </a:moveTo>
                <a:cubicBezTo>
                  <a:pt x="3154680" y="4344060"/>
                  <a:pt x="3153767" y="4343070"/>
                  <a:pt x="3152549" y="4343070"/>
                </a:cubicBezTo>
                <a:cubicBezTo>
                  <a:pt x="3151407" y="4343070"/>
                  <a:pt x="3150417" y="4343984"/>
                  <a:pt x="3150417" y="4345202"/>
                </a:cubicBezTo>
                <a:cubicBezTo>
                  <a:pt x="3150417" y="4346344"/>
                  <a:pt x="3151331" y="4347333"/>
                  <a:pt x="3152549" y="4347333"/>
                </a:cubicBezTo>
                <a:cubicBezTo>
                  <a:pt x="3153767" y="4347257"/>
                  <a:pt x="3154680" y="4346344"/>
                  <a:pt x="3154680" y="4345202"/>
                </a:cubicBezTo>
                <a:moveTo>
                  <a:pt x="3162824" y="4175540"/>
                </a:moveTo>
                <a:cubicBezTo>
                  <a:pt x="3162824" y="4174094"/>
                  <a:pt x="3161606" y="4172876"/>
                  <a:pt x="3160160" y="4172876"/>
                </a:cubicBezTo>
                <a:cubicBezTo>
                  <a:pt x="3158714" y="4172876"/>
                  <a:pt x="3157573" y="4174094"/>
                  <a:pt x="3157573" y="4175540"/>
                </a:cubicBezTo>
                <a:cubicBezTo>
                  <a:pt x="3157573" y="4176987"/>
                  <a:pt x="3158714" y="4178128"/>
                  <a:pt x="3160160" y="4178128"/>
                </a:cubicBezTo>
                <a:cubicBezTo>
                  <a:pt x="3161606" y="4178204"/>
                  <a:pt x="3162824" y="4176987"/>
                  <a:pt x="3162824" y="4175540"/>
                </a:cubicBezTo>
                <a:moveTo>
                  <a:pt x="3140522" y="4007325"/>
                </a:moveTo>
                <a:cubicBezTo>
                  <a:pt x="3140522" y="4005575"/>
                  <a:pt x="3139076" y="4004205"/>
                  <a:pt x="3137402" y="4004205"/>
                </a:cubicBezTo>
                <a:cubicBezTo>
                  <a:pt x="3135651" y="4004205"/>
                  <a:pt x="3134281" y="4005575"/>
                  <a:pt x="3134281" y="4007325"/>
                </a:cubicBezTo>
                <a:cubicBezTo>
                  <a:pt x="3134281" y="4009076"/>
                  <a:pt x="3135728" y="4010446"/>
                  <a:pt x="3137402" y="4010446"/>
                </a:cubicBezTo>
                <a:cubicBezTo>
                  <a:pt x="3139152" y="4010446"/>
                  <a:pt x="3140522" y="4009000"/>
                  <a:pt x="3140522" y="4007325"/>
                </a:cubicBezTo>
                <a:moveTo>
                  <a:pt x="3088612" y="3845808"/>
                </a:moveTo>
                <a:cubicBezTo>
                  <a:pt x="3088612" y="3843753"/>
                  <a:pt x="3086937" y="3842155"/>
                  <a:pt x="3084958" y="3842155"/>
                </a:cubicBezTo>
                <a:cubicBezTo>
                  <a:pt x="3082903" y="3842155"/>
                  <a:pt x="3081305" y="3843829"/>
                  <a:pt x="3081305" y="3845808"/>
                </a:cubicBezTo>
                <a:cubicBezTo>
                  <a:pt x="3081305" y="3847863"/>
                  <a:pt x="3082979" y="3849462"/>
                  <a:pt x="3084958" y="3849462"/>
                </a:cubicBezTo>
                <a:cubicBezTo>
                  <a:pt x="3086937" y="3849462"/>
                  <a:pt x="3088612" y="3847863"/>
                  <a:pt x="3088612" y="3845808"/>
                </a:cubicBezTo>
                <a:moveTo>
                  <a:pt x="3008158" y="3696241"/>
                </a:moveTo>
                <a:cubicBezTo>
                  <a:pt x="3008158" y="3694186"/>
                  <a:pt x="3006483" y="3692588"/>
                  <a:pt x="3004504" y="3692588"/>
                </a:cubicBezTo>
                <a:cubicBezTo>
                  <a:pt x="3002449" y="3692588"/>
                  <a:pt x="3000850" y="3694262"/>
                  <a:pt x="3000850" y="3696241"/>
                </a:cubicBezTo>
                <a:cubicBezTo>
                  <a:pt x="3000850" y="3698220"/>
                  <a:pt x="3002526" y="3699895"/>
                  <a:pt x="3004504" y="3699895"/>
                </a:cubicBezTo>
                <a:cubicBezTo>
                  <a:pt x="3006483" y="3699971"/>
                  <a:pt x="3008158" y="3698297"/>
                  <a:pt x="3008158" y="3696241"/>
                </a:cubicBezTo>
                <a:moveTo>
                  <a:pt x="2902814" y="3563496"/>
                </a:moveTo>
                <a:cubicBezTo>
                  <a:pt x="2902814" y="3561136"/>
                  <a:pt x="2900911" y="3559310"/>
                  <a:pt x="2898628" y="3559310"/>
                </a:cubicBezTo>
                <a:cubicBezTo>
                  <a:pt x="2896268" y="3559310"/>
                  <a:pt x="2894441" y="3561213"/>
                  <a:pt x="2894441" y="3563496"/>
                </a:cubicBezTo>
                <a:cubicBezTo>
                  <a:pt x="2894441" y="3565780"/>
                  <a:pt x="2896344" y="3567683"/>
                  <a:pt x="2898628" y="3567683"/>
                </a:cubicBezTo>
                <a:cubicBezTo>
                  <a:pt x="2900911" y="3567683"/>
                  <a:pt x="2902814" y="3565856"/>
                  <a:pt x="2902814" y="3563496"/>
                </a:cubicBezTo>
                <a:moveTo>
                  <a:pt x="2774940" y="3451759"/>
                </a:moveTo>
                <a:cubicBezTo>
                  <a:pt x="2774940" y="3449475"/>
                  <a:pt x="2773037" y="3447572"/>
                  <a:pt x="2770754" y="3447572"/>
                </a:cubicBezTo>
                <a:cubicBezTo>
                  <a:pt x="2768471" y="3447572"/>
                  <a:pt x="2766568" y="3449475"/>
                  <a:pt x="2766568" y="3451759"/>
                </a:cubicBezTo>
                <a:cubicBezTo>
                  <a:pt x="2766568" y="3454042"/>
                  <a:pt x="2768471" y="3455945"/>
                  <a:pt x="2770754" y="3455945"/>
                </a:cubicBezTo>
                <a:cubicBezTo>
                  <a:pt x="2773037" y="3456021"/>
                  <a:pt x="2774940" y="3454118"/>
                  <a:pt x="2774940" y="3451759"/>
                </a:cubicBezTo>
                <a:moveTo>
                  <a:pt x="2628646" y="3364683"/>
                </a:moveTo>
                <a:cubicBezTo>
                  <a:pt x="2628646" y="3362628"/>
                  <a:pt x="2626971" y="3361029"/>
                  <a:pt x="2624992" y="3361029"/>
                </a:cubicBezTo>
                <a:cubicBezTo>
                  <a:pt x="2622937" y="3361029"/>
                  <a:pt x="2621339" y="3362703"/>
                  <a:pt x="2621339" y="3364683"/>
                </a:cubicBezTo>
                <a:cubicBezTo>
                  <a:pt x="2621339" y="3366738"/>
                  <a:pt x="2623013" y="3368336"/>
                  <a:pt x="2624992" y="3368336"/>
                </a:cubicBezTo>
                <a:cubicBezTo>
                  <a:pt x="2626971" y="3368412"/>
                  <a:pt x="2628646" y="3366738"/>
                  <a:pt x="2628646" y="3364683"/>
                </a:cubicBezTo>
                <a:moveTo>
                  <a:pt x="2469108" y="3305008"/>
                </a:moveTo>
                <a:cubicBezTo>
                  <a:pt x="2469108" y="3303257"/>
                  <a:pt x="2467738" y="3301887"/>
                  <a:pt x="2465987" y="3301887"/>
                </a:cubicBezTo>
                <a:cubicBezTo>
                  <a:pt x="2464237" y="3301887"/>
                  <a:pt x="2462791" y="3303334"/>
                  <a:pt x="2462791" y="3305008"/>
                </a:cubicBezTo>
                <a:cubicBezTo>
                  <a:pt x="2462791" y="3306759"/>
                  <a:pt x="2464237" y="3308129"/>
                  <a:pt x="2465987" y="3308129"/>
                </a:cubicBezTo>
                <a:cubicBezTo>
                  <a:pt x="2467738" y="3308205"/>
                  <a:pt x="2469108" y="3306759"/>
                  <a:pt x="2469108" y="3305008"/>
                </a:cubicBezTo>
                <a:moveTo>
                  <a:pt x="2301578" y="3274714"/>
                </a:moveTo>
                <a:cubicBezTo>
                  <a:pt x="2301578" y="3273268"/>
                  <a:pt x="2300361" y="3272050"/>
                  <a:pt x="2298914" y="3272050"/>
                </a:cubicBezTo>
                <a:cubicBezTo>
                  <a:pt x="2297468" y="3272050"/>
                  <a:pt x="2296326" y="3273192"/>
                  <a:pt x="2296326" y="3274714"/>
                </a:cubicBezTo>
                <a:cubicBezTo>
                  <a:pt x="2296326" y="3276160"/>
                  <a:pt x="2297468" y="3277302"/>
                  <a:pt x="2298914" y="3277302"/>
                </a:cubicBezTo>
                <a:cubicBezTo>
                  <a:pt x="2300361" y="3277378"/>
                  <a:pt x="2301578" y="3276160"/>
                  <a:pt x="2301578" y="3274714"/>
                </a:cubicBezTo>
                <a:moveTo>
                  <a:pt x="2131232" y="3274714"/>
                </a:moveTo>
                <a:cubicBezTo>
                  <a:pt x="2131232" y="3273572"/>
                  <a:pt x="2130318" y="3272583"/>
                  <a:pt x="2129101" y="3272583"/>
                </a:cubicBezTo>
                <a:cubicBezTo>
                  <a:pt x="2127883" y="3272583"/>
                  <a:pt x="2126970" y="3273496"/>
                  <a:pt x="2126970" y="3274714"/>
                </a:cubicBezTo>
                <a:cubicBezTo>
                  <a:pt x="2126970" y="3275932"/>
                  <a:pt x="2127883" y="3276845"/>
                  <a:pt x="2129101" y="3276845"/>
                </a:cubicBezTo>
                <a:cubicBezTo>
                  <a:pt x="2130318" y="3276845"/>
                  <a:pt x="2131232" y="3275856"/>
                  <a:pt x="2131232" y="3274714"/>
                </a:cubicBezTo>
                <a:moveTo>
                  <a:pt x="1963626" y="3305008"/>
                </a:moveTo>
                <a:cubicBezTo>
                  <a:pt x="1963626" y="3304171"/>
                  <a:pt x="1962940" y="3303410"/>
                  <a:pt x="1962027" y="3303410"/>
                </a:cubicBezTo>
                <a:cubicBezTo>
                  <a:pt x="1961190" y="3303410"/>
                  <a:pt x="1960429" y="3304095"/>
                  <a:pt x="1960429" y="3305008"/>
                </a:cubicBezTo>
                <a:cubicBezTo>
                  <a:pt x="1960429" y="3305845"/>
                  <a:pt x="1961114" y="3306606"/>
                  <a:pt x="1962027" y="3306606"/>
                </a:cubicBezTo>
                <a:cubicBezTo>
                  <a:pt x="1962940" y="3306606"/>
                  <a:pt x="1963626" y="3305921"/>
                  <a:pt x="1963626" y="3305008"/>
                </a:cubicBezTo>
                <a:moveTo>
                  <a:pt x="1804088" y="3364683"/>
                </a:moveTo>
                <a:cubicBezTo>
                  <a:pt x="1804088" y="3364074"/>
                  <a:pt x="1803631" y="3363617"/>
                  <a:pt x="1803022" y="3363617"/>
                </a:cubicBezTo>
                <a:cubicBezTo>
                  <a:pt x="1802413" y="3363617"/>
                  <a:pt x="1801957" y="3364074"/>
                  <a:pt x="1801957" y="3364683"/>
                </a:cubicBezTo>
                <a:cubicBezTo>
                  <a:pt x="1801957" y="3365292"/>
                  <a:pt x="1802413" y="3365748"/>
                  <a:pt x="1803022" y="3365748"/>
                </a:cubicBezTo>
                <a:cubicBezTo>
                  <a:pt x="1803631" y="3365748"/>
                  <a:pt x="1804088" y="3365292"/>
                  <a:pt x="1804088" y="3364683"/>
                </a:cubicBezTo>
                <a:moveTo>
                  <a:pt x="1657794" y="3451759"/>
                </a:moveTo>
                <a:cubicBezTo>
                  <a:pt x="1657794" y="3451454"/>
                  <a:pt x="1657565" y="3451226"/>
                  <a:pt x="1657261" y="3451226"/>
                </a:cubicBezTo>
                <a:cubicBezTo>
                  <a:pt x="1656957" y="3451226"/>
                  <a:pt x="1656728" y="3451454"/>
                  <a:pt x="1656728" y="3451759"/>
                </a:cubicBezTo>
                <a:cubicBezTo>
                  <a:pt x="1656728" y="3452063"/>
                  <a:pt x="1656957" y="3452292"/>
                  <a:pt x="1657261" y="3452292"/>
                </a:cubicBezTo>
                <a:cubicBezTo>
                  <a:pt x="1657565" y="3452292"/>
                  <a:pt x="1657794" y="3452063"/>
                  <a:pt x="1657794" y="3451759"/>
                </a:cubicBezTo>
                <a:moveTo>
                  <a:pt x="3103150" y="4926648"/>
                </a:moveTo>
                <a:cubicBezTo>
                  <a:pt x="3103150" y="4926343"/>
                  <a:pt x="3102921" y="4926115"/>
                  <a:pt x="3102617" y="4926115"/>
                </a:cubicBezTo>
                <a:cubicBezTo>
                  <a:pt x="3102313" y="4926115"/>
                  <a:pt x="3102084" y="4926343"/>
                  <a:pt x="3102084" y="4926648"/>
                </a:cubicBezTo>
                <a:cubicBezTo>
                  <a:pt x="3102084" y="4926952"/>
                  <a:pt x="3102313" y="4927180"/>
                  <a:pt x="3102617" y="4927180"/>
                </a:cubicBezTo>
                <a:cubicBezTo>
                  <a:pt x="3102921" y="4927180"/>
                  <a:pt x="3103150" y="4926952"/>
                  <a:pt x="3103150" y="4926648"/>
                </a:cubicBezTo>
                <a:moveTo>
                  <a:pt x="3199360" y="4786291"/>
                </a:moveTo>
                <a:cubicBezTo>
                  <a:pt x="3199360" y="4785682"/>
                  <a:pt x="3198903" y="4785225"/>
                  <a:pt x="3198294" y="4785225"/>
                </a:cubicBezTo>
                <a:cubicBezTo>
                  <a:pt x="3197685" y="4785225"/>
                  <a:pt x="3197228" y="4785682"/>
                  <a:pt x="3197228" y="4786291"/>
                </a:cubicBezTo>
                <a:cubicBezTo>
                  <a:pt x="3197228" y="4786899"/>
                  <a:pt x="3197685" y="4787356"/>
                  <a:pt x="3198294" y="4787356"/>
                </a:cubicBezTo>
                <a:cubicBezTo>
                  <a:pt x="3198903" y="4787356"/>
                  <a:pt x="3199360" y="4786899"/>
                  <a:pt x="3199360" y="4786291"/>
                </a:cubicBezTo>
                <a:moveTo>
                  <a:pt x="3273572" y="4633298"/>
                </a:moveTo>
                <a:cubicBezTo>
                  <a:pt x="3273572" y="4632461"/>
                  <a:pt x="3272887" y="4631700"/>
                  <a:pt x="3271973" y="4631700"/>
                </a:cubicBezTo>
                <a:cubicBezTo>
                  <a:pt x="3271060" y="4631700"/>
                  <a:pt x="3270375" y="4632385"/>
                  <a:pt x="3270375" y="4633298"/>
                </a:cubicBezTo>
                <a:cubicBezTo>
                  <a:pt x="3270375" y="4634136"/>
                  <a:pt x="3271060" y="4634897"/>
                  <a:pt x="3271973" y="4634897"/>
                </a:cubicBezTo>
                <a:cubicBezTo>
                  <a:pt x="3272887" y="4634897"/>
                  <a:pt x="3273572" y="4634136"/>
                  <a:pt x="3273572" y="4633298"/>
                </a:cubicBezTo>
                <a:moveTo>
                  <a:pt x="3324188" y="4470945"/>
                </a:moveTo>
                <a:cubicBezTo>
                  <a:pt x="3324188" y="4469803"/>
                  <a:pt x="3323275" y="4468813"/>
                  <a:pt x="3322058" y="4468813"/>
                </a:cubicBezTo>
                <a:cubicBezTo>
                  <a:pt x="3320916" y="4468813"/>
                  <a:pt x="3319926" y="4469726"/>
                  <a:pt x="3319926" y="4470945"/>
                </a:cubicBezTo>
                <a:cubicBezTo>
                  <a:pt x="3319926" y="4472086"/>
                  <a:pt x="3320840" y="4473076"/>
                  <a:pt x="3322058" y="4473076"/>
                </a:cubicBezTo>
                <a:cubicBezTo>
                  <a:pt x="3323199" y="4473076"/>
                  <a:pt x="3324188" y="4472086"/>
                  <a:pt x="3324188" y="4470945"/>
                </a:cubicBezTo>
                <a:moveTo>
                  <a:pt x="3349992" y="4302958"/>
                </a:moveTo>
                <a:cubicBezTo>
                  <a:pt x="3349992" y="4301512"/>
                  <a:pt x="3348851" y="4300370"/>
                  <a:pt x="3347404" y="4300370"/>
                </a:cubicBezTo>
                <a:cubicBezTo>
                  <a:pt x="3345958" y="4300370"/>
                  <a:pt x="3344816" y="4301512"/>
                  <a:pt x="3344816" y="4302958"/>
                </a:cubicBezTo>
                <a:cubicBezTo>
                  <a:pt x="3344816" y="4304404"/>
                  <a:pt x="3345958" y="4305622"/>
                  <a:pt x="3347404" y="4305622"/>
                </a:cubicBezTo>
                <a:cubicBezTo>
                  <a:pt x="3348851" y="4305622"/>
                  <a:pt x="3349992" y="4304404"/>
                  <a:pt x="3349992" y="4302958"/>
                </a:cubicBezTo>
                <a:moveTo>
                  <a:pt x="3351057" y="4133144"/>
                </a:moveTo>
                <a:cubicBezTo>
                  <a:pt x="3351057" y="4131089"/>
                  <a:pt x="3349383" y="4129490"/>
                  <a:pt x="3347404" y="4129490"/>
                </a:cubicBezTo>
                <a:cubicBezTo>
                  <a:pt x="3345349" y="4129490"/>
                  <a:pt x="3343751" y="4131165"/>
                  <a:pt x="3343751" y="4133144"/>
                </a:cubicBezTo>
                <a:cubicBezTo>
                  <a:pt x="3343751" y="4135199"/>
                  <a:pt x="3345425" y="4136797"/>
                  <a:pt x="3347404" y="4136797"/>
                </a:cubicBezTo>
                <a:cubicBezTo>
                  <a:pt x="3349459" y="4136797"/>
                  <a:pt x="3351057" y="4135123"/>
                  <a:pt x="3351057" y="4133144"/>
                </a:cubicBezTo>
                <a:moveTo>
                  <a:pt x="3326320" y="3965157"/>
                </a:moveTo>
                <a:cubicBezTo>
                  <a:pt x="3326320" y="3962874"/>
                  <a:pt x="3324417" y="3960971"/>
                  <a:pt x="3322134" y="3960971"/>
                </a:cubicBezTo>
                <a:cubicBezTo>
                  <a:pt x="3319850" y="3960971"/>
                  <a:pt x="3317947" y="3962874"/>
                  <a:pt x="3317947" y="3965157"/>
                </a:cubicBezTo>
                <a:cubicBezTo>
                  <a:pt x="3317947" y="3967517"/>
                  <a:pt x="3319850" y="3969344"/>
                  <a:pt x="3322134" y="3969344"/>
                </a:cubicBezTo>
                <a:cubicBezTo>
                  <a:pt x="3324417" y="3969344"/>
                  <a:pt x="3326320" y="3967441"/>
                  <a:pt x="3326320" y="3965157"/>
                </a:cubicBezTo>
                <a:moveTo>
                  <a:pt x="3276769" y="3802803"/>
                </a:moveTo>
                <a:cubicBezTo>
                  <a:pt x="3276769" y="3800215"/>
                  <a:pt x="3274638" y="3798084"/>
                  <a:pt x="3272050" y="3798084"/>
                </a:cubicBezTo>
                <a:cubicBezTo>
                  <a:pt x="3269462" y="3798084"/>
                  <a:pt x="3267330" y="3800215"/>
                  <a:pt x="3267330" y="3802803"/>
                </a:cubicBezTo>
                <a:cubicBezTo>
                  <a:pt x="3267330" y="3805391"/>
                  <a:pt x="3269462" y="3807522"/>
                  <a:pt x="3272050" y="3807522"/>
                </a:cubicBezTo>
                <a:cubicBezTo>
                  <a:pt x="3274638" y="3807522"/>
                  <a:pt x="3276769" y="3805391"/>
                  <a:pt x="3276769" y="3802803"/>
                </a:cubicBezTo>
                <a:moveTo>
                  <a:pt x="3203546" y="3649735"/>
                </a:moveTo>
                <a:cubicBezTo>
                  <a:pt x="3203546" y="3646843"/>
                  <a:pt x="3201187" y="3644483"/>
                  <a:pt x="3198294" y="3644483"/>
                </a:cubicBezTo>
                <a:cubicBezTo>
                  <a:pt x="3195402" y="3644483"/>
                  <a:pt x="3193042" y="3646843"/>
                  <a:pt x="3193042" y="3649735"/>
                </a:cubicBezTo>
                <a:cubicBezTo>
                  <a:pt x="3193042" y="3652627"/>
                  <a:pt x="3195402" y="3654987"/>
                  <a:pt x="3198294" y="3654987"/>
                </a:cubicBezTo>
                <a:cubicBezTo>
                  <a:pt x="3201187" y="3654987"/>
                  <a:pt x="3203546" y="3652627"/>
                  <a:pt x="3203546" y="3649735"/>
                </a:cubicBezTo>
                <a:moveTo>
                  <a:pt x="3107869" y="3509378"/>
                </a:moveTo>
                <a:cubicBezTo>
                  <a:pt x="3107869" y="3506486"/>
                  <a:pt x="3105509" y="3504126"/>
                  <a:pt x="3102617" y="3504126"/>
                </a:cubicBezTo>
                <a:cubicBezTo>
                  <a:pt x="3099724" y="3504126"/>
                  <a:pt x="3097365" y="3506486"/>
                  <a:pt x="3097365" y="3509378"/>
                </a:cubicBezTo>
                <a:cubicBezTo>
                  <a:pt x="3097365" y="3512270"/>
                  <a:pt x="3099724" y="3514630"/>
                  <a:pt x="3102617" y="3514630"/>
                </a:cubicBezTo>
                <a:cubicBezTo>
                  <a:pt x="3105509" y="3514630"/>
                  <a:pt x="3107869" y="3512270"/>
                  <a:pt x="3107869" y="3509378"/>
                </a:cubicBezTo>
                <a:moveTo>
                  <a:pt x="2992325" y="3384853"/>
                </a:moveTo>
                <a:cubicBezTo>
                  <a:pt x="2992325" y="3381961"/>
                  <a:pt x="2989966" y="3379601"/>
                  <a:pt x="2987074" y="3379601"/>
                </a:cubicBezTo>
                <a:cubicBezTo>
                  <a:pt x="2984181" y="3379601"/>
                  <a:pt x="2981821" y="3381961"/>
                  <a:pt x="2981821" y="3384853"/>
                </a:cubicBezTo>
                <a:cubicBezTo>
                  <a:pt x="2981821" y="3387746"/>
                  <a:pt x="2984181" y="3390105"/>
                  <a:pt x="2987074" y="3390105"/>
                </a:cubicBezTo>
                <a:cubicBezTo>
                  <a:pt x="2989966" y="3390105"/>
                  <a:pt x="2992325" y="3387746"/>
                  <a:pt x="2992325" y="3384853"/>
                </a:cubicBezTo>
                <a:moveTo>
                  <a:pt x="2859504" y="3278977"/>
                </a:moveTo>
                <a:cubicBezTo>
                  <a:pt x="2859504" y="3276084"/>
                  <a:pt x="2857144" y="3273725"/>
                  <a:pt x="2854252" y="3273725"/>
                </a:cubicBezTo>
                <a:cubicBezTo>
                  <a:pt x="2851359" y="3273725"/>
                  <a:pt x="2849000" y="3276084"/>
                  <a:pt x="2849000" y="3278977"/>
                </a:cubicBezTo>
                <a:cubicBezTo>
                  <a:pt x="2849000" y="3281869"/>
                  <a:pt x="2851359" y="3284229"/>
                  <a:pt x="2854252" y="3284229"/>
                </a:cubicBezTo>
                <a:cubicBezTo>
                  <a:pt x="2857144" y="3284229"/>
                  <a:pt x="2859504" y="3281869"/>
                  <a:pt x="2859504" y="3278977"/>
                </a:cubicBezTo>
                <a:moveTo>
                  <a:pt x="2711840" y="3194032"/>
                </a:moveTo>
                <a:cubicBezTo>
                  <a:pt x="2711840" y="3191444"/>
                  <a:pt x="2709709" y="3189313"/>
                  <a:pt x="2707121" y="3189313"/>
                </a:cubicBezTo>
                <a:cubicBezTo>
                  <a:pt x="2704533" y="3189313"/>
                  <a:pt x="2702402" y="3191444"/>
                  <a:pt x="2702402" y="3194032"/>
                </a:cubicBezTo>
                <a:cubicBezTo>
                  <a:pt x="2702402" y="3196620"/>
                  <a:pt x="2704533" y="3198751"/>
                  <a:pt x="2707121" y="3198751"/>
                </a:cubicBezTo>
                <a:cubicBezTo>
                  <a:pt x="2709785" y="3198751"/>
                  <a:pt x="2711840" y="3196620"/>
                  <a:pt x="2711840" y="3194032"/>
                </a:cubicBezTo>
                <a:moveTo>
                  <a:pt x="2553216" y="3131998"/>
                </a:moveTo>
                <a:cubicBezTo>
                  <a:pt x="2553216" y="3129714"/>
                  <a:pt x="2551313" y="3127811"/>
                  <a:pt x="2549029" y="3127811"/>
                </a:cubicBezTo>
                <a:cubicBezTo>
                  <a:pt x="2546746" y="3127811"/>
                  <a:pt x="2544843" y="3129714"/>
                  <a:pt x="2544843" y="3131998"/>
                </a:cubicBezTo>
                <a:cubicBezTo>
                  <a:pt x="2544843" y="3134281"/>
                  <a:pt x="2546746" y="3136184"/>
                  <a:pt x="2549029" y="3136184"/>
                </a:cubicBezTo>
                <a:cubicBezTo>
                  <a:pt x="2551313" y="3136184"/>
                  <a:pt x="2553216" y="3134281"/>
                  <a:pt x="2553216" y="3131998"/>
                </a:cubicBezTo>
                <a:moveTo>
                  <a:pt x="2387055" y="3094168"/>
                </a:moveTo>
                <a:cubicBezTo>
                  <a:pt x="2387055" y="3092113"/>
                  <a:pt x="2385381" y="3090515"/>
                  <a:pt x="2383402" y="3090515"/>
                </a:cubicBezTo>
                <a:cubicBezTo>
                  <a:pt x="2381347" y="3090515"/>
                  <a:pt x="2379749" y="3092189"/>
                  <a:pt x="2379749" y="3094168"/>
                </a:cubicBezTo>
                <a:cubicBezTo>
                  <a:pt x="2379749" y="3096147"/>
                  <a:pt x="2381423" y="3097822"/>
                  <a:pt x="2383402" y="3097822"/>
                </a:cubicBezTo>
                <a:cubicBezTo>
                  <a:pt x="2385457" y="3097822"/>
                  <a:pt x="2387055" y="3096224"/>
                  <a:pt x="2387055" y="3094168"/>
                </a:cubicBezTo>
                <a:moveTo>
                  <a:pt x="2217166" y="3081457"/>
                </a:moveTo>
                <a:cubicBezTo>
                  <a:pt x="2217166" y="3079706"/>
                  <a:pt x="2215719" y="3078336"/>
                  <a:pt x="2214045" y="3078336"/>
                </a:cubicBezTo>
                <a:cubicBezTo>
                  <a:pt x="2212371" y="3078336"/>
                  <a:pt x="2210925" y="3079706"/>
                  <a:pt x="2210925" y="3081457"/>
                </a:cubicBezTo>
                <a:cubicBezTo>
                  <a:pt x="2210925" y="3083208"/>
                  <a:pt x="2212371" y="3084578"/>
                  <a:pt x="2214045" y="3084578"/>
                </a:cubicBezTo>
                <a:cubicBezTo>
                  <a:pt x="2215719" y="3084578"/>
                  <a:pt x="2217166" y="3083208"/>
                  <a:pt x="2217166" y="3081457"/>
                </a:cubicBezTo>
                <a:moveTo>
                  <a:pt x="2047277" y="3094168"/>
                </a:moveTo>
                <a:cubicBezTo>
                  <a:pt x="2047277" y="3092722"/>
                  <a:pt x="2046059" y="3091580"/>
                  <a:pt x="2044612" y="3091580"/>
                </a:cubicBezTo>
                <a:cubicBezTo>
                  <a:pt x="2043166" y="3091580"/>
                  <a:pt x="2042024" y="3092722"/>
                  <a:pt x="2042024" y="3094168"/>
                </a:cubicBezTo>
                <a:cubicBezTo>
                  <a:pt x="2042024" y="3095614"/>
                  <a:pt x="2043166" y="3096832"/>
                  <a:pt x="2044612" y="3096832"/>
                </a:cubicBezTo>
                <a:cubicBezTo>
                  <a:pt x="2046059" y="3096832"/>
                  <a:pt x="2047277" y="3095614"/>
                  <a:pt x="2047277" y="3094168"/>
                </a:cubicBezTo>
                <a:moveTo>
                  <a:pt x="1880583" y="3131998"/>
                </a:moveTo>
                <a:cubicBezTo>
                  <a:pt x="1880583" y="3131160"/>
                  <a:pt x="1879899" y="3130399"/>
                  <a:pt x="1878985" y="3130399"/>
                </a:cubicBezTo>
                <a:cubicBezTo>
                  <a:pt x="1878148" y="3130399"/>
                  <a:pt x="1877387" y="3131084"/>
                  <a:pt x="1877387" y="3131998"/>
                </a:cubicBezTo>
                <a:cubicBezTo>
                  <a:pt x="1877387" y="3132911"/>
                  <a:pt x="1878072" y="3133596"/>
                  <a:pt x="1878985" y="3133596"/>
                </a:cubicBezTo>
                <a:cubicBezTo>
                  <a:pt x="1879899" y="3133520"/>
                  <a:pt x="1880583" y="3132835"/>
                  <a:pt x="1880583" y="3131998"/>
                </a:cubicBezTo>
                <a:moveTo>
                  <a:pt x="1721959" y="3194032"/>
                </a:moveTo>
                <a:cubicBezTo>
                  <a:pt x="1721959" y="3193423"/>
                  <a:pt x="1721502" y="3192966"/>
                  <a:pt x="1720893" y="3192966"/>
                </a:cubicBezTo>
                <a:cubicBezTo>
                  <a:pt x="1720284" y="3192966"/>
                  <a:pt x="1719828" y="3193423"/>
                  <a:pt x="1719828" y="3194032"/>
                </a:cubicBezTo>
                <a:cubicBezTo>
                  <a:pt x="1719828" y="3194641"/>
                  <a:pt x="1720284" y="3195097"/>
                  <a:pt x="1720893" y="3195097"/>
                </a:cubicBezTo>
                <a:cubicBezTo>
                  <a:pt x="1721426" y="3195097"/>
                  <a:pt x="1721959" y="3194641"/>
                  <a:pt x="1721959" y="3194032"/>
                </a:cubicBezTo>
                <a:moveTo>
                  <a:pt x="1574295" y="3278977"/>
                </a:moveTo>
                <a:cubicBezTo>
                  <a:pt x="1574295" y="3278672"/>
                  <a:pt x="1574067" y="3278444"/>
                  <a:pt x="1573762" y="3278444"/>
                </a:cubicBezTo>
                <a:cubicBezTo>
                  <a:pt x="1573458" y="3278444"/>
                  <a:pt x="1573230" y="3278672"/>
                  <a:pt x="1573230" y="3278977"/>
                </a:cubicBezTo>
                <a:cubicBezTo>
                  <a:pt x="1573230" y="3279281"/>
                  <a:pt x="1573458" y="3279509"/>
                  <a:pt x="1573762" y="3279509"/>
                </a:cubicBezTo>
                <a:cubicBezTo>
                  <a:pt x="1574067" y="3279509"/>
                  <a:pt x="1574295" y="3279281"/>
                  <a:pt x="1574295" y="3278977"/>
                </a:cubicBezTo>
                <a:moveTo>
                  <a:pt x="1441474" y="3384853"/>
                </a:moveTo>
                <a:cubicBezTo>
                  <a:pt x="1441474" y="3384549"/>
                  <a:pt x="1441245" y="3384320"/>
                  <a:pt x="1440941" y="3384320"/>
                </a:cubicBezTo>
                <a:cubicBezTo>
                  <a:pt x="1440636" y="3384320"/>
                  <a:pt x="1440408" y="3384549"/>
                  <a:pt x="1440408" y="3384853"/>
                </a:cubicBezTo>
                <a:cubicBezTo>
                  <a:pt x="1440408" y="3385158"/>
                  <a:pt x="1440636" y="3385386"/>
                  <a:pt x="1440941" y="3385386"/>
                </a:cubicBezTo>
                <a:cubicBezTo>
                  <a:pt x="1441245" y="3385386"/>
                  <a:pt x="1441474" y="3385158"/>
                  <a:pt x="1441474" y="3384853"/>
                </a:cubicBezTo>
                <a:moveTo>
                  <a:pt x="3251270" y="5044778"/>
                </a:moveTo>
                <a:cubicBezTo>
                  <a:pt x="3251270" y="5044474"/>
                  <a:pt x="3251042" y="5044246"/>
                  <a:pt x="3250738" y="5044246"/>
                </a:cubicBezTo>
                <a:cubicBezTo>
                  <a:pt x="3250433" y="5044246"/>
                  <a:pt x="3250204" y="5044474"/>
                  <a:pt x="3250204" y="5044778"/>
                </a:cubicBezTo>
                <a:cubicBezTo>
                  <a:pt x="3250204" y="5045083"/>
                  <a:pt x="3250433" y="5045311"/>
                  <a:pt x="3250738" y="5045311"/>
                </a:cubicBezTo>
                <a:cubicBezTo>
                  <a:pt x="3251042" y="5045311"/>
                  <a:pt x="3251270" y="5045083"/>
                  <a:pt x="3251270" y="5044778"/>
                </a:cubicBezTo>
                <a:moveTo>
                  <a:pt x="3349002" y="4905411"/>
                </a:moveTo>
                <a:cubicBezTo>
                  <a:pt x="3349002" y="4904802"/>
                  <a:pt x="3348546" y="4904346"/>
                  <a:pt x="3347936" y="4904346"/>
                </a:cubicBezTo>
                <a:cubicBezTo>
                  <a:pt x="3347328" y="4904346"/>
                  <a:pt x="3346872" y="4904802"/>
                  <a:pt x="3346872" y="4905411"/>
                </a:cubicBezTo>
                <a:cubicBezTo>
                  <a:pt x="3346872" y="4906020"/>
                  <a:pt x="3347328" y="4906477"/>
                  <a:pt x="3347936" y="4906477"/>
                </a:cubicBezTo>
                <a:cubicBezTo>
                  <a:pt x="3348546" y="4906477"/>
                  <a:pt x="3349002" y="4906020"/>
                  <a:pt x="3349002" y="4905411"/>
                </a:cubicBezTo>
                <a:moveTo>
                  <a:pt x="3428086" y="4754779"/>
                </a:moveTo>
                <a:cubicBezTo>
                  <a:pt x="3428086" y="4753865"/>
                  <a:pt x="3427401" y="4753180"/>
                  <a:pt x="3426488" y="4753180"/>
                </a:cubicBezTo>
                <a:cubicBezTo>
                  <a:pt x="3425651" y="4753180"/>
                  <a:pt x="3424890" y="4753865"/>
                  <a:pt x="3424890" y="4754779"/>
                </a:cubicBezTo>
                <a:cubicBezTo>
                  <a:pt x="3424890" y="4755616"/>
                  <a:pt x="3425575" y="4756377"/>
                  <a:pt x="3426488" y="4756377"/>
                </a:cubicBezTo>
                <a:cubicBezTo>
                  <a:pt x="3427401" y="4756377"/>
                  <a:pt x="3428086" y="4755692"/>
                  <a:pt x="3428086" y="4754779"/>
                </a:cubicBezTo>
                <a:moveTo>
                  <a:pt x="3487304" y="4595317"/>
                </a:moveTo>
                <a:cubicBezTo>
                  <a:pt x="3487304" y="4594175"/>
                  <a:pt x="3486391" y="4593186"/>
                  <a:pt x="3485173" y="4593186"/>
                </a:cubicBezTo>
                <a:cubicBezTo>
                  <a:pt x="3484031" y="4593186"/>
                  <a:pt x="3483041" y="4594099"/>
                  <a:pt x="3483041" y="4595317"/>
                </a:cubicBezTo>
                <a:cubicBezTo>
                  <a:pt x="3483041" y="4596535"/>
                  <a:pt x="3483956" y="4597448"/>
                  <a:pt x="3485173" y="4597448"/>
                </a:cubicBezTo>
                <a:cubicBezTo>
                  <a:pt x="3486391" y="4597448"/>
                  <a:pt x="3487304" y="4596459"/>
                  <a:pt x="3487304" y="4595317"/>
                </a:cubicBezTo>
                <a:moveTo>
                  <a:pt x="3526123" y="4429690"/>
                </a:moveTo>
                <a:cubicBezTo>
                  <a:pt x="3526123" y="4427939"/>
                  <a:pt x="3524753" y="4426569"/>
                  <a:pt x="3523002" y="4426569"/>
                </a:cubicBezTo>
                <a:cubicBezTo>
                  <a:pt x="3521251" y="4426569"/>
                  <a:pt x="3519806" y="4428015"/>
                  <a:pt x="3519806" y="4429690"/>
                </a:cubicBezTo>
                <a:cubicBezTo>
                  <a:pt x="3519806" y="4431364"/>
                  <a:pt x="3521251" y="4432811"/>
                  <a:pt x="3523002" y="4432811"/>
                </a:cubicBezTo>
                <a:cubicBezTo>
                  <a:pt x="3524753" y="4432811"/>
                  <a:pt x="3526123" y="4431441"/>
                  <a:pt x="3526123" y="4429690"/>
                </a:cubicBezTo>
                <a:moveTo>
                  <a:pt x="3543020" y="4260561"/>
                </a:moveTo>
                <a:cubicBezTo>
                  <a:pt x="3543020" y="4258506"/>
                  <a:pt x="3541346" y="4256908"/>
                  <a:pt x="3539367" y="4256908"/>
                </a:cubicBezTo>
                <a:cubicBezTo>
                  <a:pt x="3537312" y="4256908"/>
                  <a:pt x="3535714" y="4258582"/>
                  <a:pt x="3535714" y="4260561"/>
                </a:cubicBezTo>
                <a:cubicBezTo>
                  <a:pt x="3535714" y="4262540"/>
                  <a:pt x="3537388" y="4264215"/>
                  <a:pt x="3539367" y="4264215"/>
                </a:cubicBezTo>
                <a:cubicBezTo>
                  <a:pt x="3541346" y="4264215"/>
                  <a:pt x="3543020" y="4262540"/>
                  <a:pt x="3543020" y="4260561"/>
                </a:cubicBezTo>
                <a:moveTo>
                  <a:pt x="3538606" y="4090748"/>
                </a:moveTo>
                <a:cubicBezTo>
                  <a:pt x="3538606" y="4088160"/>
                  <a:pt x="3536474" y="4086029"/>
                  <a:pt x="3533887" y="4086029"/>
                </a:cubicBezTo>
                <a:cubicBezTo>
                  <a:pt x="3531299" y="4086029"/>
                  <a:pt x="3529168" y="4088160"/>
                  <a:pt x="3529168" y="4090748"/>
                </a:cubicBezTo>
                <a:cubicBezTo>
                  <a:pt x="3529168" y="4093335"/>
                  <a:pt x="3531299" y="4095467"/>
                  <a:pt x="3533887" y="4095467"/>
                </a:cubicBezTo>
                <a:cubicBezTo>
                  <a:pt x="3536474" y="4095467"/>
                  <a:pt x="3538606" y="4093335"/>
                  <a:pt x="3538606" y="4090748"/>
                </a:cubicBezTo>
                <a:moveTo>
                  <a:pt x="3512042" y="3922989"/>
                </a:moveTo>
                <a:cubicBezTo>
                  <a:pt x="3512042" y="3920097"/>
                  <a:pt x="3509682" y="3917737"/>
                  <a:pt x="3506790" y="3917737"/>
                </a:cubicBezTo>
                <a:cubicBezTo>
                  <a:pt x="3503898" y="3917737"/>
                  <a:pt x="3501538" y="3920097"/>
                  <a:pt x="3501538" y="3922989"/>
                </a:cubicBezTo>
                <a:cubicBezTo>
                  <a:pt x="3501538" y="3925881"/>
                  <a:pt x="3503898" y="3928241"/>
                  <a:pt x="3506790" y="3928241"/>
                </a:cubicBezTo>
                <a:cubicBezTo>
                  <a:pt x="3509682" y="3928241"/>
                  <a:pt x="3512042" y="3925881"/>
                  <a:pt x="3512042" y="3922989"/>
                </a:cubicBezTo>
                <a:moveTo>
                  <a:pt x="3464165" y="3760102"/>
                </a:moveTo>
                <a:cubicBezTo>
                  <a:pt x="3464165" y="3756905"/>
                  <a:pt x="3461577" y="3754317"/>
                  <a:pt x="3458380" y="3754317"/>
                </a:cubicBezTo>
                <a:cubicBezTo>
                  <a:pt x="3455184" y="3754317"/>
                  <a:pt x="3452595" y="3756905"/>
                  <a:pt x="3452595" y="3760102"/>
                </a:cubicBezTo>
                <a:cubicBezTo>
                  <a:pt x="3452595" y="3763299"/>
                  <a:pt x="3455184" y="3765887"/>
                  <a:pt x="3458380" y="3765887"/>
                </a:cubicBezTo>
                <a:cubicBezTo>
                  <a:pt x="3461577" y="3765887"/>
                  <a:pt x="3464165" y="3763299"/>
                  <a:pt x="3464165" y="3760102"/>
                </a:cubicBezTo>
                <a:moveTo>
                  <a:pt x="3395966" y="3604751"/>
                </a:moveTo>
                <a:cubicBezTo>
                  <a:pt x="3395966" y="3601249"/>
                  <a:pt x="3393149" y="3598433"/>
                  <a:pt x="3389648" y="3598433"/>
                </a:cubicBezTo>
                <a:cubicBezTo>
                  <a:pt x="3386147" y="3598433"/>
                  <a:pt x="3383330" y="3601249"/>
                  <a:pt x="3383330" y="3604751"/>
                </a:cubicBezTo>
                <a:cubicBezTo>
                  <a:pt x="3383330" y="3608252"/>
                  <a:pt x="3386147" y="3611068"/>
                  <a:pt x="3389648" y="3611068"/>
                </a:cubicBezTo>
                <a:cubicBezTo>
                  <a:pt x="3393149" y="3610992"/>
                  <a:pt x="3395966" y="3608176"/>
                  <a:pt x="3395966" y="3604751"/>
                </a:cubicBezTo>
                <a:moveTo>
                  <a:pt x="3308357" y="3459446"/>
                </a:moveTo>
                <a:cubicBezTo>
                  <a:pt x="3308357" y="3455717"/>
                  <a:pt x="3305312" y="3452596"/>
                  <a:pt x="3301506" y="3452596"/>
                </a:cubicBezTo>
                <a:cubicBezTo>
                  <a:pt x="3297700" y="3452596"/>
                  <a:pt x="3294656" y="3455641"/>
                  <a:pt x="3294656" y="3459446"/>
                </a:cubicBezTo>
                <a:cubicBezTo>
                  <a:pt x="3294656" y="3463252"/>
                  <a:pt x="3297700" y="3466297"/>
                  <a:pt x="3301506" y="3466297"/>
                </a:cubicBezTo>
                <a:cubicBezTo>
                  <a:pt x="3305312" y="3466221"/>
                  <a:pt x="3308357" y="3463176"/>
                  <a:pt x="3308357" y="3459446"/>
                </a:cubicBezTo>
                <a:moveTo>
                  <a:pt x="3202404" y="3326549"/>
                </a:moveTo>
                <a:cubicBezTo>
                  <a:pt x="3202404" y="3322819"/>
                  <a:pt x="3199360" y="3319698"/>
                  <a:pt x="3195554" y="3319698"/>
                </a:cubicBezTo>
                <a:cubicBezTo>
                  <a:pt x="3191825" y="3319698"/>
                  <a:pt x="3188704" y="3322743"/>
                  <a:pt x="3188704" y="3326549"/>
                </a:cubicBezTo>
                <a:cubicBezTo>
                  <a:pt x="3188704" y="3330354"/>
                  <a:pt x="3191748" y="3333399"/>
                  <a:pt x="3195554" y="3333399"/>
                </a:cubicBezTo>
                <a:cubicBezTo>
                  <a:pt x="3199360" y="3333399"/>
                  <a:pt x="3202404" y="3330354"/>
                  <a:pt x="3202404" y="3326549"/>
                </a:cubicBezTo>
                <a:moveTo>
                  <a:pt x="3080391" y="3208341"/>
                </a:moveTo>
                <a:cubicBezTo>
                  <a:pt x="3080391" y="3204536"/>
                  <a:pt x="3077347" y="3201491"/>
                  <a:pt x="3073541" y="3201491"/>
                </a:cubicBezTo>
                <a:cubicBezTo>
                  <a:pt x="3069735" y="3201491"/>
                  <a:pt x="3066690" y="3204536"/>
                  <a:pt x="3066690" y="3208341"/>
                </a:cubicBezTo>
                <a:cubicBezTo>
                  <a:pt x="3066690" y="3212147"/>
                  <a:pt x="3069735" y="3215192"/>
                  <a:pt x="3073541" y="3215192"/>
                </a:cubicBezTo>
                <a:cubicBezTo>
                  <a:pt x="3077347" y="3215192"/>
                  <a:pt x="3080391" y="3212147"/>
                  <a:pt x="3080391" y="3208341"/>
                </a:cubicBezTo>
                <a:moveTo>
                  <a:pt x="2944221" y="3106728"/>
                </a:moveTo>
                <a:cubicBezTo>
                  <a:pt x="2944221" y="3102922"/>
                  <a:pt x="2941176" y="3099877"/>
                  <a:pt x="2937370" y="3099877"/>
                </a:cubicBezTo>
                <a:cubicBezTo>
                  <a:pt x="2933641" y="3099877"/>
                  <a:pt x="2930520" y="3102922"/>
                  <a:pt x="2930520" y="3106728"/>
                </a:cubicBezTo>
                <a:cubicBezTo>
                  <a:pt x="2930520" y="3110533"/>
                  <a:pt x="2933565" y="3113578"/>
                  <a:pt x="2937370" y="3113578"/>
                </a:cubicBezTo>
                <a:cubicBezTo>
                  <a:pt x="2941176" y="3113578"/>
                  <a:pt x="2944221" y="3110533"/>
                  <a:pt x="2944221" y="3106728"/>
                </a:cubicBezTo>
                <a:moveTo>
                  <a:pt x="2795643" y="3023381"/>
                </a:moveTo>
                <a:cubicBezTo>
                  <a:pt x="2795643" y="3019880"/>
                  <a:pt x="2792827" y="3017064"/>
                  <a:pt x="2789326" y="3017064"/>
                </a:cubicBezTo>
                <a:cubicBezTo>
                  <a:pt x="2785824" y="3017064"/>
                  <a:pt x="2783008" y="3019880"/>
                  <a:pt x="2783008" y="3023381"/>
                </a:cubicBezTo>
                <a:cubicBezTo>
                  <a:pt x="2783008" y="3026882"/>
                  <a:pt x="2785824" y="3029699"/>
                  <a:pt x="2789326" y="3029699"/>
                </a:cubicBezTo>
                <a:cubicBezTo>
                  <a:pt x="2792827" y="3029699"/>
                  <a:pt x="2795643" y="3026882"/>
                  <a:pt x="2795643" y="3023381"/>
                </a:cubicBezTo>
                <a:moveTo>
                  <a:pt x="2637628" y="2959596"/>
                </a:moveTo>
                <a:cubicBezTo>
                  <a:pt x="2637628" y="2956400"/>
                  <a:pt x="2635040" y="2953811"/>
                  <a:pt x="2631843" y="2953811"/>
                </a:cubicBezTo>
                <a:cubicBezTo>
                  <a:pt x="2628646" y="2953811"/>
                  <a:pt x="2626058" y="2956400"/>
                  <a:pt x="2626058" y="2959596"/>
                </a:cubicBezTo>
                <a:cubicBezTo>
                  <a:pt x="2626058" y="2962793"/>
                  <a:pt x="2628646" y="2965381"/>
                  <a:pt x="2631843" y="2965381"/>
                </a:cubicBezTo>
                <a:cubicBezTo>
                  <a:pt x="2635040" y="2965381"/>
                  <a:pt x="2637628" y="2962793"/>
                  <a:pt x="2637628" y="2959596"/>
                </a:cubicBezTo>
                <a:moveTo>
                  <a:pt x="2472761" y="2916515"/>
                </a:moveTo>
                <a:cubicBezTo>
                  <a:pt x="2472761" y="2913622"/>
                  <a:pt x="2470402" y="2911263"/>
                  <a:pt x="2467510" y="2911263"/>
                </a:cubicBezTo>
                <a:cubicBezTo>
                  <a:pt x="2464617" y="2911263"/>
                  <a:pt x="2462257" y="2913622"/>
                  <a:pt x="2462257" y="2916515"/>
                </a:cubicBezTo>
                <a:cubicBezTo>
                  <a:pt x="2462257" y="2919407"/>
                  <a:pt x="2464617" y="2921767"/>
                  <a:pt x="2467510" y="2921767"/>
                </a:cubicBezTo>
                <a:cubicBezTo>
                  <a:pt x="2470402" y="2921767"/>
                  <a:pt x="2472761" y="2919407"/>
                  <a:pt x="2472761" y="2916515"/>
                </a:cubicBezTo>
                <a:moveTo>
                  <a:pt x="2303177" y="2894746"/>
                </a:moveTo>
                <a:cubicBezTo>
                  <a:pt x="2303177" y="2892462"/>
                  <a:pt x="2301274" y="2890560"/>
                  <a:pt x="2298990" y="2890560"/>
                </a:cubicBezTo>
                <a:cubicBezTo>
                  <a:pt x="2296706" y="2890560"/>
                  <a:pt x="2294804" y="2892462"/>
                  <a:pt x="2294804" y="2894746"/>
                </a:cubicBezTo>
                <a:cubicBezTo>
                  <a:pt x="2294804" y="2897106"/>
                  <a:pt x="2296706" y="2898932"/>
                  <a:pt x="2298990" y="2898932"/>
                </a:cubicBezTo>
                <a:cubicBezTo>
                  <a:pt x="2301274" y="2898932"/>
                  <a:pt x="2303177" y="2897106"/>
                  <a:pt x="2303177" y="2894746"/>
                </a:cubicBezTo>
                <a:moveTo>
                  <a:pt x="2132754" y="2894746"/>
                </a:moveTo>
                <a:cubicBezTo>
                  <a:pt x="2132754" y="2892691"/>
                  <a:pt x="2131079" y="2891092"/>
                  <a:pt x="2129101" y="2891092"/>
                </a:cubicBezTo>
                <a:cubicBezTo>
                  <a:pt x="2127046" y="2891092"/>
                  <a:pt x="2125447" y="2892767"/>
                  <a:pt x="2125447" y="2894746"/>
                </a:cubicBezTo>
                <a:cubicBezTo>
                  <a:pt x="2125447" y="2896801"/>
                  <a:pt x="2127122" y="2898399"/>
                  <a:pt x="2129101" y="2898399"/>
                </a:cubicBezTo>
                <a:cubicBezTo>
                  <a:pt x="2131079" y="2898476"/>
                  <a:pt x="2132754" y="2896801"/>
                  <a:pt x="2132754" y="2894746"/>
                </a:cubicBezTo>
                <a:moveTo>
                  <a:pt x="1963169" y="2916515"/>
                </a:moveTo>
                <a:cubicBezTo>
                  <a:pt x="1963169" y="2915069"/>
                  <a:pt x="1962027" y="2913851"/>
                  <a:pt x="1960581" y="2913851"/>
                </a:cubicBezTo>
                <a:cubicBezTo>
                  <a:pt x="1959135" y="2913851"/>
                  <a:pt x="1957917" y="2915069"/>
                  <a:pt x="1957917" y="2916515"/>
                </a:cubicBezTo>
                <a:cubicBezTo>
                  <a:pt x="1957917" y="2917961"/>
                  <a:pt x="1959135" y="2919103"/>
                  <a:pt x="1960581" y="2919103"/>
                </a:cubicBezTo>
                <a:cubicBezTo>
                  <a:pt x="1962027" y="2919103"/>
                  <a:pt x="1963169" y="2917961"/>
                  <a:pt x="1963169" y="2916515"/>
                </a:cubicBezTo>
                <a:moveTo>
                  <a:pt x="1798303" y="2959596"/>
                </a:moveTo>
                <a:cubicBezTo>
                  <a:pt x="1798303" y="2958455"/>
                  <a:pt x="1797389" y="2957465"/>
                  <a:pt x="1796172" y="2957465"/>
                </a:cubicBezTo>
                <a:cubicBezTo>
                  <a:pt x="1795030" y="2957465"/>
                  <a:pt x="1794040" y="2958378"/>
                  <a:pt x="1794040" y="2959596"/>
                </a:cubicBezTo>
                <a:cubicBezTo>
                  <a:pt x="1794040" y="2960738"/>
                  <a:pt x="1794954" y="2961727"/>
                  <a:pt x="1796172" y="2961727"/>
                </a:cubicBezTo>
                <a:cubicBezTo>
                  <a:pt x="1797313" y="2961727"/>
                  <a:pt x="1798303" y="2960738"/>
                  <a:pt x="1798303" y="2959596"/>
                </a:cubicBezTo>
                <a:moveTo>
                  <a:pt x="1639755" y="3023381"/>
                </a:moveTo>
                <a:cubicBezTo>
                  <a:pt x="1639755" y="3022772"/>
                  <a:pt x="1639298" y="3022315"/>
                  <a:pt x="1638689" y="3022315"/>
                </a:cubicBezTo>
                <a:cubicBezTo>
                  <a:pt x="1638080" y="3022315"/>
                  <a:pt x="1637623" y="3022772"/>
                  <a:pt x="1637623" y="3023381"/>
                </a:cubicBezTo>
                <a:cubicBezTo>
                  <a:pt x="1637623" y="3023990"/>
                  <a:pt x="1638080" y="3024447"/>
                  <a:pt x="1638689" y="3024447"/>
                </a:cubicBezTo>
                <a:cubicBezTo>
                  <a:pt x="1639298" y="3024447"/>
                  <a:pt x="1639755" y="3023914"/>
                  <a:pt x="1639755" y="3023381"/>
                </a:cubicBezTo>
                <a:moveTo>
                  <a:pt x="1491710" y="3106728"/>
                </a:moveTo>
                <a:cubicBezTo>
                  <a:pt x="1491710" y="3106118"/>
                  <a:pt x="1491253" y="3105662"/>
                  <a:pt x="1490644" y="3105662"/>
                </a:cubicBezTo>
                <a:cubicBezTo>
                  <a:pt x="1490035" y="3105662"/>
                  <a:pt x="1489579" y="3106118"/>
                  <a:pt x="1489579" y="3106728"/>
                </a:cubicBezTo>
                <a:cubicBezTo>
                  <a:pt x="1489579" y="3107336"/>
                  <a:pt x="1490035" y="3107793"/>
                  <a:pt x="1490644" y="3107793"/>
                </a:cubicBezTo>
                <a:cubicBezTo>
                  <a:pt x="1491253" y="3107793"/>
                  <a:pt x="1491710" y="3107336"/>
                  <a:pt x="1491710" y="3106728"/>
                </a:cubicBezTo>
                <a:moveTo>
                  <a:pt x="1355007" y="3208341"/>
                </a:moveTo>
                <a:cubicBezTo>
                  <a:pt x="1355007" y="3208037"/>
                  <a:pt x="1354778" y="3207809"/>
                  <a:pt x="1354474" y="3207809"/>
                </a:cubicBezTo>
                <a:cubicBezTo>
                  <a:pt x="1354169" y="3207809"/>
                  <a:pt x="1353941" y="3208037"/>
                  <a:pt x="1353941" y="3208341"/>
                </a:cubicBezTo>
                <a:cubicBezTo>
                  <a:pt x="1353941" y="3208646"/>
                  <a:pt x="1354169" y="3208874"/>
                  <a:pt x="1354474" y="3208874"/>
                </a:cubicBezTo>
                <a:cubicBezTo>
                  <a:pt x="1354778" y="3208874"/>
                  <a:pt x="1355007" y="3208646"/>
                  <a:pt x="1355007" y="3208341"/>
                </a:cubicBezTo>
                <a:moveTo>
                  <a:pt x="3399314" y="5162910"/>
                </a:moveTo>
                <a:cubicBezTo>
                  <a:pt x="3399314" y="5162605"/>
                  <a:pt x="3399087" y="5162377"/>
                  <a:pt x="3398782" y="5162377"/>
                </a:cubicBezTo>
                <a:cubicBezTo>
                  <a:pt x="3398477" y="5162377"/>
                  <a:pt x="3398250" y="5162605"/>
                  <a:pt x="3398250" y="5162910"/>
                </a:cubicBezTo>
                <a:cubicBezTo>
                  <a:pt x="3398250" y="5163214"/>
                  <a:pt x="3398477" y="5163443"/>
                  <a:pt x="3398782" y="5163443"/>
                </a:cubicBezTo>
                <a:cubicBezTo>
                  <a:pt x="3399087" y="5163443"/>
                  <a:pt x="3399314" y="5163214"/>
                  <a:pt x="3399314" y="5162910"/>
                </a:cubicBezTo>
                <a:moveTo>
                  <a:pt x="3498189" y="5024303"/>
                </a:moveTo>
                <a:cubicBezTo>
                  <a:pt x="3498189" y="5023695"/>
                  <a:pt x="3497732" y="5023238"/>
                  <a:pt x="3497123" y="5023238"/>
                </a:cubicBezTo>
                <a:cubicBezTo>
                  <a:pt x="3496514" y="5023238"/>
                  <a:pt x="3496058" y="5023695"/>
                  <a:pt x="3496058" y="5024303"/>
                </a:cubicBezTo>
                <a:cubicBezTo>
                  <a:pt x="3496058" y="5024912"/>
                  <a:pt x="3496514" y="5025369"/>
                  <a:pt x="3497123" y="5025369"/>
                </a:cubicBezTo>
                <a:cubicBezTo>
                  <a:pt x="3497732" y="5025369"/>
                  <a:pt x="3498189" y="5024836"/>
                  <a:pt x="3498189" y="5024303"/>
                </a:cubicBezTo>
                <a:moveTo>
                  <a:pt x="3580927" y="4875574"/>
                </a:moveTo>
                <a:cubicBezTo>
                  <a:pt x="3580927" y="4874737"/>
                  <a:pt x="3580241" y="4873975"/>
                  <a:pt x="3579328" y="4873975"/>
                </a:cubicBezTo>
                <a:cubicBezTo>
                  <a:pt x="3578490" y="4873975"/>
                  <a:pt x="3577729" y="4874661"/>
                  <a:pt x="3577729" y="4875574"/>
                </a:cubicBezTo>
                <a:cubicBezTo>
                  <a:pt x="3577729" y="4876411"/>
                  <a:pt x="3578414" y="4877173"/>
                  <a:pt x="3579328" y="4877173"/>
                </a:cubicBezTo>
                <a:cubicBezTo>
                  <a:pt x="3580241" y="4877173"/>
                  <a:pt x="3580927" y="4876411"/>
                  <a:pt x="3580927" y="4875574"/>
                </a:cubicBezTo>
                <a:moveTo>
                  <a:pt x="3646994" y="4718548"/>
                </a:moveTo>
                <a:cubicBezTo>
                  <a:pt x="3646994" y="4717102"/>
                  <a:pt x="3645852" y="4715960"/>
                  <a:pt x="3644407" y="4715960"/>
                </a:cubicBezTo>
                <a:cubicBezTo>
                  <a:pt x="3642960" y="4715960"/>
                  <a:pt x="3641743" y="4717102"/>
                  <a:pt x="3641743" y="4718548"/>
                </a:cubicBezTo>
                <a:cubicBezTo>
                  <a:pt x="3641743" y="4719994"/>
                  <a:pt x="3642960" y="4721212"/>
                  <a:pt x="3644407" y="4721212"/>
                </a:cubicBezTo>
                <a:cubicBezTo>
                  <a:pt x="3645852" y="4721212"/>
                  <a:pt x="3646994" y="4719994"/>
                  <a:pt x="3646994" y="4718548"/>
                </a:cubicBezTo>
                <a:moveTo>
                  <a:pt x="3694566" y="4555280"/>
                </a:moveTo>
                <a:cubicBezTo>
                  <a:pt x="3694566" y="4553530"/>
                  <a:pt x="3693197" y="4552160"/>
                  <a:pt x="3691445" y="4552160"/>
                </a:cubicBezTo>
                <a:cubicBezTo>
                  <a:pt x="3689695" y="4552160"/>
                  <a:pt x="3688249" y="4553606"/>
                  <a:pt x="3688249" y="4555280"/>
                </a:cubicBezTo>
                <a:cubicBezTo>
                  <a:pt x="3688249" y="4556955"/>
                  <a:pt x="3689695" y="4558401"/>
                  <a:pt x="3691445" y="4558401"/>
                </a:cubicBezTo>
                <a:cubicBezTo>
                  <a:pt x="3693197" y="4558401"/>
                  <a:pt x="3694566" y="4557031"/>
                  <a:pt x="3694566" y="4555280"/>
                </a:cubicBezTo>
                <a:moveTo>
                  <a:pt x="3724099" y="4387750"/>
                </a:moveTo>
                <a:cubicBezTo>
                  <a:pt x="3724099" y="4385390"/>
                  <a:pt x="3722196" y="4383564"/>
                  <a:pt x="3719913" y="4383564"/>
                </a:cubicBezTo>
                <a:cubicBezTo>
                  <a:pt x="3717630" y="4383564"/>
                  <a:pt x="3715727" y="4385467"/>
                  <a:pt x="3715727" y="4387750"/>
                </a:cubicBezTo>
                <a:cubicBezTo>
                  <a:pt x="3715727" y="4390034"/>
                  <a:pt x="3717630" y="4391937"/>
                  <a:pt x="3719913" y="4391937"/>
                </a:cubicBezTo>
                <a:cubicBezTo>
                  <a:pt x="3722196" y="4391937"/>
                  <a:pt x="3724099" y="4390034"/>
                  <a:pt x="3724099" y="4387750"/>
                </a:cubicBezTo>
                <a:moveTo>
                  <a:pt x="3734147" y="4218013"/>
                </a:moveTo>
                <a:cubicBezTo>
                  <a:pt x="3734147" y="4215425"/>
                  <a:pt x="3732016" y="4213294"/>
                  <a:pt x="3729428" y="4213294"/>
                </a:cubicBezTo>
                <a:cubicBezTo>
                  <a:pt x="3726839" y="4213294"/>
                  <a:pt x="3724708" y="4215425"/>
                  <a:pt x="3724708" y="4218013"/>
                </a:cubicBezTo>
                <a:cubicBezTo>
                  <a:pt x="3724708" y="4220601"/>
                  <a:pt x="3726839" y="4222732"/>
                  <a:pt x="3729428" y="4222732"/>
                </a:cubicBezTo>
                <a:cubicBezTo>
                  <a:pt x="3732016" y="4222808"/>
                  <a:pt x="3734147" y="4220677"/>
                  <a:pt x="3734147" y="4218013"/>
                </a:cubicBezTo>
                <a:moveTo>
                  <a:pt x="3725697" y="4048351"/>
                </a:moveTo>
                <a:cubicBezTo>
                  <a:pt x="3725697" y="4045155"/>
                  <a:pt x="3723110" y="4042567"/>
                  <a:pt x="3719913" y="4042567"/>
                </a:cubicBezTo>
                <a:cubicBezTo>
                  <a:pt x="3716716" y="4042567"/>
                  <a:pt x="3714129" y="4045155"/>
                  <a:pt x="3714129" y="4048351"/>
                </a:cubicBezTo>
                <a:cubicBezTo>
                  <a:pt x="3714129" y="4051548"/>
                  <a:pt x="3716716" y="4054136"/>
                  <a:pt x="3719913" y="4054136"/>
                </a:cubicBezTo>
                <a:cubicBezTo>
                  <a:pt x="3723110" y="4054136"/>
                  <a:pt x="3725697" y="4051548"/>
                  <a:pt x="3725697" y="4048351"/>
                </a:cubicBezTo>
                <a:moveTo>
                  <a:pt x="3697764" y="3880821"/>
                </a:moveTo>
                <a:cubicBezTo>
                  <a:pt x="3697764" y="3877320"/>
                  <a:pt x="3694947" y="3874504"/>
                  <a:pt x="3691445" y="3874504"/>
                </a:cubicBezTo>
                <a:cubicBezTo>
                  <a:pt x="3687944" y="3874504"/>
                  <a:pt x="3685128" y="3877320"/>
                  <a:pt x="3685128" y="3880821"/>
                </a:cubicBezTo>
                <a:cubicBezTo>
                  <a:pt x="3685128" y="3884323"/>
                  <a:pt x="3687944" y="3887139"/>
                  <a:pt x="3691445" y="3887139"/>
                </a:cubicBezTo>
                <a:cubicBezTo>
                  <a:pt x="3694947" y="3887139"/>
                  <a:pt x="3697764" y="3884323"/>
                  <a:pt x="3697764" y="3880821"/>
                </a:cubicBezTo>
                <a:moveTo>
                  <a:pt x="3651713" y="3717554"/>
                </a:moveTo>
                <a:cubicBezTo>
                  <a:pt x="3651713" y="3713520"/>
                  <a:pt x="3648441" y="3710171"/>
                  <a:pt x="3644330" y="3710171"/>
                </a:cubicBezTo>
                <a:cubicBezTo>
                  <a:pt x="3640220" y="3710171"/>
                  <a:pt x="3636947" y="3713444"/>
                  <a:pt x="3636947" y="3717554"/>
                </a:cubicBezTo>
                <a:cubicBezTo>
                  <a:pt x="3636947" y="3721588"/>
                  <a:pt x="3640220" y="3724937"/>
                  <a:pt x="3644330" y="3724937"/>
                </a:cubicBezTo>
                <a:cubicBezTo>
                  <a:pt x="3648441" y="3724937"/>
                  <a:pt x="3651713" y="3721588"/>
                  <a:pt x="3651713" y="3717554"/>
                </a:cubicBezTo>
                <a:moveTo>
                  <a:pt x="3587244" y="3560528"/>
                </a:moveTo>
                <a:cubicBezTo>
                  <a:pt x="3587244" y="3556189"/>
                  <a:pt x="3583743" y="3552612"/>
                  <a:pt x="3579404" y="3552612"/>
                </a:cubicBezTo>
                <a:cubicBezTo>
                  <a:pt x="3575066" y="3552612"/>
                  <a:pt x="3571488" y="3556113"/>
                  <a:pt x="3571488" y="3560528"/>
                </a:cubicBezTo>
                <a:cubicBezTo>
                  <a:pt x="3571488" y="3564866"/>
                  <a:pt x="3574989" y="3568368"/>
                  <a:pt x="3579404" y="3568368"/>
                </a:cubicBezTo>
                <a:cubicBezTo>
                  <a:pt x="3583743" y="3568443"/>
                  <a:pt x="3587244" y="3564866"/>
                  <a:pt x="3587244" y="3560528"/>
                </a:cubicBezTo>
                <a:moveTo>
                  <a:pt x="3505039" y="3411798"/>
                </a:moveTo>
                <a:cubicBezTo>
                  <a:pt x="3505039" y="3407459"/>
                  <a:pt x="3501538" y="3403958"/>
                  <a:pt x="3497200" y="3403958"/>
                </a:cubicBezTo>
                <a:cubicBezTo>
                  <a:pt x="3492861" y="3403958"/>
                  <a:pt x="3489283" y="3407459"/>
                  <a:pt x="3489283" y="3411798"/>
                </a:cubicBezTo>
                <a:cubicBezTo>
                  <a:pt x="3489283" y="3416137"/>
                  <a:pt x="3492784" y="3419714"/>
                  <a:pt x="3497200" y="3419714"/>
                </a:cubicBezTo>
                <a:cubicBezTo>
                  <a:pt x="3501538" y="3419638"/>
                  <a:pt x="3505039" y="3416137"/>
                  <a:pt x="3505039" y="3411798"/>
                </a:cubicBezTo>
                <a:moveTo>
                  <a:pt x="3407231" y="3273192"/>
                </a:moveTo>
                <a:cubicBezTo>
                  <a:pt x="3407231" y="3268549"/>
                  <a:pt x="3403501" y="3264819"/>
                  <a:pt x="3398858" y="3264819"/>
                </a:cubicBezTo>
                <a:cubicBezTo>
                  <a:pt x="3394215" y="3264819"/>
                  <a:pt x="3390486" y="3268625"/>
                  <a:pt x="3390486" y="3273192"/>
                </a:cubicBezTo>
                <a:cubicBezTo>
                  <a:pt x="3390486" y="3277835"/>
                  <a:pt x="3394215" y="3281565"/>
                  <a:pt x="3398858" y="3281565"/>
                </a:cubicBezTo>
                <a:cubicBezTo>
                  <a:pt x="3403425" y="3281565"/>
                  <a:pt x="3407231" y="3277835"/>
                  <a:pt x="3407231" y="3273192"/>
                </a:cubicBezTo>
                <a:moveTo>
                  <a:pt x="3293971" y="3146460"/>
                </a:moveTo>
                <a:cubicBezTo>
                  <a:pt x="3293971" y="3141817"/>
                  <a:pt x="3290241" y="3138087"/>
                  <a:pt x="3285598" y="3138087"/>
                </a:cubicBezTo>
                <a:cubicBezTo>
                  <a:pt x="3280955" y="3138087"/>
                  <a:pt x="3277150" y="3141817"/>
                  <a:pt x="3277150" y="3146460"/>
                </a:cubicBezTo>
                <a:cubicBezTo>
                  <a:pt x="3277150" y="3151103"/>
                  <a:pt x="3280879" y="3154832"/>
                  <a:pt x="3285598" y="3154832"/>
                </a:cubicBezTo>
                <a:cubicBezTo>
                  <a:pt x="3290241" y="3154908"/>
                  <a:pt x="3293971" y="3151103"/>
                  <a:pt x="3293971" y="3146460"/>
                </a:cubicBezTo>
                <a:moveTo>
                  <a:pt x="3167238" y="3033276"/>
                </a:moveTo>
                <a:cubicBezTo>
                  <a:pt x="3167238" y="3028633"/>
                  <a:pt x="3163509" y="3024903"/>
                  <a:pt x="3158866" y="3024903"/>
                </a:cubicBezTo>
                <a:cubicBezTo>
                  <a:pt x="3154223" y="3024903"/>
                  <a:pt x="3150417" y="3028633"/>
                  <a:pt x="3150417" y="3033276"/>
                </a:cubicBezTo>
                <a:cubicBezTo>
                  <a:pt x="3150417" y="3037919"/>
                  <a:pt x="3154147" y="3041649"/>
                  <a:pt x="3158866" y="3041649"/>
                </a:cubicBezTo>
                <a:cubicBezTo>
                  <a:pt x="3163509" y="3041649"/>
                  <a:pt x="3167238" y="3037919"/>
                  <a:pt x="3167238" y="3033276"/>
                </a:cubicBezTo>
                <a:moveTo>
                  <a:pt x="3028176" y="2934935"/>
                </a:moveTo>
                <a:cubicBezTo>
                  <a:pt x="3028176" y="2930596"/>
                  <a:pt x="3024674" y="2927095"/>
                  <a:pt x="3020336" y="2927095"/>
                </a:cubicBezTo>
                <a:cubicBezTo>
                  <a:pt x="3015997" y="2927095"/>
                  <a:pt x="3012420" y="2930596"/>
                  <a:pt x="3012420" y="2934935"/>
                </a:cubicBezTo>
                <a:cubicBezTo>
                  <a:pt x="3012420" y="2939274"/>
                  <a:pt x="3015921" y="2942775"/>
                  <a:pt x="3020336" y="2942775"/>
                </a:cubicBezTo>
                <a:cubicBezTo>
                  <a:pt x="3024598" y="2942775"/>
                  <a:pt x="3028176" y="2939274"/>
                  <a:pt x="3028176" y="2934935"/>
                </a:cubicBezTo>
                <a:moveTo>
                  <a:pt x="2879447" y="2852730"/>
                </a:moveTo>
                <a:cubicBezTo>
                  <a:pt x="2879447" y="2848392"/>
                  <a:pt x="2875946" y="2844814"/>
                  <a:pt x="2871530" y="2844814"/>
                </a:cubicBezTo>
                <a:cubicBezTo>
                  <a:pt x="2867192" y="2844814"/>
                  <a:pt x="2863690" y="2848316"/>
                  <a:pt x="2863690" y="2852730"/>
                </a:cubicBezTo>
                <a:cubicBezTo>
                  <a:pt x="2863690" y="2857069"/>
                  <a:pt x="2867192" y="2860570"/>
                  <a:pt x="2871530" y="2860570"/>
                </a:cubicBezTo>
                <a:cubicBezTo>
                  <a:pt x="2875869" y="2860570"/>
                  <a:pt x="2879447" y="2857069"/>
                  <a:pt x="2879447" y="2852730"/>
                </a:cubicBezTo>
                <a:moveTo>
                  <a:pt x="2721887" y="2787652"/>
                </a:moveTo>
                <a:cubicBezTo>
                  <a:pt x="2721887" y="2783617"/>
                  <a:pt x="2718615" y="2780268"/>
                  <a:pt x="2714504" y="2780268"/>
                </a:cubicBezTo>
                <a:cubicBezTo>
                  <a:pt x="2710470" y="2780268"/>
                  <a:pt x="2707121" y="2783541"/>
                  <a:pt x="2707121" y="2787652"/>
                </a:cubicBezTo>
                <a:cubicBezTo>
                  <a:pt x="2707121" y="2791686"/>
                  <a:pt x="2710394" y="2795035"/>
                  <a:pt x="2714504" y="2795035"/>
                </a:cubicBezTo>
                <a:cubicBezTo>
                  <a:pt x="2718615" y="2795035"/>
                  <a:pt x="2721887" y="2791762"/>
                  <a:pt x="2721887" y="2787652"/>
                </a:cubicBezTo>
                <a:moveTo>
                  <a:pt x="2557554" y="2740612"/>
                </a:moveTo>
                <a:cubicBezTo>
                  <a:pt x="2557554" y="2737111"/>
                  <a:pt x="2554738" y="2734295"/>
                  <a:pt x="2551237" y="2734295"/>
                </a:cubicBezTo>
                <a:cubicBezTo>
                  <a:pt x="2547736" y="2734295"/>
                  <a:pt x="2544919" y="2737111"/>
                  <a:pt x="2544919" y="2740612"/>
                </a:cubicBezTo>
                <a:cubicBezTo>
                  <a:pt x="2544919" y="2744114"/>
                  <a:pt x="2547736" y="2746930"/>
                  <a:pt x="2551237" y="2746930"/>
                </a:cubicBezTo>
                <a:cubicBezTo>
                  <a:pt x="2554738" y="2746930"/>
                  <a:pt x="2557554" y="2744114"/>
                  <a:pt x="2557554" y="2740612"/>
                </a:cubicBezTo>
                <a:moveTo>
                  <a:pt x="2389492" y="2712145"/>
                </a:moveTo>
                <a:cubicBezTo>
                  <a:pt x="2389492" y="2708948"/>
                  <a:pt x="2386904" y="2706360"/>
                  <a:pt x="2383707" y="2706360"/>
                </a:cubicBezTo>
                <a:cubicBezTo>
                  <a:pt x="2380510" y="2706360"/>
                  <a:pt x="2377922" y="2708948"/>
                  <a:pt x="2377922" y="2712145"/>
                </a:cubicBezTo>
                <a:cubicBezTo>
                  <a:pt x="2377922" y="2715342"/>
                  <a:pt x="2380510" y="2717930"/>
                  <a:pt x="2383707" y="2717930"/>
                </a:cubicBezTo>
                <a:cubicBezTo>
                  <a:pt x="2386904" y="2717930"/>
                  <a:pt x="2389492" y="2715342"/>
                  <a:pt x="2389492" y="2712145"/>
                </a:cubicBezTo>
                <a:moveTo>
                  <a:pt x="2218764" y="2702631"/>
                </a:moveTo>
                <a:cubicBezTo>
                  <a:pt x="2218764" y="2700043"/>
                  <a:pt x="2216634" y="2697911"/>
                  <a:pt x="2214045" y="2697911"/>
                </a:cubicBezTo>
                <a:cubicBezTo>
                  <a:pt x="2211458" y="2697911"/>
                  <a:pt x="2209326" y="2700043"/>
                  <a:pt x="2209326" y="2702631"/>
                </a:cubicBezTo>
                <a:cubicBezTo>
                  <a:pt x="2209326" y="2705219"/>
                  <a:pt x="2211458" y="2707350"/>
                  <a:pt x="2214045" y="2707350"/>
                </a:cubicBezTo>
                <a:cubicBezTo>
                  <a:pt x="2216634" y="2707350"/>
                  <a:pt x="2218764" y="2705219"/>
                  <a:pt x="2218764" y="2702631"/>
                </a:cubicBezTo>
                <a:moveTo>
                  <a:pt x="2048570" y="2712145"/>
                </a:moveTo>
                <a:cubicBezTo>
                  <a:pt x="2048570" y="2709862"/>
                  <a:pt x="2046667" y="2707959"/>
                  <a:pt x="2044384" y="2707959"/>
                </a:cubicBezTo>
                <a:cubicBezTo>
                  <a:pt x="2042101" y="2707959"/>
                  <a:pt x="2040198" y="2709862"/>
                  <a:pt x="2040198" y="2712145"/>
                </a:cubicBezTo>
                <a:cubicBezTo>
                  <a:pt x="2040198" y="2714429"/>
                  <a:pt x="2042101" y="2716331"/>
                  <a:pt x="2044384" y="2716331"/>
                </a:cubicBezTo>
                <a:cubicBezTo>
                  <a:pt x="2046667" y="2716331"/>
                  <a:pt x="2048570" y="2714505"/>
                  <a:pt x="2048570" y="2712145"/>
                </a:cubicBezTo>
                <a:moveTo>
                  <a:pt x="1879975" y="2740612"/>
                </a:moveTo>
                <a:cubicBezTo>
                  <a:pt x="1879975" y="2738862"/>
                  <a:pt x="1878529" y="2737491"/>
                  <a:pt x="1876854" y="2737491"/>
                </a:cubicBezTo>
                <a:cubicBezTo>
                  <a:pt x="1875103" y="2737491"/>
                  <a:pt x="1873657" y="2738938"/>
                  <a:pt x="1873657" y="2740612"/>
                </a:cubicBezTo>
                <a:cubicBezTo>
                  <a:pt x="1873657" y="2742363"/>
                  <a:pt x="1875103" y="2743733"/>
                  <a:pt x="1876854" y="2743733"/>
                </a:cubicBezTo>
                <a:cubicBezTo>
                  <a:pt x="1878529" y="2743809"/>
                  <a:pt x="1879975" y="2742363"/>
                  <a:pt x="1879975" y="2740612"/>
                </a:cubicBezTo>
                <a:moveTo>
                  <a:pt x="1716098" y="2787652"/>
                </a:moveTo>
                <a:cubicBezTo>
                  <a:pt x="1716098" y="2786205"/>
                  <a:pt x="1714880" y="2784987"/>
                  <a:pt x="1713434" y="2784987"/>
                </a:cubicBezTo>
                <a:cubicBezTo>
                  <a:pt x="1711988" y="2784987"/>
                  <a:pt x="1710846" y="2786205"/>
                  <a:pt x="1710846" y="2787652"/>
                </a:cubicBezTo>
                <a:cubicBezTo>
                  <a:pt x="1710846" y="2789098"/>
                  <a:pt x="1711988" y="2790239"/>
                  <a:pt x="1713434" y="2790239"/>
                </a:cubicBezTo>
                <a:cubicBezTo>
                  <a:pt x="1714880" y="2790239"/>
                  <a:pt x="1716098" y="2789098"/>
                  <a:pt x="1716098" y="2787652"/>
                </a:cubicBezTo>
                <a:moveTo>
                  <a:pt x="1558082" y="2852730"/>
                </a:moveTo>
                <a:cubicBezTo>
                  <a:pt x="1558082" y="2851893"/>
                  <a:pt x="1557398" y="2851132"/>
                  <a:pt x="1556484" y="2851132"/>
                </a:cubicBezTo>
                <a:cubicBezTo>
                  <a:pt x="1555571" y="2851132"/>
                  <a:pt x="1554886" y="2851817"/>
                  <a:pt x="1554886" y="2852730"/>
                </a:cubicBezTo>
                <a:cubicBezTo>
                  <a:pt x="1554886" y="2853568"/>
                  <a:pt x="1555571" y="2854329"/>
                  <a:pt x="1556484" y="2854329"/>
                </a:cubicBezTo>
                <a:cubicBezTo>
                  <a:pt x="1557398" y="2854329"/>
                  <a:pt x="1558082" y="2853568"/>
                  <a:pt x="1558082" y="2852730"/>
                </a:cubicBezTo>
                <a:moveTo>
                  <a:pt x="1408820" y="2934935"/>
                </a:moveTo>
                <a:cubicBezTo>
                  <a:pt x="1408820" y="2934326"/>
                  <a:pt x="1408364" y="2933869"/>
                  <a:pt x="1407754" y="2933869"/>
                </a:cubicBezTo>
                <a:cubicBezTo>
                  <a:pt x="1407146" y="2933869"/>
                  <a:pt x="1406689" y="2934326"/>
                  <a:pt x="1406689" y="2934935"/>
                </a:cubicBezTo>
                <a:cubicBezTo>
                  <a:pt x="1406689" y="2935544"/>
                  <a:pt x="1407146" y="2936000"/>
                  <a:pt x="1407754" y="2936000"/>
                </a:cubicBezTo>
                <a:cubicBezTo>
                  <a:pt x="1408364" y="2936000"/>
                  <a:pt x="1408820" y="2935468"/>
                  <a:pt x="1408820" y="2934935"/>
                </a:cubicBezTo>
                <a:moveTo>
                  <a:pt x="1269681" y="3033276"/>
                </a:moveTo>
                <a:cubicBezTo>
                  <a:pt x="1269681" y="3032972"/>
                  <a:pt x="1269453" y="3032743"/>
                  <a:pt x="1269149" y="3032743"/>
                </a:cubicBezTo>
                <a:cubicBezTo>
                  <a:pt x="1268844" y="3032743"/>
                  <a:pt x="1268616" y="3032972"/>
                  <a:pt x="1268616" y="3033276"/>
                </a:cubicBezTo>
                <a:cubicBezTo>
                  <a:pt x="1268616" y="3033580"/>
                  <a:pt x="1268844" y="3033809"/>
                  <a:pt x="1269149" y="3033809"/>
                </a:cubicBezTo>
                <a:cubicBezTo>
                  <a:pt x="1269453" y="3033733"/>
                  <a:pt x="1269681" y="3033504"/>
                  <a:pt x="1269681" y="3033276"/>
                </a:cubicBezTo>
                <a:moveTo>
                  <a:pt x="3435013" y="5408458"/>
                </a:moveTo>
                <a:cubicBezTo>
                  <a:pt x="3435013" y="5408154"/>
                  <a:pt x="3434784" y="5407925"/>
                  <a:pt x="3434481" y="5407925"/>
                </a:cubicBezTo>
                <a:cubicBezTo>
                  <a:pt x="3434176" y="5407925"/>
                  <a:pt x="3433947" y="5408154"/>
                  <a:pt x="3433947" y="5408458"/>
                </a:cubicBezTo>
                <a:cubicBezTo>
                  <a:pt x="3433947" y="5408762"/>
                  <a:pt x="3434176" y="5408991"/>
                  <a:pt x="3434481" y="5408991"/>
                </a:cubicBezTo>
                <a:cubicBezTo>
                  <a:pt x="3434784" y="5408991"/>
                  <a:pt x="3435013" y="5408686"/>
                  <a:pt x="3435013" y="5408458"/>
                </a:cubicBezTo>
                <a:moveTo>
                  <a:pt x="3547436" y="5280965"/>
                </a:moveTo>
                <a:cubicBezTo>
                  <a:pt x="3547436" y="5280660"/>
                  <a:pt x="3547207" y="5280432"/>
                  <a:pt x="3546902" y="5280432"/>
                </a:cubicBezTo>
                <a:cubicBezTo>
                  <a:pt x="3546598" y="5280432"/>
                  <a:pt x="3546370" y="5280660"/>
                  <a:pt x="3546370" y="5280965"/>
                </a:cubicBezTo>
                <a:cubicBezTo>
                  <a:pt x="3546370" y="5281269"/>
                  <a:pt x="3546598" y="5281498"/>
                  <a:pt x="3546902" y="5281498"/>
                </a:cubicBezTo>
                <a:cubicBezTo>
                  <a:pt x="3547207" y="5281498"/>
                  <a:pt x="3547436" y="5281269"/>
                  <a:pt x="3547436" y="5280965"/>
                </a:cubicBezTo>
                <a:moveTo>
                  <a:pt x="3647147" y="5142967"/>
                </a:moveTo>
                <a:cubicBezTo>
                  <a:pt x="3647147" y="5142358"/>
                  <a:pt x="3646689" y="5141902"/>
                  <a:pt x="3646081" y="5141902"/>
                </a:cubicBezTo>
                <a:cubicBezTo>
                  <a:pt x="3645472" y="5141902"/>
                  <a:pt x="3645015" y="5142358"/>
                  <a:pt x="3645015" y="5142967"/>
                </a:cubicBezTo>
                <a:cubicBezTo>
                  <a:pt x="3645015" y="5143577"/>
                  <a:pt x="3645472" y="5144033"/>
                  <a:pt x="3646081" y="5144033"/>
                </a:cubicBezTo>
                <a:cubicBezTo>
                  <a:pt x="3646689" y="5144033"/>
                  <a:pt x="3647147" y="5143577"/>
                  <a:pt x="3647147" y="5142967"/>
                </a:cubicBezTo>
                <a:moveTo>
                  <a:pt x="3732700" y="4995836"/>
                </a:moveTo>
                <a:cubicBezTo>
                  <a:pt x="3732700" y="4994999"/>
                  <a:pt x="3732016" y="4994238"/>
                  <a:pt x="3731102" y="4994238"/>
                </a:cubicBezTo>
                <a:cubicBezTo>
                  <a:pt x="3730265" y="4994238"/>
                  <a:pt x="3729503" y="4994923"/>
                  <a:pt x="3729503" y="4995836"/>
                </a:cubicBezTo>
                <a:cubicBezTo>
                  <a:pt x="3729503" y="4996673"/>
                  <a:pt x="3730189" y="4997435"/>
                  <a:pt x="3731102" y="4997435"/>
                </a:cubicBezTo>
                <a:cubicBezTo>
                  <a:pt x="3731939" y="4997359"/>
                  <a:pt x="3732700" y="4996673"/>
                  <a:pt x="3732700" y="4995836"/>
                </a:cubicBezTo>
                <a:moveTo>
                  <a:pt x="3803640" y="4840865"/>
                </a:moveTo>
                <a:cubicBezTo>
                  <a:pt x="3803640" y="4839419"/>
                  <a:pt x="3802498" y="4838201"/>
                  <a:pt x="3801052" y="4838201"/>
                </a:cubicBezTo>
                <a:cubicBezTo>
                  <a:pt x="3799606" y="4838201"/>
                  <a:pt x="3798388" y="4839419"/>
                  <a:pt x="3798388" y="4840865"/>
                </a:cubicBezTo>
                <a:cubicBezTo>
                  <a:pt x="3798388" y="4842312"/>
                  <a:pt x="3799606" y="4843453"/>
                  <a:pt x="3801052" y="4843453"/>
                </a:cubicBezTo>
                <a:cubicBezTo>
                  <a:pt x="3802498" y="4843529"/>
                  <a:pt x="3803640" y="4842312"/>
                  <a:pt x="3803640" y="4840865"/>
                </a:cubicBezTo>
                <a:moveTo>
                  <a:pt x="3858291" y="4679805"/>
                </a:moveTo>
                <a:cubicBezTo>
                  <a:pt x="3858291" y="4678054"/>
                  <a:pt x="3856845" y="4676684"/>
                  <a:pt x="3855170" y="4676684"/>
                </a:cubicBezTo>
                <a:cubicBezTo>
                  <a:pt x="3853419" y="4676684"/>
                  <a:pt x="3852050" y="4678054"/>
                  <a:pt x="3852050" y="4679805"/>
                </a:cubicBezTo>
                <a:cubicBezTo>
                  <a:pt x="3852050" y="4681556"/>
                  <a:pt x="3853495" y="4682926"/>
                  <a:pt x="3855170" y="4682926"/>
                </a:cubicBezTo>
                <a:cubicBezTo>
                  <a:pt x="3856845" y="4682926"/>
                  <a:pt x="3858291" y="4681556"/>
                  <a:pt x="3858291" y="4679805"/>
                </a:cubicBezTo>
                <a:moveTo>
                  <a:pt x="3897186" y="4514102"/>
                </a:moveTo>
                <a:cubicBezTo>
                  <a:pt x="3897186" y="4511818"/>
                  <a:pt x="3895283" y="4509916"/>
                  <a:pt x="3893000" y="4509916"/>
                </a:cubicBezTo>
                <a:cubicBezTo>
                  <a:pt x="3890716" y="4509916"/>
                  <a:pt x="3888813" y="4511818"/>
                  <a:pt x="3888813" y="4514102"/>
                </a:cubicBezTo>
                <a:cubicBezTo>
                  <a:pt x="3888813" y="4516385"/>
                  <a:pt x="3890716" y="4518288"/>
                  <a:pt x="3893000" y="4518288"/>
                </a:cubicBezTo>
                <a:cubicBezTo>
                  <a:pt x="3895283" y="4518288"/>
                  <a:pt x="3897186" y="4516385"/>
                  <a:pt x="3897186" y="4514102"/>
                </a:cubicBezTo>
                <a:moveTo>
                  <a:pt x="3919335" y="4345430"/>
                </a:moveTo>
                <a:cubicBezTo>
                  <a:pt x="3919335" y="4342538"/>
                  <a:pt x="3916975" y="4340178"/>
                  <a:pt x="3914083" y="4340178"/>
                </a:cubicBezTo>
                <a:cubicBezTo>
                  <a:pt x="3911191" y="4340178"/>
                  <a:pt x="3908831" y="4342538"/>
                  <a:pt x="3908831" y="4345430"/>
                </a:cubicBezTo>
                <a:cubicBezTo>
                  <a:pt x="3908831" y="4348322"/>
                  <a:pt x="3911191" y="4350682"/>
                  <a:pt x="3914083" y="4350682"/>
                </a:cubicBezTo>
                <a:cubicBezTo>
                  <a:pt x="3916975" y="4350682"/>
                  <a:pt x="3919335" y="4348322"/>
                  <a:pt x="3919335" y="4345430"/>
                </a:cubicBezTo>
                <a:moveTo>
                  <a:pt x="3924663" y="4175540"/>
                </a:moveTo>
                <a:cubicBezTo>
                  <a:pt x="3924663" y="4172039"/>
                  <a:pt x="3921847" y="4169223"/>
                  <a:pt x="3918346" y="4169223"/>
                </a:cubicBezTo>
                <a:cubicBezTo>
                  <a:pt x="3914845" y="4169223"/>
                  <a:pt x="3912029" y="4172039"/>
                  <a:pt x="3912029" y="4175540"/>
                </a:cubicBezTo>
                <a:cubicBezTo>
                  <a:pt x="3912029" y="4179041"/>
                  <a:pt x="3914845" y="4181858"/>
                  <a:pt x="3918346" y="4181858"/>
                </a:cubicBezTo>
                <a:cubicBezTo>
                  <a:pt x="3921847" y="4181858"/>
                  <a:pt x="3924663" y="4179041"/>
                  <a:pt x="3924663" y="4175540"/>
                </a:cubicBezTo>
                <a:moveTo>
                  <a:pt x="3912485" y="4006031"/>
                </a:moveTo>
                <a:cubicBezTo>
                  <a:pt x="3912485" y="4002225"/>
                  <a:pt x="3909440" y="3999181"/>
                  <a:pt x="3905634" y="3999181"/>
                </a:cubicBezTo>
                <a:cubicBezTo>
                  <a:pt x="3901905" y="3999181"/>
                  <a:pt x="3898785" y="4002225"/>
                  <a:pt x="3898785" y="4006031"/>
                </a:cubicBezTo>
                <a:cubicBezTo>
                  <a:pt x="3898785" y="4009837"/>
                  <a:pt x="3901829" y="4012881"/>
                  <a:pt x="3905634" y="4012881"/>
                </a:cubicBezTo>
                <a:cubicBezTo>
                  <a:pt x="3909364" y="4012881"/>
                  <a:pt x="3912485" y="4009837"/>
                  <a:pt x="3912485" y="4006031"/>
                </a:cubicBezTo>
                <a:moveTo>
                  <a:pt x="3884018" y="3838653"/>
                </a:moveTo>
                <a:cubicBezTo>
                  <a:pt x="3884018" y="3834315"/>
                  <a:pt x="3880517" y="3830737"/>
                  <a:pt x="3876101" y="3830737"/>
                </a:cubicBezTo>
                <a:cubicBezTo>
                  <a:pt x="3871763" y="3830737"/>
                  <a:pt x="3868262" y="3834239"/>
                  <a:pt x="3868262" y="3838653"/>
                </a:cubicBezTo>
                <a:cubicBezTo>
                  <a:pt x="3868262" y="3842992"/>
                  <a:pt x="3871763" y="3846493"/>
                  <a:pt x="3876101" y="3846493"/>
                </a:cubicBezTo>
                <a:cubicBezTo>
                  <a:pt x="3880441" y="3846569"/>
                  <a:pt x="3884018" y="3842992"/>
                  <a:pt x="3884018" y="3838653"/>
                </a:cubicBezTo>
                <a:moveTo>
                  <a:pt x="3838501" y="3675081"/>
                </a:moveTo>
                <a:cubicBezTo>
                  <a:pt x="3838501" y="3670438"/>
                  <a:pt x="3834771" y="3666709"/>
                  <a:pt x="3830128" y="3666709"/>
                </a:cubicBezTo>
                <a:cubicBezTo>
                  <a:pt x="3825485" y="3666709"/>
                  <a:pt x="3821755" y="3670438"/>
                  <a:pt x="3821755" y="3675081"/>
                </a:cubicBezTo>
                <a:cubicBezTo>
                  <a:pt x="3821755" y="3679724"/>
                  <a:pt x="3825485" y="3683454"/>
                  <a:pt x="3830128" y="3683454"/>
                </a:cubicBezTo>
                <a:cubicBezTo>
                  <a:pt x="3834771" y="3683454"/>
                  <a:pt x="3838501" y="3679724"/>
                  <a:pt x="3838501" y="3675081"/>
                </a:cubicBezTo>
                <a:moveTo>
                  <a:pt x="3777456" y="3516837"/>
                </a:moveTo>
                <a:cubicBezTo>
                  <a:pt x="3777456" y="3511585"/>
                  <a:pt x="3773194" y="3507399"/>
                  <a:pt x="3768018" y="3507399"/>
                </a:cubicBezTo>
                <a:cubicBezTo>
                  <a:pt x="3762766" y="3507399"/>
                  <a:pt x="3758580" y="3511661"/>
                  <a:pt x="3758580" y="3516837"/>
                </a:cubicBezTo>
                <a:cubicBezTo>
                  <a:pt x="3758580" y="3522089"/>
                  <a:pt x="3762842" y="3526276"/>
                  <a:pt x="3768018" y="3526276"/>
                </a:cubicBezTo>
                <a:cubicBezTo>
                  <a:pt x="3773194" y="3526352"/>
                  <a:pt x="3777456" y="3522089"/>
                  <a:pt x="3777456" y="3516837"/>
                </a:cubicBezTo>
                <a:moveTo>
                  <a:pt x="3700427" y="3365596"/>
                </a:moveTo>
                <a:cubicBezTo>
                  <a:pt x="3700427" y="3360116"/>
                  <a:pt x="3695937" y="3355625"/>
                  <a:pt x="3690456" y="3355625"/>
                </a:cubicBezTo>
                <a:cubicBezTo>
                  <a:pt x="3684976" y="3355625"/>
                  <a:pt x="3680485" y="3360116"/>
                  <a:pt x="3680485" y="3365596"/>
                </a:cubicBezTo>
                <a:cubicBezTo>
                  <a:pt x="3680485" y="3371076"/>
                  <a:pt x="3684976" y="3375567"/>
                  <a:pt x="3690456" y="3375567"/>
                </a:cubicBezTo>
                <a:cubicBezTo>
                  <a:pt x="3695937" y="3375643"/>
                  <a:pt x="3700427" y="3371152"/>
                  <a:pt x="3700427" y="3365596"/>
                </a:cubicBezTo>
                <a:moveTo>
                  <a:pt x="3608708" y="3222879"/>
                </a:moveTo>
                <a:cubicBezTo>
                  <a:pt x="3608708" y="3217095"/>
                  <a:pt x="3603989" y="3212376"/>
                  <a:pt x="3598204" y="3212376"/>
                </a:cubicBezTo>
                <a:cubicBezTo>
                  <a:pt x="3592420" y="3212376"/>
                  <a:pt x="3587700" y="3217095"/>
                  <a:pt x="3587700" y="3222879"/>
                </a:cubicBezTo>
                <a:cubicBezTo>
                  <a:pt x="3587700" y="3228664"/>
                  <a:pt x="3592420" y="3233383"/>
                  <a:pt x="3598204" y="3233383"/>
                </a:cubicBezTo>
                <a:cubicBezTo>
                  <a:pt x="3604065" y="3233383"/>
                  <a:pt x="3608708" y="3228664"/>
                  <a:pt x="3608708" y="3222879"/>
                </a:cubicBezTo>
                <a:moveTo>
                  <a:pt x="3502756" y="3089982"/>
                </a:moveTo>
                <a:cubicBezTo>
                  <a:pt x="3502756" y="3084197"/>
                  <a:pt x="3498037" y="3079478"/>
                  <a:pt x="3492252" y="3079478"/>
                </a:cubicBezTo>
                <a:cubicBezTo>
                  <a:pt x="3486467" y="3079478"/>
                  <a:pt x="3481748" y="3084197"/>
                  <a:pt x="3481748" y="3089982"/>
                </a:cubicBezTo>
                <a:cubicBezTo>
                  <a:pt x="3481748" y="3095767"/>
                  <a:pt x="3486467" y="3100486"/>
                  <a:pt x="3492252" y="3100486"/>
                </a:cubicBezTo>
                <a:cubicBezTo>
                  <a:pt x="3498037" y="3100486"/>
                  <a:pt x="3502756" y="3095767"/>
                  <a:pt x="3502756" y="3089982"/>
                </a:cubicBezTo>
                <a:moveTo>
                  <a:pt x="3384091" y="2968274"/>
                </a:moveTo>
                <a:cubicBezTo>
                  <a:pt x="3384091" y="2962489"/>
                  <a:pt x="3379372" y="2957770"/>
                  <a:pt x="3373588" y="2957770"/>
                </a:cubicBezTo>
                <a:cubicBezTo>
                  <a:pt x="3367803" y="2957770"/>
                  <a:pt x="3363084" y="2962489"/>
                  <a:pt x="3363084" y="2968274"/>
                </a:cubicBezTo>
                <a:cubicBezTo>
                  <a:pt x="3363084" y="2974058"/>
                  <a:pt x="3367803" y="2978777"/>
                  <a:pt x="3373588" y="2978777"/>
                </a:cubicBezTo>
                <a:cubicBezTo>
                  <a:pt x="3379372" y="2978777"/>
                  <a:pt x="3384091" y="2974134"/>
                  <a:pt x="3384091" y="2968274"/>
                </a:cubicBezTo>
                <a:moveTo>
                  <a:pt x="3253934" y="2859048"/>
                </a:moveTo>
                <a:cubicBezTo>
                  <a:pt x="3253934" y="2853263"/>
                  <a:pt x="3249215" y="2848544"/>
                  <a:pt x="3243430" y="2848544"/>
                </a:cubicBezTo>
                <a:cubicBezTo>
                  <a:pt x="3237645" y="2848544"/>
                  <a:pt x="3232926" y="2853263"/>
                  <a:pt x="3232926" y="2859048"/>
                </a:cubicBezTo>
                <a:cubicBezTo>
                  <a:pt x="3232926" y="2864833"/>
                  <a:pt x="3237645" y="2869552"/>
                  <a:pt x="3243430" y="2869552"/>
                </a:cubicBezTo>
                <a:cubicBezTo>
                  <a:pt x="3249215" y="2869552"/>
                  <a:pt x="3253934" y="2864833"/>
                  <a:pt x="3253934" y="2859048"/>
                </a:cubicBezTo>
                <a:moveTo>
                  <a:pt x="3112968" y="2763295"/>
                </a:moveTo>
                <a:cubicBezTo>
                  <a:pt x="3112968" y="2757814"/>
                  <a:pt x="3108478" y="2753323"/>
                  <a:pt x="3102998" y="2753323"/>
                </a:cubicBezTo>
                <a:cubicBezTo>
                  <a:pt x="3097517" y="2753323"/>
                  <a:pt x="3093026" y="2757814"/>
                  <a:pt x="3093026" y="2763295"/>
                </a:cubicBezTo>
                <a:cubicBezTo>
                  <a:pt x="3093026" y="2768775"/>
                  <a:pt x="3097517" y="2773266"/>
                  <a:pt x="3102998" y="2773266"/>
                </a:cubicBezTo>
                <a:cubicBezTo>
                  <a:pt x="3108478" y="2773266"/>
                  <a:pt x="3112968" y="2768851"/>
                  <a:pt x="3112968" y="2763295"/>
                </a:cubicBezTo>
                <a:moveTo>
                  <a:pt x="2963174" y="2682003"/>
                </a:moveTo>
                <a:cubicBezTo>
                  <a:pt x="2963174" y="2676751"/>
                  <a:pt x="2958911" y="2672565"/>
                  <a:pt x="2953735" y="2672565"/>
                </a:cubicBezTo>
                <a:cubicBezTo>
                  <a:pt x="2948483" y="2672565"/>
                  <a:pt x="2944297" y="2676827"/>
                  <a:pt x="2944297" y="2682003"/>
                </a:cubicBezTo>
                <a:cubicBezTo>
                  <a:pt x="2944297" y="2687255"/>
                  <a:pt x="2948559" y="2691442"/>
                  <a:pt x="2953735" y="2691442"/>
                </a:cubicBezTo>
                <a:cubicBezTo>
                  <a:pt x="2958911" y="2691518"/>
                  <a:pt x="2963174" y="2687255"/>
                  <a:pt x="2963174" y="2682003"/>
                </a:cubicBezTo>
                <a:moveTo>
                  <a:pt x="2806071" y="2616011"/>
                </a:moveTo>
                <a:cubicBezTo>
                  <a:pt x="2806071" y="2611064"/>
                  <a:pt x="2802113" y="2607106"/>
                  <a:pt x="2797165" y="2607106"/>
                </a:cubicBezTo>
                <a:cubicBezTo>
                  <a:pt x="2792219" y="2607106"/>
                  <a:pt x="2788260" y="2611140"/>
                  <a:pt x="2788260" y="2616011"/>
                </a:cubicBezTo>
                <a:cubicBezTo>
                  <a:pt x="2788260" y="2620959"/>
                  <a:pt x="2792219" y="2624917"/>
                  <a:pt x="2797165" y="2624917"/>
                </a:cubicBezTo>
                <a:cubicBezTo>
                  <a:pt x="2802037" y="2624917"/>
                  <a:pt x="2806071" y="2620959"/>
                  <a:pt x="2806071" y="2616011"/>
                </a:cubicBezTo>
                <a:moveTo>
                  <a:pt x="2642575" y="2565927"/>
                </a:moveTo>
                <a:cubicBezTo>
                  <a:pt x="2642575" y="2561589"/>
                  <a:pt x="2639074" y="2558011"/>
                  <a:pt x="2634735" y="2558011"/>
                </a:cubicBezTo>
                <a:cubicBezTo>
                  <a:pt x="2630397" y="2558011"/>
                  <a:pt x="2626819" y="2561513"/>
                  <a:pt x="2626819" y="2565927"/>
                </a:cubicBezTo>
                <a:cubicBezTo>
                  <a:pt x="2626819" y="2570266"/>
                  <a:pt x="2630321" y="2573767"/>
                  <a:pt x="2634735" y="2573767"/>
                </a:cubicBezTo>
                <a:cubicBezTo>
                  <a:pt x="2639074" y="2573767"/>
                  <a:pt x="2642575" y="2570266"/>
                  <a:pt x="2642575" y="2565927"/>
                </a:cubicBezTo>
                <a:moveTo>
                  <a:pt x="2475426" y="2532208"/>
                </a:moveTo>
                <a:cubicBezTo>
                  <a:pt x="2475426" y="2528174"/>
                  <a:pt x="2472153" y="2524825"/>
                  <a:pt x="2468042" y="2524825"/>
                </a:cubicBezTo>
                <a:cubicBezTo>
                  <a:pt x="2464009" y="2524825"/>
                  <a:pt x="2460659" y="2528098"/>
                  <a:pt x="2460659" y="2532208"/>
                </a:cubicBezTo>
                <a:cubicBezTo>
                  <a:pt x="2460659" y="2536242"/>
                  <a:pt x="2463933" y="2539591"/>
                  <a:pt x="2468042" y="2539591"/>
                </a:cubicBezTo>
                <a:cubicBezTo>
                  <a:pt x="2472153" y="2539591"/>
                  <a:pt x="2475426" y="2536318"/>
                  <a:pt x="2475426" y="2532208"/>
                </a:cubicBezTo>
                <a:moveTo>
                  <a:pt x="2305308" y="2515311"/>
                </a:moveTo>
                <a:cubicBezTo>
                  <a:pt x="2305308" y="2511809"/>
                  <a:pt x="2302491" y="2508993"/>
                  <a:pt x="2298990" y="2508993"/>
                </a:cubicBezTo>
                <a:cubicBezTo>
                  <a:pt x="2295489" y="2508993"/>
                  <a:pt x="2292673" y="2511809"/>
                  <a:pt x="2292673" y="2515311"/>
                </a:cubicBezTo>
                <a:cubicBezTo>
                  <a:pt x="2292673" y="2518812"/>
                  <a:pt x="2295489" y="2521628"/>
                  <a:pt x="2298990" y="2521628"/>
                </a:cubicBezTo>
                <a:cubicBezTo>
                  <a:pt x="2302491" y="2521628"/>
                  <a:pt x="2305308" y="2518812"/>
                  <a:pt x="2305308" y="2515311"/>
                </a:cubicBezTo>
                <a:moveTo>
                  <a:pt x="2134276" y="2515311"/>
                </a:moveTo>
                <a:cubicBezTo>
                  <a:pt x="2134276" y="2512418"/>
                  <a:pt x="2131917" y="2510059"/>
                  <a:pt x="2129025" y="2510059"/>
                </a:cubicBezTo>
                <a:cubicBezTo>
                  <a:pt x="2126132" y="2510059"/>
                  <a:pt x="2123772" y="2512418"/>
                  <a:pt x="2123772" y="2515311"/>
                </a:cubicBezTo>
                <a:cubicBezTo>
                  <a:pt x="2123772" y="2518203"/>
                  <a:pt x="2126132" y="2520563"/>
                  <a:pt x="2129025" y="2520563"/>
                </a:cubicBezTo>
                <a:cubicBezTo>
                  <a:pt x="2131917" y="2520563"/>
                  <a:pt x="2134276" y="2518203"/>
                  <a:pt x="2134276" y="2515311"/>
                </a:cubicBezTo>
                <a:moveTo>
                  <a:pt x="1964082" y="2532208"/>
                </a:moveTo>
                <a:cubicBezTo>
                  <a:pt x="1964082" y="2529849"/>
                  <a:pt x="1962179" y="2528022"/>
                  <a:pt x="1959896" y="2528022"/>
                </a:cubicBezTo>
                <a:cubicBezTo>
                  <a:pt x="1957613" y="2528022"/>
                  <a:pt x="1955710" y="2529925"/>
                  <a:pt x="1955710" y="2532208"/>
                </a:cubicBezTo>
                <a:cubicBezTo>
                  <a:pt x="1955710" y="2534492"/>
                  <a:pt x="1957613" y="2536394"/>
                  <a:pt x="1959896" y="2536394"/>
                </a:cubicBezTo>
                <a:cubicBezTo>
                  <a:pt x="1962179" y="2536394"/>
                  <a:pt x="1964082" y="2534568"/>
                  <a:pt x="1964082" y="2532208"/>
                </a:cubicBezTo>
                <a:moveTo>
                  <a:pt x="1797009" y="2565927"/>
                </a:moveTo>
                <a:cubicBezTo>
                  <a:pt x="1797009" y="2563872"/>
                  <a:pt x="1795335" y="2562274"/>
                  <a:pt x="1793355" y="2562274"/>
                </a:cubicBezTo>
                <a:cubicBezTo>
                  <a:pt x="1791300" y="2562274"/>
                  <a:pt x="1789702" y="2563948"/>
                  <a:pt x="1789702" y="2565927"/>
                </a:cubicBezTo>
                <a:cubicBezTo>
                  <a:pt x="1789702" y="2567983"/>
                  <a:pt x="1791376" y="2569581"/>
                  <a:pt x="1793355" y="2569581"/>
                </a:cubicBezTo>
                <a:cubicBezTo>
                  <a:pt x="1795335" y="2569581"/>
                  <a:pt x="1797009" y="2567983"/>
                  <a:pt x="1797009" y="2565927"/>
                </a:cubicBezTo>
                <a:moveTo>
                  <a:pt x="1633513" y="2616011"/>
                </a:moveTo>
                <a:cubicBezTo>
                  <a:pt x="1633513" y="2614565"/>
                  <a:pt x="1632371" y="2613423"/>
                  <a:pt x="1630925" y="2613423"/>
                </a:cubicBezTo>
                <a:cubicBezTo>
                  <a:pt x="1629479" y="2613423"/>
                  <a:pt x="1628261" y="2614565"/>
                  <a:pt x="1628261" y="2616011"/>
                </a:cubicBezTo>
                <a:cubicBezTo>
                  <a:pt x="1628261" y="2617458"/>
                  <a:pt x="1629403" y="2618675"/>
                  <a:pt x="1630925" y="2618675"/>
                </a:cubicBezTo>
                <a:cubicBezTo>
                  <a:pt x="1632371" y="2618675"/>
                  <a:pt x="1633513" y="2617458"/>
                  <a:pt x="1633513" y="2616011"/>
                </a:cubicBezTo>
                <a:moveTo>
                  <a:pt x="1476411" y="2682003"/>
                </a:moveTo>
                <a:cubicBezTo>
                  <a:pt x="1476411" y="2680862"/>
                  <a:pt x="1475497" y="2679872"/>
                  <a:pt x="1474280" y="2679872"/>
                </a:cubicBezTo>
                <a:cubicBezTo>
                  <a:pt x="1473138" y="2679872"/>
                  <a:pt x="1472148" y="2680785"/>
                  <a:pt x="1472148" y="2682003"/>
                </a:cubicBezTo>
                <a:cubicBezTo>
                  <a:pt x="1472148" y="2683145"/>
                  <a:pt x="1473062" y="2684135"/>
                  <a:pt x="1474280" y="2684135"/>
                </a:cubicBezTo>
                <a:cubicBezTo>
                  <a:pt x="1475497" y="2684135"/>
                  <a:pt x="1476411" y="2683221"/>
                  <a:pt x="1476411" y="2682003"/>
                </a:cubicBezTo>
                <a:moveTo>
                  <a:pt x="1326083" y="2763295"/>
                </a:moveTo>
                <a:cubicBezTo>
                  <a:pt x="1326083" y="2762686"/>
                  <a:pt x="1325626" y="2762229"/>
                  <a:pt x="1325017" y="2762229"/>
                </a:cubicBezTo>
                <a:cubicBezTo>
                  <a:pt x="1324408" y="2762229"/>
                  <a:pt x="1323952" y="2762686"/>
                  <a:pt x="1323952" y="2763295"/>
                </a:cubicBezTo>
                <a:cubicBezTo>
                  <a:pt x="1323952" y="2763904"/>
                  <a:pt x="1324408" y="2764360"/>
                  <a:pt x="1325017" y="2764360"/>
                </a:cubicBezTo>
                <a:cubicBezTo>
                  <a:pt x="1325626" y="2764360"/>
                  <a:pt x="1326083" y="2763904"/>
                  <a:pt x="1326083" y="2763295"/>
                </a:cubicBezTo>
                <a:moveTo>
                  <a:pt x="1185117" y="2859048"/>
                </a:moveTo>
                <a:cubicBezTo>
                  <a:pt x="1185117" y="2858743"/>
                  <a:pt x="1184889" y="2858515"/>
                  <a:pt x="1184584" y="2858515"/>
                </a:cubicBezTo>
                <a:cubicBezTo>
                  <a:pt x="1184280" y="2858515"/>
                  <a:pt x="1184052" y="2858743"/>
                  <a:pt x="1184052" y="2859048"/>
                </a:cubicBezTo>
                <a:cubicBezTo>
                  <a:pt x="1184052" y="2859352"/>
                  <a:pt x="1184280" y="2859581"/>
                  <a:pt x="1184584" y="2859581"/>
                </a:cubicBezTo>
                <a:cubicBezTo>
                  <a:pt x="1184889" y="2859581"/>
                  <a:pt x="1185117" y="2859352"/>
                  <a:pt x="1185117" y="2859048"/>
                </a:cubicBezTo>
                <a:moveTo>
                  <a:pt x="1054960" y="2968274"/>
                </a:moveTo>
                <a:cubicBezTo>
                  <a:pt x="1054960" y="2967969"/>
                  <a:pt x="1054731" y="2967741"/>
                  <a:pt x="1054427" y="2967741"/>
                </a:cubicBezTo>
                <a:cubicBezTo>
                  <a:pt x="1054123" y="2967741"/>
                  <a:pt x="1053894" y="2967969"/>
                  <a:pt x="1053894" y="2968274"/>
                </a:cubicBezTo>
                <a:cubicBezTo>
                  <a:pt x="1053894" y="2968578"/>
                  <a:pt x="1054123" y="2968806"/>
                  <a:pt x="1054427" y="2968806"/>
                </a:cubicBezTo>
                <a:cubicBezTo>
                  <a:pt x="1054731" y="2968806"/>
                  <a:pt x="1054960" y="2968578"/>
                  <a:pt x="1054960" y="2968274"/>
                </a:cubicBezTo>
                <a:moveTo>
                  <a:pt x="3695556" y="5399096"/>
                </a:moveTo>
                <a:cubicBezTo>
                  <a:pt x="3695556" y="5398791"/>
                  <a:pt x="3695327" y="5398563"/>
                  <a:pt x="3695024" y="5398563"/>
                </a:cubicBezTo>
                <a:cubicBezTo>
                  <a:pt x="3694719" y="5398563"/>
                  <a:pt x="3694490" y="5398791"/>
                  <a:pt x="3694490" y="5399096"/>
                </a:cubicBezTo>
                <a:cubicBezTo>
                  <a:pt x="3694490" y="5399400"/>
                  <a:pt x="3694719" y="5399628"/>
                  <a:pt x="3695024" y="5399628"/>
                </a:cubicBezTo>
                <a:cubicBezTo>
                  <a:pt x="3695327" y="5399628"/>
                  <a:pt x="3695556" y="5399400"/>
                  <a:pt x="3695556" y="5399096"/>
                </a:cubicBezTo>
                <a:moveTo>
                  <a:pt x="3795953" y="5261632"/>
                </a:moveTo>
                <a:cubicBezTo>
                  <a:pt x="3795953" y="5261023"/>
                  <a:pt x="3795496" y="5260566"/>
                  <a:pt x="3794887" y="5260566"/>
                </a:cubicBezTo>
                <a:cubicBezTo>
                  <a:pt x="3794277" y="5260566"/>
                  <a:pt x="3793821" y="5261023"/>
                  <a:pt x="3793821" y="5261632"/>
                </a:cubicBezTo>
                <a:cubicBezTo>
                  <a:pt x="3793821" y="5262240"/>
                  <a:pt x="3794277" y="5262697"/>
                  <a:pt x="3794887" y="5262697"/>
                </a:cubicBezTo>
                <a:cubicBezTo>
                  <a:pt x="3795496" y="5262697"/>
                  <a:pt x="3795953" y="5262164"/>
                  <a:pt x="3795953" y="5261632"/>
                </a:cubicBezTo>
                <a:moveTo>
                  <a:pt x="3883637" y="5115718"/>
                </a:moveTo>
                <a:cubicBezTo>
                  <a:pt x="3883637" y="5114881"/>
                  <a:pt x="3882952" y="5114120"/>
                  <a:pt x="3882039" y="5114120"/>
                </a:cubicBezTo>
                <a:cubicBezTo>
                  <a:pt x="3881202" y="5114120"/>
                  <a:pt x="3880441" y="5114805"/>
                  <a:pt x="3880441" y="5115718"/>
                </a:cubicBezTo>
                <a:cubicBezTo>
                  <a:pt x="3880441" y="5116555"/>
                  <a:pt x="3881125" y="5117317"/>
                  <a:pt x="3882039" y="5117317"/>
                </a:cubicBezTo>
                <a:cubicBezTo>
                  <a:pt x="3882952" y="5117240"/>
                  <a:pt x="3883637" y="5116555"/>
                  <a:pt x="3883637" y="5115718"/>
                </a:cubicBezTo>
                <a:moveTo>
                  <a:pt x="3958459" y="4962574"/>
                </a:moveTo>
                <a:cubicBezTo>
                  <a:pt x="3958459" y="4961128"/>
                  <a:pt x="3957241" y="4959910"/>
                  <a:pt x="3955795" y="4959910"/>
                </a:cubicBezTo>
                <a:cubicBezTo>
                  <a:pt x="3954348" y="4959910"/>
                  <a:pt x="3953206" y="4961128"/>
                  <a:pt x="3953206" y="4962574"/>
                </a:cubicBezTo>
                <a:cubicBezTo>
                  <a:pt x="3953206" y="4964020"/>
                  <a:pt x="3954348" y="4965162"/>
                  <a:pt x="3955795" y="4965162"/>
                </a:cubicBezTo>
                <a:cubicBezTo>
                  <a:pt x="3957317" y="4965162"/>
                  <a:pt x="3958459" y="4964020"/>
                  <a:pt x="3958459" y="4962574"/>
                </a:cubicBezTo>
                <a:moveTo>
                  <a:pt x="4019275" y="4803417"/>
                </a:moveTo>
                <a:cubicBezTo>
                  <a:pt x="4019275" y="4801361"/>
                  <a:pt x="4017601" y="4799763"/>
                  <a:pt x="4015622" y="4799763"/>
                </a:cubicBezTo>
                <a:cubicBezTo>
                  <a:pt x="4013566" y="4799763"/>
                  <a:pt x="4011968" y="4801438"/>
                  <a:pt x="4011968" y="4803417"/>
                </a:cubicBezTo>
                <a:cubicBezTo>
                  <a:pt x="4011968" y="4805396"/>
                  <a:pt x="4013643" y="4807070"/>
                  <a:pt x="4015622" y="4807070"/>
                </a:cubicBezTo>
                <a:cubicBezTo>
                  <a:pt x="4017601" y="4807070"/>
                  <a:pt x="4019275" y="4805471"/>
                  <a:pt x="4019275" y="4803417"/>
                </a:cubicBezTo>
                <a:moveTo>
                  <a:pt x="4065020" y="4639540"/>
                </a:moveTo>
                <a:cubicBezTo>
                  <a:pt x="4065020" y="4637257"/>
                  <a:pt x="4063118" y="4635354"/>
                  <a:pt x="4060834" y="4635354"/>
                </a:cubicBezTo>
                <a:cubicBezTo>
                  <a:pt x="4058475" y="4635354"/>
                  <a:pt x="4056648" y="4637257"/>
                  <a:pt x="4056648" y="4639540"/>
                </a:cubicBezTo>
                <a:cubicBezTo>
                  <a:pt x="4056648" y="4641823"/>
                  <a:pt x="4058551" y="4643726"/>
                  <a:pt x="4060834" y="4643726"/>
                </a:cubicBezTo>
                <a:cubicBezTo>
                  <a:pt x="4063118" y="4643802"/>
                  <a:pt x="4065020" y="4641899"/>
                  <a:pt x="4065020" y="4639540"/>
                </a:cubicBezTo>
                <a:moveTo>
                  <a:pt x="4096380" y="4472315"/>
                </a:moveTo>
                <a:cubicBezTo>
                  <a:pt x="4096380" y="4469422"/>
                  <a:pt x="4094020" y="4467063"/>
                  <a:pt x="4091128" y="4467063"/>
                </a:cubicBezTo>
                <a:cubicBezTo>
                  <a:pt x="4088235" y="4467063"/>
                  <a:pt x="4085876" y="4469422"/>
                  <a:pt x="4085876" y="4472315"/>
                </a:cubicBezTo>
                <a:cubicBezTo>
                  <a:pt x="4085876" y="4475207"/>
                  <a:pt x="4088235" y="4477567"/>
                  <a:pt x="4091128" y="4477567"/>
                </a:cubicBezTo>
                <a:cubicBezTo>
                  <a:pt x="4094020" y="4477567"/>
                  <a:pt x="4096380" y="4475207"/>
                  <a:pt x="4096380" y="4472315"/>
                </a:cubicBezTo>
                <a:moveTo>
                  <a:pt x="4112669" y="4303034"/>
                </a:moveTo>
                <a:cubicBezTo>
                  <a:pt x="4112669" y="4299532"/>
                  <a:pt x="4109853" y="4296716"/>
                  <a:pt x="4106351" y="4296716"/>
                </a:cubicBezTo>
                <a:cubicBezTo>
                  <a:pt x="4102850" y="4296716"/>
                  <a:pt x="4100033" y="4299532"/>
                  <a:pt x="4100033" y="4303034"/>
                </a:cubicBezTo>
                <a:cubicBezTo>
                  <a:pt x="4100033" y="4306535"/>
                  <a:pt x="4102850" y="4309351"/>
                  <a:pt x="4106351" y="4309351"/>
                </a:cubicBezTo>
                <a:cubicBezTo>
                  <a:pt x="4109853" y="4309351"/>
                  <a:pt x="4112669" y="4306535"/>
                  <a:pt x="4112669" y="4303034"/>
                </a:cubicBezTo>
                <a:moveTo>
                  <a:pt x="4113735" y="4133068"/>
                </a:moveTo>
                <a:cubicBezTo>
                  <a:pt x="4113735" y="4129034"/>
                  <a:pt x="4110461" y="4125684"/>
                  <a:pt x="4106351" y="4125684"/>
                </a:cubicBezTo>
                <a:cubicBezTo>
                  <a:pt x="4102317" y="4125684"/>
                  <a:pt x="4098968" y="4128957"/>
                  <a:pt x="4098968" y="4133068"/>
                </a:cubicBezTo>
                <a:cubicBezTo>
                  <a:pt x="4098968" y="4137102"/>
                  <a:pt x="4102241" y="4140451"/>
                  <a:pt x="4106351" y="4140451"/>
                </a:cubicBezTo>
                <a:cubicBezTo>
                  <a:pt x="4110461" y="4140451"/>
                  <a:pt x="4113735" y="4137102"/>
                  <a:pt x="4113735" y="4133068"/>
                </a:cubicBezTo>
                <a:moveTo>
                  <a:pt x="4099576" y="3963787"/>
                </a:moveTo>
                <a:cubicBezTo>
                  <a:pt x="4099576" y="3959144"/>
                  <a:pt x="4095847" y="3955414"/>
                  <a:pt x="4091204" y="3955414"/>
                </a:cubicBezTo>
                <a:cubicBezTo>
                  <a:pt x="4086561" y="3955414"/>
                  <a:pt x="4082831" y="3959144"/>
                  <a:pt x="4082831" y="3963787"/>
                </a:cubicBezTo>
                <a:cubicBezTo>
                  <a:pt x="4082831" y="3968430"/>
                  <a:pt x="4086561" y="3972160"/>
                  <a:pt x="4091204" y="3972160"/>
                </a:cubicBezTo>
                <a:cubicBezTo>
                  <a:pt x="4095770" y="3972160"/>
                  <a:pt x="4099576" y="3968430"/>
                  <a:pt x="4099576" y="3963787"/>
                </a:cubicBezTo>
                <a:moveTo>
                  <a:pt x="4070272" y="3796561"/>
                </a:moveTo>
                <a:cubicBezTo>
                  <a:pt x="4070272" y="3791309"/>
                  <a:pt x="4066010" y="3787123"/>
                  <a:pt x="4060834" y="3787123"/>
                </a:cubicBezTo>
                <a:cubicBezTo>
                  <a:pt x="4055582" y="3787123"/>
                  <a:pt x="4051396" y="3791386"/>
                  <a:pt x="4051396" y="3796561"/>
                </a:cubicBezTo>
                <a:cubicBezTo>
                  <a:pt x="4051396" y="3801737"/>
                  <a:pt x="4055658" y="3806000"/>
                  <a:pt x="4060834" y="3806000"/>
                </a:cubicBezTo>
                <a:cubicBezTo>
                  <a:pt x="4066010" y="3806000"/>
                  <a:pt x="4070272" y="3801737"/>
                  <a:pt x="4070272" y="3796561"/>
                </a:cubicBezTo>
                <a:moveTo>
                  <a:pt x="4026049" y="3632685"/>
                </a:moveTo>
                <a:cubicBezTo>
                  <a:pt x="4026049" y="3626900"/>
                  <a:pt x="4021330" y="3622181"/>
                  <a:pt x="4015545" y="3622181"/>
                </a:cubicBezTo>
                <a:cubicBezTo>
                  <a:pt x="4009761" y="3622181"/>
                  <a:pt x="4005042" y="3626900"/>
                  <a:pt x="4005042" y="3632685"/>
                </a:cubicBezTo>
                <a:cubicBezTo>
                  <a:pt x="4005042" y="3638470"/>
                  <a:pt x="4009761" y="3643189"/>
                  <a:pt x="4015545" y="3643189"/>
                </a:cubicBezTo>
                <a:cubicBezTo>
                  <a:pt x="4021407" y="3643189"/>
                  <a:pt x="4026049" y="3638470"/>
                  <a:pt x="4026049" y="3632685"/>
                </a:cubicBezTo>
                <a:moveTo>
                  <a:pt x="3966908" y="3473528"/>
                </a:moveTo>
                <a:cubicBezTo>
                  <a:pt x="3966908" y="3467438"/>
                  <a:pt x="3961960" y="3462491"/>
                  <a:pt x="3955871" y="3462491"/>
                </a:cubicBezTo>
                <a:cubicBezTo>
                  <a:pt x="3949782" y="3462491"/>
                  <a:pt x="3944834" y="3467438"/>
                  <a:pt x="3944834" y="3473528"/>
                </a:cubicBezTo>
                <a:cubicBezTo>
                  <a:pt x="3944834" y="3479617"/>
                  <a:pt x="3949782" y="3484564"/>
                  <a:pt x="3955871" y="3484564"/>
                </a:cubicBezTo>
                <a:cubicBezTo>
                  <a:pt x="3961960" y="3484564"/>
                  <a:pt x="3966908" y="3479617"/>
                  <a:pt x="3966908" y="3473528"/>
                </a:cubicBezTo>
                <a:moveTo>
                  <a:pt x="3893685" y="3320383"/>
                </a:moveTo>
                <a:cubicBezTo>
                  <a:pt x="3893685" y="3313990"/>
                  <a:pt x="3888508" y="3308814"/>
                  <a:pt x="3882115" y="3308814"/>
                </a:cubicBezTo>
                <a:cubicBezTo>
                  <a:pt x="3875721" y="3308814"/>
                  <a:pt x="3870545" y="3313990"/>
                  <a:pt x="3870545" y="3320383"/>
                </a:cubicBezTo>
                <a:cubicBezTo>
                  <a:pt x="3870545" y="3326777"/>
                  <a:pt x="3875721" y="3331953"/>
                  <a:pt x="3882115" y="3331953"/>
                </a:cubicBezTo>
                <a:cubicBezTo>
                  <a:pt x="3888508" y="3331953"/>
                  <a:pt x="3893685" y="3326777"/>
                  <a:pt x="3893685" y="3320383"/>
                </a:cubicBezTo>
                <a:moveTo>
                  <a:pt x="3806989" y="3174470"/>
                </a:moveTo>
                <a:cubicBezTo>
                  <a:pt x="3806989" y="3167772"/>
                  <a:pt x="3801585" y="3162368"/>
                  <a:pt x="3794887" y="3162368"/>
                </a:cubicBezTo>
                <a:cubicBezTo>
                  <a:pt x="3788189" y="3162368"/>
                  <a:pt x="3782784" y="3167772"/>
                  <a:pt x="3782784" y="3174470"/>
                </a:cubicBezTo>
                <a:cubicBezTo>
                  <a:pt x="3782784" y="3181168"/>
                  <a:pt x="3788189" y="3186573"/>
                  <a:pt x="3794887" y="3186573"/>
                </a:cubicBezTo>
                <a:cubicBezTo>
                  <a:pt x="3801585" y="3186573"/>
                  <a:pt x="3806989" y="3181168"/>
                  <a:pt x="3806989" y="3174470"/>
                </a:cubicBezTo>
                <a:moveTo>
                  <a:pt x="3707658" y="3037006"/>
                </a:moveTo>
                <a:cubicBezTo>
                  <a:pt x="3707658" y="3030079"/>
                  <a:pt x="3702026" y="3024371"/>
                  <a:pt x="3695024" y="3024371"/>
                </a:cubicBezTo>
                <a:cubicBezTo>
                  <a:pt x="3688097" y="3024371"/>
                  <a:pt x="3682388" y="3030003"/>
                  <a:pt x="3682388" y="3037006"/>
                </a:cubicBezTo>
                <a:cubicBezTo>
                  <a:pt x="3682388" y="3043932"/>
                  <a:pt x="3688021" y="3049641"/>
                  <a:pt x="3695024" y="3049641"/>
                </a:cubicBezTo>
                <a:cubicBezTo>
                  <a:pt x="3701949" y="3049565"/>
                  <a:pt x="3707658" y="3043932"/>
                  <a:pt x="3707658" y="3037006"/>
                </a:cubicBezTo>
                <a:moveTo>
                  <a:pt x="3595769" y="2908980"/>
                </a:moveTo>
                <a:cubicBezTo>
                  <a:pt x="3595769" y="2902053"/>
                  <a:pt x="3590136" y="2896344"/>
                  <a:pt x="3583133" y="2896344"/>
                </a:cubicBezTo>
                <a:cubicBezTo>
                  <a:pt x="3576131" y="2896344"/>
                  <a:pt x="3570499" y="2901977"/>
                  <a:pt x="3570499" y="2908980"/>
                </a:cubicBezTo>
                <a:cubicBezTo>
                  <a:pt x="3570499" y="2915906"/>
                  <a:pt x="3576131" y="2921615"/>
                  <a:pt x="3583133" y="2921615"/>
                </a:cubicBezTo>
                <a:cubicBezTo>
                  <a:pt x="3590136" y="2921615"/>
                  <a:pt x="3595769" y="2915982"/>
                  <a:pt x="3595769" y="2908980"/>
                </a:cubicBezTo>
                <a:moveTo>
                  <a:pt x="3472918" y="2791533"/>
                </a:moveTo>
                <a:cubicBezTo>
                  <a:pt x="3472918" y="2784607"/>
                  <a:pt x="3467286" y="2778898"/>
                  <a:pt x="3460283" y="2778898"/>
                </a:cubicBezTo>
                <a:cubicBezTo>
                  <a:pt x="3453281" y="2778898"/>
                  <a:pt x="3447648" y="2784531"/>
                  <a:pt x="3447648" y="2791533"/>
                </a:cubicBezTo>
                <a:cubicBezTo>
                  <a:pt x="3447648" y="2798460"/>
                  <a:pt x="3453281" y="2804169"/>
                  <a:pt x="3460283" y="2804169"/>
                </a:cubicBezTo>
                <a:cubicBezTo>
                  <a:pt x="3467286" y="2804092"/>
                  <a:pt x="3472918" y="2798460"/>
                  <a:pt x="3472918" y="2791533"/>
                </a:cubicBezTo>
                <a:moveTo>
                  <a:pt x="3340021" y="2685581"/>
                </a:moveTo>
                <a:cubicBezTo>
                  <a:pt x="3340021" y="2678654"/>
                  <a:pt x="3334389" y="2672946"/>
                  <a:pt x="3327386" y="2672946"/>
                </a:cubicBezTo>
                <a:cubicBezTo>
                  <a:pt x="3320383" y="2672946"/>
                  <a:pt x="3314750" y="2678578"/>
                  <a:pt x="3314750" y="2685581"/>
                </a:cubicBezTo>
                <a:cubicBezTo>
                  <a:pt x="3314750" y="2692507"/>
                  <a:pt x="3320383" y="2698216"/>
                  <a:pt x="3327386" y="2698216"/>
                </a:cubicBezTo>
                <a:cubicBezTo>
                  <a:pt x="3334389" y="2698216"/>
                  <a:pt x="3340021" y="2692507"/>
                  <a:pt x="3340021" y="2685581"/>
                </a:cubicBezTo>
                <a:moveTo>
                  <a:pt x="3197685" y="2591883"/>
                </a:moveTo>
                <a:cubicBezTo>
                  <a:pt x="3197685" y="2585184"/>
                  <a:pt x="3192281" y="2579780"/>
                  <a:pt x="3185583" y="2579780"/>
                </a:cubicBezTo>
                <a:cubicBezTo>
                  <a:pt x="3178884" y="2579780"/>
                  <a:pt x="3173480" y="2585184"/>
                  <a:pt x="3173480" y="2591883"/>
                </a:cubicBezTo>
                <a:cubicBezTo>
                  <a:pt x="3173480" y="2598581"/>
                  <a:pt x="3178884" y="2603985"/>
                  <a:pt x="3185583" y="2603985"/>
                </a:cubicBezTo>
                <a:cubicBezTo>
                  <a:pt x="3192281" y="2603985"/>
                  <a:pt x="3197685" y="2598581"/>
                  <a:pt x="3197685" y="2591883"/>
                </a:cubicBezTo>
                <a:moveTo>
                  <a:pt x="3047433" y="2511353"/>
                </a:moveTo>
                <a:cubicBezTo>
                  <a:pt x="3047433" y="2504959"/>
                  <a:pt x="3042258" y="2499783"/>
                  <a:pt x="3035863" y="2499783"/>
                </a:cubicBezTo>
                <a:cubicBezTo>
                  <a:pt x="3029470" y="2499783"/>
                  <a:pt x="3024294" y="2504959"/>
                  <a:pt x="3024294" y="2511353"/>
                </a:cubicBezTo>
                <a:cubicBezTo>
                  <a:pt x="3024294" y="2517746"/>
                  <a:pt x="3029470" y="2522922"/>
                  <a:pt x="3035863" y="2522922"/>
                </a:cubicBezTo>
                <a:cubicBezTo>
                  <a:pt x="3042258" y="2522922"/>
                  <a:pt x="3047433" y="2517746"/>
                  <a:pt x="3047433" y="2511353"/>
                </a:cubicBezTo>
                <a:moveTo>
                  <a:pt x="2890103" y="2444599"/>
                </a:moveTo>
                <a:cubicBezTo>
                  <a:pt x="2890103" y="2438815"/>
                  <a:pt x="2885384" y="2434095"/>
                  <a:pt x="2879599" y="2434095"/>
                </a:cubicBezTo>
                <a:cubicBezTo>
                  <a:pt x="2873814" y="2434095"/>
                  <a:pt x="2869095" y="2438815"/>
                  <a:pt x="2869095" y="2444599"/>
                </a:cubicBezTo>
                <a:cubicBezTo>
                  <a:pt x="2869095" y="2450384"/>
                  <a:pt x="2873814" y="2455103"/>
                  <a:pt x="2879599" y="2455103"/>
                </a:cubicBezTo>
                <a:cubicBezTo>
                  <a:pt x="2885384" y="2455103"/>
                  <a:pt x="2890103" y="2450384"/>
                  <a:pt x="2890103" y="2444599"/>
                </a:cubicBezTo>
                <a:moveTo>
                  <a:pt x="2727977" y="2392003"/>
                </a:moveTo>
                <a:cubicBezTo>
                  <a:pt x="2727977" y="2386523"/>
                  <a:pt x="2723486" y="2382032"/>
                  <a:pt x="2718006" y="2382032"/>
                </a:cubicBezTo>
                <a:cubicBezTo>
                  <a:pt x="2712525" y="2382032"/>
                  <a:pt x="2708034" y="2386523"/>
                  <a:pt x="2708034" y="2392003"/>
                </a:cubicBezTo>
                <a:cubicBezTo>
                  <a:pt x="2708034" y="2397484"/>
                  <a:pt x="2712525" y="2401975"/>
                  <a:pt x="2718006" y="2401975"/>
                </a:cubicBezTo>
                <a:cubicBezTo>
                  <a:pt x="2723486" y="2402051"/>
                  <a:pt x="2727977" y="2397560"/>
                  <a:pt x="2727977" y="2392003"/>
                </a:cubicBezTo>
                <a:moveTo>
                  <a:pt x="2561208" y="2354250"/>
                </a:moveTo>
                <a:cubicBezTo>
                  <a:pt x="2561208" y="2349303"/>
                  <a:pt x="2557250" y="2345345"/>
                  <a:pt x="2552303" y="2345345"/>
                </a:cubicBezTo>
                <a:cubicBezTo>
                  <a:pt x="2547355" y="2345345"/>
                  <a:pt x="2543397" y="2349379"/>
                  <a:pt x="2543397" y="2354250"/>
                </a:cubicBezTo>
                <a:cubicBezTo>
                  <a:pt x="2543397" y="2359198"/>
                  <a:pt x="2547355" y="2363156"/>
                  <a:pt x="2552303" y="2363156"/>
                </a:cubicBezTo>
                <a:cubicBezTo>
                  <a:pt x="2557174" y="2363156"/>
                  <a:pt x="2561208" y="2359122"/>
                  <a:pt x="2561208" y="2354250"/>
                </a:cubicBezTo>
                <a:moveTo>
                  <a:pt x="2391699" y="2331416"/>
                </a:moveTo>
                <a:cubicBezTo>
                  <a:pt x="2391699" y="2327077"/>
                  <a:pt x="2388197" y="2323576"/>
                  <a:pt x="2383783" y="2323576"/>
                </a:cubicBezTo>
                <a:cubicBezTo>
                  <a:pt x="2379444" y="2323576"/>
                  <a:pt x="2375943" y="2327077"/>
                  <a:pt x="2375943" y="2331416"/>
                </a:cubicBezTo>
                <a:cubicBezTo>
                  <a:pt x="2375943" y="2335754"/>
                  <a:pt x="2379444" y="2339256"/>
                  <a:pt x="2383783" y="2339256"/>
                </a:cubicBezTo>
                <a:cubicBezTo>
                  <a:pt x="2388197" y="2339256"/>
                  <a:pt x="2391699" y="2335754"/>
                  <a:pt x="2391699" y="2331416"/>
                </a:cubicBezTo>
                <a:moveTo>
                  <a:pt x="2220820" y="2323804"/>
                </a:moveTo>
                <a:cubicBezTo>
                  <a:pt x="2220820" y="2320075"/>
                  <a:pt x="2217775" y="2316954"/>
                  <a:pt x="2213969" y="2316954"/>
                </a:cubicBezTo>
                <a:cubicBezTo>
                  <a:pt x="2210239" y="2316954"/>
                  <a:pt x="2207119" y="2319998"/>
                  <a:pt x="2207119" y="2323804"/>
                </a:cubicBezTo>
                <a:cubicBezTo>
                  <a:pt x="2207119" y="2327610"/>
                  <a:pt x="2210163" y="2330654"/>
                  <a:pt x="2213969" y="2330654"/>
                </a:cubicBezTo>
                <a:cubicBezTo>
                  <a:pt x="2217775" y="2330578"/>
                  <a:pt x="2220820" y="2327534"/>
                  <a:pt x="2220820" y="2323804"/>
                </a:cubicBezTo>
                <a:moveTo>
                  <a:pt x="2050017" y="2331416"/>
                </a:moveTo>
                <a:cubicBezTo>
                  <a:pt x="2050017" y="2328219"/>
                  <a:pt x="2047428" y="2325631"/>
                  <a:pt x="2044232" y="2325631"/>
                </a:cubicBezTo>
                <a:cubicBezTo>
                  <a:pt x="2041035" y="2325631"/>
                  <a:pt x="2038447" y="2328219"/>
                  <a:pt x="2038447" y="2331416"/>
                </a:cubicBezTo>
                <a:cubicBezTo>
                  <a:pt x="2038447" y="2334613"/>
                  <a:pt x="2041035" y="2337200"/>
                  <a:pt x="2044232" y="2337200"/>
                </a:cubicBezTo>
                <a:cubicBezTo>
                  <a:pt x="2047428" y="2337200"/>
                  <a:pt x="2050017" y="2334613"/>
                  <a:pt x="2050017" y="2331416"/>
                </a:cubicBezTo>
                <a:moveTo>
                  <a:pt x="1880508" y="2354250"/>
                </a:moveTo>
                <a:cubicBezTo>
                  <a:pt x="1880508" y="2351662"/>
                  <a:pt x="1878376" y="2349531"/>
                  <a:pt x="1875789" y="2349531"/>
                </a:cubicBezTo>
                <a:cubicBezTo>
                  <a:pt x="1873200" y="2349531"/>
                  <a:pt x="1871069" y="2351662"/>
                  <a:pt x="1871069" y="2354250"/>
                </a:cubicBezTo>
                <a:cubicBezTo>
                  <a:pt x="1871069" y="2356838"/>
                  <a:pt x="1873200" y="2358969"/>
                  <a:pt x="1875789" y="2358969"/>
                </a:cubicBezTo>
                <a:cubicBezTo>
                  <a:pt x="1878376" y="2358969"/>
                  <a:pt x="1880508" y="2356838"/>
                  <a:pt x="1880508" y="2354250"/>
                </a:cubicBezTo>
                <a:moveTo>
                  <a:pt x="1714271" y="2392003"/>
                </a:moveTo>
                <a:cubicBezTo>
                  <a:pt x="1714271" y="2389720"/>
                  <a:pt x="1712369" y="2387817"/>
                  <a:pt x="1710085" y="2387817"/>
                </a:cubicBezTo>
                <a:cubicBezTo>
                  <a:pt x="1707802" y="2387817"/>
                  <a:pt x="1705899" y="2389720"/>
                  <a:pt x="1705899" y="2392003"/>
                </a:cubicBezTo>
                <a:cubicBezTo>
                  <a:pt x="1705899" y="2394287"/>
                  <a:pt x="1707802" y="2396190"/>
                  <a:pt x="1710085" y="2396190"/>
                </a:cubicBezTo>
                <a:cubicBezTo>
                  <a:pt x="1712369" y="2396190"/>
                  <a:pt x="1714271" y="2394363"/>
                  <a:pt x="1714271" y="2392003"/>
                </a:cubicBezTo>
                <a:moveTo>
                  <a:pt x="1551537" y="2444599"/>
                </a:moveTo>
                <a:cubicBezTo>
                  <a:pt x="1551537" y="2442849"/>
                  <a:pt x="1550167" y="2441478"/>
                  <a:pt x="1548416" y="2441478"/>
                </a:cubicBezTo>
                <a:cubicBezTo>
                  <a:pt x="1546665" y="2441478"/>
                  <a:pt x="1545295" y="2442925"/>
                  <a:pt x="1545295" y="2444599"/>
                </a:cubicBezTo>
                <a:cubicBezTo>
                  <a:pt x="1545295" y="2446350"/>
                  <a:pt x="1546741" y="2447720"/>
                  <a:pt x="1548416" y="2447720"/>
                </a:cubicBezTo>
                <a:cubicBezTo>
                  <a:pt x="1550167" y="2447720"/>
                  <a:pt x="1551537" y="2446274"/>
                  <a:pt x="1551537" y="2444599"/>
                </a:cubicBezTo>
                <a:moveTo>
                  <a:pt x="1394206" y="2511353"/>
                </a:moveTo>
                <a:cubicBezTo>
                  <a:pt x="1394206" y="2510211"/>
                  <a:pt x="1393293" y="2509221"/>
                  <a:pt x="1392075" y="2509221"/>
                </a:cubicBezTo>
                <a:cubicBezTo>
                  <a:pt x="1390933" y="2509221"/>
                  <a:pt x="1389944" y="2510135"/>
                  <a:pt x="1389944" y="2511353"/>
                </a:cubicBezTo>
                <a:cubicBezTo>
                  <a:pt x="1389944" y="2512494"/>
                  <a:pt x="1390857" y="2513484"/>
                  <a:pt x="1392075" y="2513484"/>
                </a:cubicBezTo>
                <a:cubicBezTo>
                  <a:pt x="1393293" y="2513484"/>
                  <a:pt x="1394206" y="2512494"/>
                  <a:pt x="1394206" y="2511353"/>
                </a:cubicBezTo>
                <a:moveTo>
                  <a:pt x="1244031" y="2591883"/>
                </a:moveTo>
                <a:cubicBezTo>
                  <a:pt x="1244031" y="2591045"/>
                  <a:pt x="1243345" y="2590284"/>
                  <a:pt x="1242432" y="2590284"/>
                </a:cubicBezTo>
                <a:cubicBezTo>
                  <a:pt x="1241595" y="2590284"/>
                  <a:pt x="1240833" y="2590969"/>
                  <a:pt x="1240833" y="2591883"/>
                </a:cubicBezTo>
                <a:cubicBezTo>
                  <a:pt x="1240833" y="2592720"/>
                  <a:pt x="1241519" y="2593481"/>
                  <a:pt x="1242432" y="2593481"/>
                </a:cubicBezTo>
                <a:cubicBezTo>
                  <a:pt x="1243345" y="2593481"/>
                  <a:pt x="1244031" y="2592796"/>
                  <a:pt x="1244031" y="2591883"/>
                </a:cubicBezTo>
                <a:moveTo>
                  <a:pt x="1101618" y="2685581"/>
                </a:moveTo>
                <a:cubicBezTo>
                  <a:pt x="1101618" y="2684972"/>
                  <a:pt x="1101162" y="2684515"/>
                  <a:pt x="1100553" y="2684515"/>
                </a:cubicBezTo>
                <a:cubicBezTo>
                  <a:pt x="1099944" y="2684515"/>
                  <a:pt x="1099487" y="2684972"/>
                  <a:pt x="1099487" y="2685581"/>
                </a:cubicBezTo>
                <a:cubicBezTo>
                  <a:pt x="1099487" y="2686190"/>
                  <a:pt x="1099944" y="2686646"/>
                  <a:pt x="1100553" y="2686646"/>
                </a:cubicBezTo>
                <a:cubicBezTo>
                  <a:pt x="1101162" y="2686570"/>
                  <a:pt x="1101618" y="2686114"/>
                  <a:pt x="1101618" y="2685581"/>
                </a:cubicBezTo>
                <a:moveTo>
                  <a:pt x="968188" y="2791533"/>
                </a:moveTo>
                <a:cubicBezTo>
                  <a:pt x="968188" y="2791229"/>
                  <a:pt x="967960" y="2791001"/>
                  <a:pt x="967655" y="2791001"/>
                </a:cubicBezTo>
                <a:cubicBezTo>
                  <a:pt x="967351" y="2791001"/>
                  <a:pt x="967123" y="2791229"/>
                  <a:pt x="967123" y="2791533"/>
                </a:cubicBezTo>
                <a:cubicBezTo>
                  <a:pt x="967123" y="2791838"/>
                  <a:pt x="967351" y="2792066"/>
                  <a:pt x="967655" y="2792066"/>
                </a:cubicBezTo>
                <a:cubicBezTo>
                  <a:pt x="967960" y="2792066"/>
                  <a:pt x="968188" y="2791838"/>
                  <a:pt x="968188" y="2791533"/>
                </a:cubicBezTo>
                <a:moveTo>
                  <a:pt x="3732319" y="5645634"/>
                </a:moveTo>
                <a:cubicBezTo>
                  <a:pt x="3732319" y="5645329"/>
                  <a:pt x="3732092" y="5645101"/>
                  <a:pt x="3731787" y="5645101"/>
                </a:cubicBezTo>
                <a:cubicBezTo>
                  <a:pt x="3731482" y="5645101"/>
                  <a:pt x="3731255" y="5645329"/>
                  <a:pt x="3731255" y="5645634"/>
                </a:cubicBezTo>
                <a:cubicBezTo>
                  <a:pt x="3731255" y="5645938"/>
                  <a:pt x="3731482" y="5646166"/>
                  <a:pt x="3731787" y="5646166"/>
                </a:cubicBezTo>
                <a:cubicBezTo>
                  <a:pt x="3732092" y="5646166"/>
                  <a:pt x="3732319" y="5645938"/>
                  <a:pt x="3732319" y="5645634"/>
                </a:cubicBezTo>
                <a:moveTo>
                  <a:pt x="3843601" y="5517227"/>
                </a:moveTo>
                <a:cubicBezTo>
                  <a:pt x="3843601" y="5516923"/>
                  <a:pt x="3843372" y="5516694"/>
                  <a:pt x="3843068" y="5516694"/>
                </a:cubicBezTo>
                <a:cubicBezTo>
                  <a:pt x="3842763" y="5516694"/>
                  <a:pt x="3842535" y="5516923"/>
                  <a:pt x="3842535" y="5517227"/>
                </a:cubicBezTo>
                <a:cubicBezTo>
                  <a:pt x="3842535" y="5517532"/>
                  <a:pt x="3842763" y="5517760"/>
                  <a:pt x="3843068" y="5517760"/>
                </a:cubicBezTo>
                <a:cubicBezTo>
                  <a:pt x="3843372" y="5517760"/>
                  <a:pt x="3843601" y="5517532"/>
                  <a:pt x="3843601" y="5517227"/>
                </a:cubicBezTo>
                <a:moveTo>
                  <a:pt x="3944605" y="5380067"/>
                </a:moveTo>
                <a:cubicBezTo>
                  <a:pt x="3944605" y="5379458"/>
                  <a:pt x="3944149" y="5379001"/>
                  <a:pt x="3943540" y="5379001"/>
                </a:cubicBezTo>
                <a:cubicBezTo>
                  <a:pt x="3942931" y="5379001"/>
                  <a:pt x="3942475" y="5379458"/>
                  <a:pt x="3942475" y="5380067"/>
                </a:cubicBezTo>
                <a:cubicBezTo>
                  <a:pt x="3942475" y="5380676"/>
                  <a:pt x="3942931" y="5381132"/>
                  <a:pt x="3943540" y="5381132"/>
                </a:cubicBezTo>
                <a:cubicBezTo>
                  <a:pt x="3944149" y="5381132"/>
                  <a:pt x="3944605" y="5380676"/>
                  <a:pt x="3944605" y="5380067"/>
                </a:cubicBezTo>
                <a:moveTo>
                  <a:pt x="4034651" y="5235296"/>
                </a:moveTo>
                <a:cubicBezTo>
                  <a:pt x="4034651" y="5234154"/>
                  <a:pt x="4033737" y="5233164"/>
                  <a:pt x="4032519" y="5233164"/>
                </a:cubicBezTo>
                <a:cubicBezTo>
                  <a:pt x="4031377" y="5233164"/>
                  <a:pt x="4030388" y="5234077"/>
                  <a:pt x="4030388" y="5235296"/>
                </a:cubicBezTo>
                <a:cubicBezTo>
                  <a:pt x="4030388" y="5236437"/>
                  <a:pt x="4031301" y="5237427"/>
                  <a:pt x="4032519" y="5237427"/>
                </a:cubicBezTo>
                <a:cubicBezTo>
                  <a:pt x="4033737" y="5237351"/>
                  <a:pt x="4034651" y="5236437"/>
                  <a:pt x="4034651" y="5235296"/>
                </a:cubicBezTo>
                <a:moveTo>
                  <a:pt x="4112059" y="5083674"/>
                </a:moveTo>
                <a:cubicBezTo>
                  <a:pt x="4112059" y="5082227"/>
                  <a:pt x="4110918" y="5081009"/>
                  <a:pt x="4109472" y="5081009"/>
                </a:cubicBezTo>
                <a:cubicBezTo>
                  <a:pt x="4108026" y="5081009"/>
                  <a:pt x="4106808" y="5082227"/>
                  <a:pt x="4106808" y="5083674"/>
                </a:cubicBezTo>
                <a:cubicBezTo>
                  <a:pt x="4106808" y="5085120"/>
                  <a:pt x="4108026" y="5086261"/>
                  <a:pt x="4109472" y="5086261"/>
                </a:cubicBezTo>
                <a:cubicBezTo>
                  <a:pt x="4110842" y="5086261"/>
                  <a:pt x="4112059" y="5085120"/>
                  <a:pt x="4112059" y="5083674"/>
                </a:cubicBezTo>
                <a:moveTo>
                  <a:pt x="4177367" y="4926267"/>
                </a:moveTo>
                <a:cubicBezTo>
                  <a:pt x="4177367" y="4924212"/>
                  <a:pt x="4175692" y="4922613"/>
                  <a:pt x="4173714" y="4922613"/>
                </a:cubicBezTo>
                <a:cubicBezTo>
                  <a:pt x="4171658" y="4922613"/>
                  <a:pt x="4170059" y="4924288"/>
                  <a:pt x="4170059" y="4926267"/>
                </a:cubicBezTo>
                <a:cubicBezTo>
                  <a:pt x="4170059" y="4928322"/>
                  <a:pt x="4171734" y="4929920"/>
                  <a:pt x="4173714" y="4929920"/>
                </a:cubicBezTo>
                <a:cubicBezTo>
                  <a:pt x="4175692" y="4929920"/>
                  <a:pt x="4177367" y="4928322"/>
                  <a:pt x="4177367" y="4926267"/>
                </a:cubicBezTo>
                <a:moveTo>
                  <a:pt x="4229582" y="4764217"/>
                </a:moveTo>
                <a:cubicBezTo>
                  <a:pt x="4229582" y="4761629"/>
                  <a:pt x="4227451" y="4759498"/>
                  <a:pt x="4224863" y="4759498"/>
                </a:cubicBezTo>
                <a:cubicBezTo>
                  <a:pt x="4222275" y="4759498"/>
                  <a:pt x="4220144" y="4761629"/>
                  <a:pt x="4220144" y="4764217"/>
                </a:cubicBezTo>
                <a:cubicBezTo>
                  <a:pt x="4220144" y="4766805"/>
                  <a:pt x="4222275" y="4768936"/>
                  <a:pt x="4224863" y="4768936"/>
                </a:cubicBezTo>
                <a:cubicBezTo>
                  <a:pt x="4227451" y="4768936"/>
                  <a:pt x="4229582" y="4766805"/>
                  <a:pt x="4229582" y="4764217"/>
                </a:cubicBezTo>
                <a:moveTo>
                  <a:pt x="4268477" y="4598438"/>
                </a:moveTo>
                <a:cubicBezTo>
                  <a:pt x="4268477" y="4595241"/>
                  <a:pt x="4265889" y="4592653"/>
                  <a:pt x="4262692" y="4592653"/>
                </a:cubicBezTo>
                <a:cubicBezTo>
                  <a:pt x="4259495" y="4592653"/>
                  <a:pt x="4256907" y="4595241"/>
                  <a:pt x="4256907" y="4598438"/>
                </a:cubicBezTo>
                <a:cubicBezTo>
                  <a:pt x="4256907" y="4601635"/>
                  <a:pt x="4259495" y="4604222"/>
                  <a:pt x="4262692" y="4604222"/>
                </a:cubicBezTo>
                <a:cubicBezTo>
                  <a:pt x="4265889" y="4604222"/>
                  <a:pt x="4268477" y="4601635"/>
                  <a:pt x="4268477" y="4598438"/>
                </a:cubicBezTo>
                <a:moveTo>
                  <a:pt x="4293747" y="4430222"/>
                </a:moveTo>
                <a:cubicBezTo>
                  <a:pt x="4293747" y="4426493"/>
                  <a:pt x="4290703" y="4423372"/>
                  <a:pt x="4286897" y="4423372"/>
                </a:cubicBezTo>
                <a:cubicBezTo>
                  <a:pt x="4283168" y="4423372"/>
                  <a:pt x="4280047" y="4426417"/>
                  <a:pt x="4280047" y="4430222"/>
                </a:cubicBezTo>
                <a:cubicBezTo>
                  <a:pt x="4280047" y="4434028"/>
                  <a:pt x="4283091" y="4437073"/>
                  <a:pt x="4286897" y="4437073"/>
                </a:cubicBezTo>
                <a:cubicBezTo>
                  <a:pt x="4290627" y="4437073"/>
                  <a:pt x="4293747" y="4433952"/>
                  <a:pt x="4293747" y="4430222"/>
                </a:cubicBezTo>
                <a:moveTo>
                  <a:pt x="4305164" y="4260561"/>
                </a:moveTo>
                <a:cubicBezTo>
                  <a:pt x="4305164" y="4256223"/>
                  <a:pt x="4301663" y="4252721"/>
                  <a:pt x="4297249" y="4252721"/>
                </a:cubicBezTo>
                <a:cubicBezTo>
                  <a:pt x="4292910" y="4252721"/>
                  <a:pt x="4289409" y="4256223"/>
                  <a:pt x="4289409" y="4260561"/>
                </a:cubicBezTo>
                <a:cubicBezTo>
                  <a:pt x="4289409" y="4264900"/>
                  <a:pt x="4292910" y="4268477"/>
                  <a:pt x="4297249" y="4268477"/>
                </a:cubicBezTo>
                <a:cubicBezTo>
                  <a:pt x="4301663" y="4268401"/>
                  <a:pt x="4305164" y="4264900"/>
                  <a:pt x="4305164" y="4260561"/>
                </a:cubicBezTo>
                <a:moveTo>
                  <a:pt x="4302729" y="4090595"/>
                </a:moveTo>
                <a:cubicBezTo>
                  <a:pt x="4302729" y="4085648"/>
                  <a:pt x="4298695" y="4081690"/>
                  <a:pt x="4293823" y="4081690"/>
                </a:cubicBezTo>
                <a:cubicBezTo>
                  <a:pt x="4288876" y="4081690"/>
                  <a:pt x="4284918" y="4085724"/>
                  <a:pt x="4284918" y="4090595"/>
                </a:cubicBezTo>
                <a:cubicBezTo>
                  <a:pt x="4284918" y="4095543"/>
                  <a:pt x="4288952" y="4099501"/>
                  <a:pt x="4293823" y="4099501"/>
                </a:cubicBezTo>
                <a:cubicBezTo>
                  <a:pt x="4298771" y="4099501"/>
                  <a:pt x="4302729" y="4095543"/>
                  <a:pt x="4302729" y="4090595"/>
                </a:cubicBezTo>
                <a:moveTo>
                  <a:pt x="4286516" y="3921543"/>
                </a:moveTo>
                <a:cubicBezTo>
                  <a:pt x="4286516" y="3916063"/>
                  <a:pt x="4282026" y="3911572"/>
                  <a:pt x="4276545" y="3911572"/>
                </a:cubicBezTo>
                <a:cubicBezTo>
                  <a:pt x="4271065" y="3911572"/>
                  <a:pt x="4266574" y="3916063"/>
                  <a:pt x="4266574" y="3921543"/>
                </a:cubicBezTo>
                <a:cubicBezTo>
                  <a:pt x="4266574" y="3927023"/>
                  <a:pt x="4271065" y="3931514"/>
                  <a:pt x="4276545" y="3931514"/>
                </a:cubicBezTo>
                <a:cubicBezTo>
                  <a:pt x="4282026" y="3931514"/>
                  <a:pt x="4286516" y="3927023"/>
                  <a:pt x="4286516" y="3921543"/>
                </a:cubicBezTo>
                <a:moveTo>
                  <a:pt x="4256527" y="3754394"/>
                </a:moveTo>
                <a:cubicBezTo>
                  <a:pt x="4256527" y="3748304"/>
                  <a:pt x="4251580" y="3743357"/>
                  <a:pt x="4245490" y="3743357"/>
                </a:cubicBezTo>
                <a:cubicBezTo>
                  <a:pt x="4239401" y="3743357"/>
                  <a:pt x="4234454" y="3748304"/>
                  <a:pt x="4234454" y="3754394"/>
                </a:cubicBezTo>
                <a:cubicBezTo>
                  <a:pt x="4234454" y="3760483"/>
                  <a:pt x="4239401" y="3765430"/>
                  <a:pt x="4245490" y="3765430"/>
                </a:cubicBezTo>
                <a:cubicBezTo>
                  <a:pt x="4251580" y="3765430"/>
                  <a:pt x="4256527" y="3760483"/>
                  <a:pt x="4256527" y="3754394"/>
                </a:cubicBezTo>
                <a:moveTo>
                  <a:pt x="4212989" y="3590365"/>
                </a:moveTo>
                <a:cubicBezTo>
                  <a:pt x="4212989" y="3583667"/>
                  <a:pt x="4207585" y="3578262"/>
                  <a:pt x="4200886" y="3578262"/>
                </a:cubicBezTo>
                <a:cubicBezTo>
                  <a:pt x="4194188" y="3578262"/>
                  <a:pt x="4188784" y="3583667"/>
                  <a:pt x="4188784" y="3590365"/>
                </a:cubicBezTo>
                <a:cubicBezTo>
                  <a:pt x="4188784" y="3597063"/>
                  <a:pt x="4194188" y="3602467"/>
                  <a:pt x="4200886" y="3602467"/>
                </a:cubicBezTo>
                <a:cubicBezTo>
                  <a:pt x="4207585" y="3602391"/>
                  <a:pt x="4212989" y="3596987"/>
                  <a:pt x="4212989" y="3590365"/>
                </a:cubicBezTo>
                <a:moveTo>
                  <a:pt x="4156283" y="3430446"/>
                </a:moveTo>
                <a:cubicBezTo>
                  <a:pt x="4156283" y="3423215"/>
                  <a:pt x="4150422" y="3417278"/>
                  <a:pt x="4143191" y="3417278"/>
                </a:cubicBezTo>
                <a:cubicBezTo>
                  <a:pt x="4135960" y="3417278"/>
                  <a:pt x="4130022" y="3423139"/>
                  <a:pt x="4130022" y="3430446"/>
                </a:cubicBezTo>
                <a:cubicBezTo>
                  <a:pt x="4130022" y="3437677"/>
                  <a:pt x="4135883" y="3443538"/>
                  <a:pt x="4143191" y="3443538"/>
                </a:cubicBezTo>
                <a:cubicBezTo>
                  <a:pt x="4150422" y="3443614"/>
                  <a:pt x="4156283" y="3437753"/>
                  <a:pt x="4156283" y="3430446"/>
                </a:cubicBezTo>
                <a:moveTo>
                  <a:pt x="4086181" y="3275856"/>
                </a:moveTo>
                <a:cubicBezTo>
                  <a:pt x="4086181" y="3268320"/>
                  <a:pt x="4080091" y="3262155"/>
                  <a:pt x="4072556" y="3262155"/>
                </a:cubicBezTo>
                <a:cubicBezTo>
                  <a:pt x="4065020" y="3262155"/>
                  <a:pt x="4058931" y="3268244"/>
                  <a:pt x="4058931" y="3275856"/>
                </a:cubicBezTo>
                <a:cubicBezTo>
                  <a:pt x="4058931" y="3283391"/>
                  <a:pt x="4065020" y="3289480"/>
                  <a:pt x="4072556" y="3289480"/>
                </a:cubicBezTo>
                <a:cubicBezTo>
                  <a:pt x="4080091" y="3289480"/>
                  <a:pt x="4086181" y="3283391"/>
                  <a:pt x="4086181" y="3275856"/>
                </a:cubicBezTo>
                <a:moveTo>
                  <a:pt x="4003747" y="3127507"/>
                </a:moveTo>
                <a:cubicBezTo>
                  <a:pt x="4003747" y="3119667"/>
                  <a:pt x="3997430" y="3113350"/>
                  <a:pt x="3989590" y="3113350"/>
                </a:cubicBezTo>
                <a:cubicBezTo>
                  <a:pt x="3981750" y="3113350"/>
                  <a:pt x="3975432" y="3119667"/>
                  <a:pt x="3975432" y="3127507"/>
                </a:cubicBezTo>
                <a:cubicBezTo>
                  <a:pt x="3975432" y="3135347"/>
                  <a:pt x="3981750" y="3141664"/>
                  <a:pt x="3989590" y="3141664"/>
                </a:cubicBezTo>
                <a:cubicBezTo>
                  <a:pt x="3997354" y="3141664"/>
                  <a:pt x="4003747" y="3135347"/>
                  <a:pt x="4003747" y="3127507"/>
                </a:cubicBezTo>
                <a:moveTo>
                  <a:pt x="3909440" y="2986389"/>
                </a:moveTo>
                <a:cubicBezTo>
                  <a:pt x="3909440" y="2978245"/>
                  <a:pt x="3902818" y="2971699"/>
                  <a:pt x="3894750" y="2971699"/>
                </a:cubicBezTo>
                <a:cubicBezTo>
                  <a:pt x="3886605" y="2971699"/>
                  <a:pt x="3880060" y="2978321"/>
                  <a:pt x="3880060" y="2986389"/>
                </a:cubicBezTo>
                <a:cubicBezTo>
                  <a:pt x="3880060" y="2994533"/>
                  <a:pt x="3886682" y="3001079"/>
                  <a:pt x="3894750" y="3001079"/>
                </a:cubicBezTo>
                <a:cubicBezTo>
                  <a:pt x="3902894" y="3001155"/>
                  <a:pt x="3909440" y="2994533"/>
                  <a:pt x="3909440" y="2986389"/>
                </a:cubicBezTo>
                <a:moveTo>
                  <a:pt x="3803488" y="2853491"/>
                </a:moveTo>
                <a:cubicBezTo>
                  <a:pt x="3803488" y="2845347"/>
                  <a:pt x="3796866" y="2838801"/>
                  <a:pt x="3788797" y="2838801"/>
                </a:cubicBezTo>
                <a:cubicBezTo>
                  <a:pt x="3780653" y="2838801"/>
                  <a:pt x="3774108" y="2845423"/>
                  <a:pt x="3774108" y="2853491"/>
                </a:cubicBezTo>
                <a:cubicBezTo>
                  <a:pt x="3774108" y="2861636"/>
                  <a:pt x="3780730" y="2868182"/>
                  <a:pt x="3788797" y="2868182"/>
                </a:cubicBezTo>
                <a:cubicBezTo>
                  <a:pt x="3796866" y="2868258"/>
                  <a:pt x="3803488" y="2861636"/>
                  <a:pt x="3803488" y="2853491"/>
                </a:cubicBezTo>
                <a:moveTo>
                  <a:pt x="3687564" y="2729728"/>
                </a:moveTo>
                <a:cubicBezTo>
                  <a:pt x="3687564" y="2721279"/>
                  <a:pt x="3680714" y="2714505"/>
                  <a:pt x="3672341" y="2714505"/>
                </a:cubicBezTo>
                <a:cubicBezTo>
                  <a:pt x="3663968" y="2714505"/>
                  <a:pt x="3657118" y="2721355"/>
                  <a:pt x="3657118" y="2729728"/>
                </a:cubicBezTo>
                <a:cubicBezTo>
                  <a:pt x="3657118" y="2738177"/>
                  <a:pt x="3663968" y="2744951"/>
                  <a:pt x="3672341" y="2744951"/>
                </a:cubicBezTo>
                <a:cubicBezTo>
                  <a:pt x="3680714" y="2744951"/>
                  <a:pt x="3687564" y="2738100"/>
                  <a:pt x="3687564" y="2729728"/>
                </a:cubicBezTo>
                <a:moveTo>
                  <a:pt x="3560832" y="2615783"/>
                </a:moveTo>
                <a:cubicBezTo>
                  <a:pt x="3560832" y="2607639"/>
                  <a:pt x="3554210" y="2601093"/>
                  <a:pt x="3546141" y="2601093"/>
                </a:cubicBezTo>
                <a:cubicBezTo>
                  <a:pt x="3537997" y="2601093"/>
                  <a:pt x="3531452" y="2607715"/>
                  <a:pt x="3531452" y="2615783"/>
                </a:cubicBezTo>
                <a:cubicBezTo>
                  <a:pt x="3531452" y="2623927"/>
                  <a:pt x="3538074" y="2630473"/>
                  <a:pt x="3546141" y="2630473"/>
                </a:cubicBezTo>
                <a:cubicBezTo>
                  <a:pt x="3554286" y="2630473"/>
                  <a:pt x="3560832" y="2623927"/>
                  <a:pt x="3560832" y="2615783"/>
                </a:cubicBezTo>
                <a:moveTo>
                  <a:pt x="3425803" y="2512570"/>
                </a:moveTo>
                <a:cubicBezTo>
                  <a:pt x="3425803" y="2504426"/>
                  <a:pt x="3419181" y="2497880"/>
                  <a:pt x="3411113" y="2497880"/>
                </a:cubicBezTo>
                <a:cubicBezTo>
                  <a:pt x="3402969" y="2497880"/>
                  <a:pt x="3396423" y="2504502"/>
                  <a:pt x="3396423" y="2512570"/>
                </a:cubicBezTo>
                <a:cubicBezTo>
                  <a:pt x="3396423" y="2520715"/>
                  <a:pt x="3403045" y="2527261"/>
                  <a:pt x="3411113" y="2527261"/>
                </a:cubicBezTo>
                <a:cubicBezTo>
                  <a:pt x="3419257" y="2527261"/>
                  <a:pt x="3425803" y="2520639"/>
                  <a:pt x="3425803" y="2512570"/>
                </a:cubicBezTo>
                <a:moveTo>
                  <a:pt x="3282325" y="2420623"/>
                </a:moveTo>
                <a:cubicBezTo>
                  <a:pt x="3282325" y="2412783"/>
                  <a:pt x="3276008" y="2406466"/>
                  <a:pt x="3268168" y="2406466"/>
                </a:cubicBezTo>
                <a:cubicBezTo>
                  <a:pt x="3260328" y="2406466"/>
                  <a:pt x="3254010" y="2412783"/>
                  <a:pt x="3254010" y="2420623"/>
                </a:cubicBezTo>
                <a:cubicBezTo>
                  <a:pt x="3254010" y="2428463"/>
                  <a:pt x="3260328" y="2434781"/>
                  <a:pt x="3268168" y="2434781"/>
                </a:cubicBezTo>
                <a:cubicBezTo>
                  <a:pt x="3275932" y="2434781"/>
                  <a:pt x="3282325" y="2428463"/>
                  <a:pt x="3282325" y="2420623"/>
                </a:cubicBezTo>
                <a:moveTo>
                  <a:pt x="3131769" y="2340702"/>
                </a:moveTo>
                <a:cubicBezTo>
                  <a:pt x="3131769" y="2333166"/>
                  <a:pt x="3125680" y="2327077"/>
                  <a:pt x="3118144" y="2327077"/>
                </a:cubicBezTo>
                <a:cubicBezTo>
                  <a:pt x="3110609" y="2327077"/>
                  <a:pt x="3104519" y="2333166"/>
                  <a:pt x="3104519" y="2340702"/>
                </a:cubicBezTo>
                <a:cubicBezTo>
                  <a:pt x="3104519" y="2348237"/>
                  <a:pt x="3110609" y="2354326"/>
                  <a:pt x="3118144" y="2354326"/>
                </a:cubicBezTo>
                <a:cubicBezTo>
                  <a:pt x="3125604" y="2354326"/>
                  <a:pt x="3131769" y="2348237"/>
                  <a:pt x="3131769" y="2340702"/>
                </a:cubicBezTo>
                <a:moveTo>
                  <a:pt x="2975199" y="2273264"/>
                </a:moveTo>
                <a:cubicBezTo>
                  <a:pt x="2975199" y="2266033"/>
                  <a:pt x="2969338" y="2260172"/>
                  <a:pt x="2962108" y="2260172"/>
                </a:cubicBezTo>
                <a:cubicBezTo>
                  <a:pt x="2954877" y="2260172"/>
                  <a:pt x="2948940" y="2266033"/>
                  <a:pt x="2948940" y="2273264"/>
                </a:cubicBezTo>
                <a:cubicBezTo>
                  <a:pt x="2948940" y="2280494"/>
                  <a:pt x="2954801" y="2286355"/>
                  <a:pt x="2962108" y="2286355"/>
                </a:cubicBezTo>
                <a:cubicBezTo>
                  <a:pt x="2969338" y="2286355"/>
                  <a:pt x="2975199" y="2280494"/>
                  <a:pt x="2975199" y="2273264"/>
                </a:cubicBezTo>
                <a:moveTo>
                  <a:pt x="2813150" y="2218765"/>
                </a:moveTo>
                <a:cubicBezTo>
                  <a:pt x="2813150" y="2212067"/>
                  <a:pt x="2807745" y="2206663"/>
                  <a:pt x="2801047" y="2206663"/>
                </a:cubicBezTo>
                <a:cubicBezTo>
                  <a:pt x="2794349" y="2206663"/>
                  <a:pt x="2788945" y="2212067"/>
                  <a:pt x="2788945" y="2218765"/>
                </a:cubicBezTo>
                <a:cubicBezTo>
                  <a:pt x="2788945" y="2225463"/>
                  <a:pt x="2794349" y="2230867"/>
                  <a:pt x="2801047" y="2230867"/>
                </a:cubicBezTo>
                <a:cubicBezTo>
                  <a:pt x="2807745" y="2230867"/>
                  <a:pt x="2813150" y="2225387"/>
                  <a:pt x="2813150" y="2218765"/>
                </a:cubicBezTo>
                <a:moveTo>
                  <a:pt x="2647142" y="2177586"/>
                </a:moveTo>
                <a:cubicBezTo>
                  <a:pt x="2647142" y="2171497"/>
                  <a:pt x="2642194" y="2166550"/>
                  <a:pt x="2636106" y="2166550"/>
                </a:cubicBezTo>
                <a:cubicBezTo>
                  <a:pt x="2630016" y="2166550"/>
                  <a:pt x="2625068" y="2171497"/>
                  <a:pt x="2625068" y="2177586"/>
                </a:cubicBezTo>
                <a:cubicBezTo>
                  <a:pt x="2625068" y="2183676"/>
                  <a:pt x="2630016" y="2188623"/>
                  <a:pt x="2636106" y="2188623"/>
                </a:cubicBezTo>
                <a:cubicBezTo>
                  <a:pt x="2642271" y="2188547"/>
                  <a:pt x="2647142" y="2183676"/>
                  <a:pt x="2647142" y="2177586"/>
                </a:cubicBezTo>
                <a:moveTo>
                  <a:pt x="2478394" y="2149956"/>
                </a:moveTo>
                <a:cubicBezTo>
                  <a:pt x="2478394" y="2144476"/>
                  <a:pt x="2473903" y="2139985"/>
                  <a:pt x="2468423" y="2139985"/>
                </a:cubicBezTo>
                <a:cubicBezTo>
                  <a:pt x="2462943" y="2139985"/>
                  <a:pt x="2458452" y="2144476"/>
                  <a:pt x="2458452" y="2149956"/>
                </a:cubicBezTo>
                <a:cubicBezTo>
                  <a:pt x="2458452" y="2155437"/>
                  <a:pt x="2462943" y="2159928"/>
                  <a:pt x="2468423" y="2159928"/>
                </a:cubicBezTo>
                <a:cubicBezTo>
                  <a:pt x="2473903" y="2159928"/>
                  <a:pt x="2478394" y="2155437"/>
                  <a:pt x="2478394" y="2149956"/>
                </a:cubicBezTo>
                <a:moveTo>
                  <a:pt x="2307439" y="2136103"/>
                </a:moveTo>
                <a:cubicBezTo>
                  <a:pt x="2307439" y="2131461"/>
                  <a:pt x="2303709" y="2127731"/>
                  <a:pt x="2299066" y="2127731"/>
                </a:cubicBezTo>
                <a:cubicBezTo>
                  <a:pt x="2294424" y="2127731"/>
                  <a:pt x="2290694" y="2131461"/>
                  <a:pt x="2290694" y="2136103"/>
                </a:cubicBezTo>
                <a:cubicBezTo>
                  <a:pt x="2290694" y="2140747"/>
                  <a:pt x="2294424" y="2144476"/>
                  <a:pt x="2299066" y="2144476"/>
                </a:cubicBezTo>
                <a:cubicBezTo>
                  <a:pt x="2303709" y="2144476"/>
                  <a:pt x="2307439" y="2140747"/>
                  <a:pt x="2307439" y="2136103"/>
                </a:cubicBezTo>
                <a:moveTo>
                  <a:pt x="2136408" y="2136103"/>
                </a:moveTo>
                <a:cubicBezTo>
                  <a:pt x="2136408" y="2132069"/>
                  <a:pt x="2133134" y="2128720"/>
                  <a:pt x="2129025" y="2128720"/>
                </a:cubicBezTo>
                <a:cubicBezTo>
                  <a:pt x="2124991" y="2128720"/>
                  <a:pt x="2121641" y="2131993"/>
                  <a:pt x="2121641" y="2136103"/>
                </a:cubicBezTo>
                <a:cubicBezTo>
                  <a:pt x="2121641" y="2140138"/>
                  <a:pt x="2124914" y="2143487"/>
                  <a:pt x="2129025" y="2143487"/>
                </a:cubicBezTo>
                <a:cubicBezTo>
                  <a:pt x="2133058" y="2143410"/>
                  <a:pt x="2136408" y="2140138"/>
                  <a:pt x="2136408" y="2136103"/>
                </a:cubicBezTo>
                <a:moveTo>
                  <a:pt x="1965909" y="2149956"/>
                </a:moveTo>
                <a:cubicBezTo>
                  <a:pt x="1965909" y="2146455"/>
                  <a:pt x="1963093" y="2143639"/>
                  <a:pt x="1959591" y="2143639"/>
                </a:cubicBezTo>
                <a:cubicBezTo>
                  <a:pt x="1956090" y="2143639"/>
                  <a:pt x="1953274" y="2146455"/>
                  <a:pt x="1953274" y="2149956"/>
                </a:cubicBezTo>
                <a:cubicBezTo>
                  <a:pt x="1953274" y="2153458"/>
                  <a:pt x="1956090" y="2156274"/>
                  <a:pt x="1959591" y="2156274"/>
                </a:cubicBezTo>
                <a:cubicBezTo>
                  <a:pt x="1963093" y="2156274"/>
                  <a:pt x="1965909" y="2153382"/>
                  <a:pt x="1965909" y="2149956"/>
                </a:cubicBezTo>
                <a:moveTo>
                  <a:pt x="1797161" y="2177586"/>
                </a:moveTo>
                <a:cubicBezTo>
                  <a:pt x="1797161" y="2174694"/>
                  <a:pt x="1794802" y="2172334"/>
                  <a:pt x="1791909" y="2172334"/>
                </a:cubicBezTo>
                <a:cubicBezTo>
                  <a:pt x="1789017" y="2172334"/>
                  <a:pt x="1786657" y="2174694"/>
                  <a:pt x="1786657" y="2177586"/>
                </a:cubicBezTo>
                <a:cubicBezTo>
                  <a:pt x="1786657" y="2180479"/>
                  <a:pt x="1789017" y="2182838"/>
                  <a:pt x="1791909" y="2182838"/>
                </a:cubicBezTo>
                <a:cubicBezTo>
                  <a:pt x="1794802" y="2182838"/>
                  <a:pt x="1797161" y="2180479"/>
                  <a:pt x="1797161" y="2177586"/>
                </a:cubicBezTo>
                <a:moveTo>
                  <a:pt x="1631154" y="2218765"/>
                </a:moveTo>
                <a:cubicBezTo>
                  <a:pt x="1631154" y="2216405"/>
                  <a:pt x="1629251" y="2214578"/>
                  <a:pt x="1626967" y="2214578"/>
                </a:cubicBezTo>
                <a:cubicBezTo>
                  <a:pt x="1624683" y="2214578"/>
                  <a:pt x="1622781" y="2216481"/>
                  <a:pt x="1622781" y="2218765"/>
                </a:cubicBezTo>
                <a:cubicBezTo>
                  <a:pt x="1622781" y="2221048"/>
                  <a:pt x="1624683" y="2222951"/>
                  <a:pt x="1626967" y="2222951"/>
                </a:cubicBezTo>
                <a:cubicBezTo>
                  <a:pt x="1629251" y="2222951"/>
                  <a:pt x="1631154" y="2221048"/>
                  <a:pt x="1631154" y="2218765"/>
                </a:cubicBezTo>
                <a:moveTo>
                  <a:pt x="1469103" y="2273264"/>
                </a:moveTo>
                <a:cubicBezTo>
                  <a:pt x="1469103" y="2271513"/>
                  <a:pt x="1467733" y="2270143"/>
                  <a:pt x="1465983" y="2270143"/>
                </a:cubicBezTo>
                <a:cubicBezTo>
                  <a:pt x="1464232" y="2270143"/>
                  <a:pt x="1462786" y="2271589"/>
                  <a:pt x="1462786" y="2273264"/>
                </a:cubicBezTo>
                <a:cubicBezTo>
                  <a:pt x="1462786" y="2275014"/>
                  <a:pt x="1464232" y="2276384"/>
                  <a:pt x="1465983" y="2276384"/>
                </a:cubicBezTo>
                <a:cubicBezTo>
                  <a:pt x="1467733" y="2276384"/>
                  <a:pt x="1469103" y="2275014"/>
                  <a:pt x="1469103" y="2273264"/>
                </a:cubicBezTo>
                <a:moveTo>
                  <a:pt x="1312534" y="2340702"/>
                </a:moveTo>
                <a:cubicBezTo>
                  <a:pt x="1312534" y="2339256"/>
                  <a:pt x="1311393" y="2338114"/>
                  <a:pt x="1309946" y="2338114"/>
                </a:cubicBezTo>
                <a:cubicBezTo>
                  <a:pt x="1308500" y="2338114"/>
                  <a:pt x="1307358" y="2339256"/>
                  <a:pt x="1307358" y="2340702"/>
                </a:cubicBezTo>
                <a:cubicBezTo>
                  <a:pt x="1307358" y="2342148"/>
                  <a:pt x="1308500" y="2343290"/>
                  <a:pt x="1309946" y="2343290"/>
                </a:cubicBezTo>
                <a:cubicBezTo>
                  <a:pt x="1311393" y="2343290"/>
                  <a:pt x="1312534" y="2342148"/>
                  <a:pt x="1312534" y="2340702"/>
                </a:cubicBezTo>
                <a:moveTo>
                  <a:pt x="1161521" y="2420623"/>
                </a:moveTo>
                <a:cubicBezTo>
                  <a:pt x="1161521" y="2419786"/>
                  <a:pt x="1160836" y="2419025"/>
                  <a:pt x="1159923" y="2419025"/>
                </a:cubicBezTo>
                <a:cubicBezTo>
                  <a:pt x="1159009" y="2419025"/>
                  <a:pt x="1158325" y="2419710"/>
                  <a:pt x="1158325" y="2420623"/>
                </a:cubicBezTo>
                <a:cubicBezTo>
                  <a:pt x="1158325" y="2421460"/>
                  <a:pt x="1159009" y="2422221"/>
                  <a:pt x="1159923" y="2422221"/>
                </a:cubicBezTo>
                <a:cubicBezTo>
                  <a:pt x="1160836" y="2422221"/>
                  <a:pt x="1161521" y="2421536"/>
                  <a:pt x="1161521" y="2420623"/>
                </a:cubicBezTo>
                <a:moveTo>
                  <a:pt x="1017968" y="2512570"/>
                </a:moveTo>
                <a:cubicBezTo>
                  <a:pt x="1017968" y="2511961"/>
                  <a:pt x="1017511" y="2511505"/>
                  <a:pt x="1016902" y="2511505"/>
                </a:cubicBezTo>
                <a:cubicBezTo>
                  <a:pt x="1016293" y="2511505"/>
                  <a:pt x="1015836" y="2511961"/>
                  <a:pt x="1015836" y="2512570"/>
                </a:cubicBezTo>
                <a:cubicBezTo>
                  <a:pt x="1015836" y="2513179"/>
                  <a:pt x="1016293" y="2513636"/>
                  <a:pt x="1016902" y="2513636"/>
                </a:cubicBezTo>
                <a:cubicBezTo>
                  <a:pt x="1017511" y="2513560"/>
                  <a:pt x="1017968" y="2513103"/>
                  <a:pt x="1017968" y="2512570"/>
                </a:cubicBezTo>
                <a:moveTo>
                  <a:pt x="882406" y="2615783"/>
                </a:moveTo>
                <a:cubicBezTo>
                  <a:pt x="882406" y="2615478"/>
                  <a:pt x="882178" y="2615250"/>
                  <a:pt x="881873" y="2615250"/>
                </a:cubicBezTo>
                <a:cubicBezTo>
                  <a:pt x="881568" y="2615250"/>
                  <a:pt x="881340" y="2615478"/>
                  <a:pt x="881340" y="2615783"/>
                </a:cubicBezTo>
                <a:cubicBezTo>
                  <a:pt x="881340" y="2616087"/>
                  <a:pt x="881568" y="2616316"/>
                  <a:pt x="881873" y="2616316"/>
                </a:cubicBezTo>
                <a:cubicBezTo>
                  <a:pt x="882178" y="2616316"/>
                  <a:pt x="882406" y="2616087"/>
                  <a:pt x="882406" y="2615783"/>
                </a:cubicBezTo>
                <a:moveTo>
                  <a:pt x="756283" y="2729728"/>
                </a:moveTo>
                <a:cubicBezTo>
                  <a:pt x="756283" y="2729423"/>
                  <a:pt x="756054" y="2729195"/>
                  <a:pt x="755750" y="2729195"/>
                </a:cubicBezTo>
                <a:cubicBezTo>
                  <a:pt x="755446" y="2729195"/>
                  <a:pt x="755217" y="2729423"/>
                  <a:pt x="755217" y="2729728"/>
                </a:cubicBezTo>
                <a:cubicBezTo>
                  <a:pt x="755217" y="2730032"/>
                  <a:pt x="755446" y="2730260"/>
                  <a:pt x="755750" y="2730260"/>
                </a:cubicBezTo>
                <a:cubicBezTo>
                  <a:pt x="756054" y="2730260"/>
                  <a:pt x="756283" y="2729956"/>
                  <a:pt x="756283" y="2729728"/>
                </a:cubicBezTo>
                <a:moveTo>
                  <a:pt x="3880821" y="5764145"/>
                </a:moveTo>
                <a:cubicBezTo>
                  <a:pt x="3880821" y="5763841"/>
                  <a:pt x="3880593" y="5763612"/>
                  <a:pt x="3880288" y="5763612"/>
                </a:cubicBezTo>
                <a:cubicBezTo>
                  <a:pt x="3879983" y="5763612"/>
                  <a:pt x="3879756" y="5763841"/>
                  <a:pt x="3879756" y="5764145"/>
                </a:cubicBezTo>
                <a:cubicBezTo>
                  <a:pt x="3879756" y="5764450"/>
                  <a:pt x="3879983" y="5764678"/>
                  <a:pt x="3880288" y="5764678"/>
                </a:cubicBezTo>
                <a:cubicBezTo>
                  <a:pt x="3880593" y="5764678"/>
                  <a:pt x="3880821" y="5764450"/>
                  <a:pt x="3880821" y="5764145"/>
                </a:cubicBezTo>
                <a:moveTo>
                  <a:pt x="3992254" y="5635282"/>
                </a:moveTo>
                <a:cubicBezTo>
                  <a:pt x="3992254" y="5634673"/>
                  <a:pt x="3991797" y="5634216"/>
                  <a:pt x="3991188" y="5634216"/>
                </a:cubicBezTo>
                <a:cubicBezTo>
                  <a:pt x="3990579" y="5634216"/>
                  <a:pt x="3990123" y="5634673"/>
                  <a:pt x="3990123" y="5635282"/>
                </a:cubicBezTo>
                <a:cubicBezTo>
                  <a:pt x="3990123" y="5635891"/>
                  <a:pt x="3990579" y="5636348"/>
                  <a:pt x="3991188" y="5636348"/>
                </a:cubicBezTo>
                <a:cubicBezTo>
                  <a:pt x="3991797" y="5636348"/>
                  <a:pt x="3992254" y="5635891"/>
                  <a:pt x="3992254" y="5635282"/>
                </a:cubicBezTo>
                <a:moveTo>
                  <a:pt x="4093183" y="5498579"/>
                </a:moveTo>
                <a:cubicBezTo>
                  <a:pt x="4093183" y="5497970"/>
                  <a:pt x="4092727" y="5497513"/>
                  <a:pt x="4092117" y="5497513"/>
                </a:cubicBezTo>
                <a:cubicBezTo>
                  <a:pt x="4091509" y="5497513"/>
                  <a:pt x="4091051" y="5497970"/>
                  <a:pt x="4091051" y="5498579"/>
                </a:cubicBezTo>
                <a:cubicBezTo>
                  <a:pt x="4091051" y="5499188"/>
                  <a:pt x="4091509" y="5499644"/>
                  <a:pt x="4092117" y="5499644"/>
                </a:cubicBezTo>
                <a:cubicBezTo>
                  <a:pt x="4092727" y="5499644"/>
                  <a:pt x="4093183" y="5499111"/>
                  <a:pt x="4093183" y="5498579"/>
                </a:cubicBezTo>
                <a:moveTo>
                  <a:pt x="4184674" y="5354568"/>
                </a:moveTo>
                <a:cubicBezTo>
                  <a:pt x="4184674" y="5353427"/>
                  <a:pt x="4183760" y="5352437"/>
                  <a:pt x="4182542" y="5352437"/>
                </a:cubicBezTo>
                <a:cubicBezTo>
                  <a:pt x="4181400" y="5352437"/>
                  <a:pt x="4180412" y="5353351"/>
                  <a:pt x="4180412" y="5354568"/>
                </a:cubicBezTo>
                <a:cubicBezTo>
                  <a:pt x="4180412" y="5355710"/>
                  <a:pt x="4181325" y="5356700"/>
                  <a:pt x="4182542" y="5356700"/>
                </a:cubicBezTo>
                <a:cubicBezTo>
                  <a:pt x="4183760" y="5356700"/>
                  <a:pt x="4184674" y="5355786"/>
                  <a:pt x="4184674" y="5354568"/>
                </a:cubicBezTo>
                <a:moveTo>
                  <a:pt x="4264671" y="5204316"/>
                </a:moveTo>
                <a:cubicBezTo>
                  <a:pt x="4264671" y="5202870"/>
                  <a:pt x="4263529" y="5201653"/>
                  <a:pt x="4262084" y="5201653"/>
                </a:cubicBezTo>
                <a:cubicBezTo>
                  <a:pt x="4260637" y="5201653"/>
                  <a:pt x="4259495" y="5202870"/>
                  <a:pt x="4259495" y="5204316"/>
                </a:cubicBezTo>
                <a:cubicBezTo>
                  <a:pt x="4259495" y="5205763"/>
                  <a:pt x="4260637" y="5206905"/>
                  <a:pt x="4262084" y="5206905"/>
                </a:cubicBezTo>
                <a:cubicBezTo>
                  <a:pt x="4263529" y="5206905"/>
                  <a:pt x="4264671" y="5205763"/>
                  <a:pt x="4264671" y="5204316"/>
                </a:cubicBezTo>
                <a:moveTo>
                  <a:pt x="4333708" y="5048508"/>
                </a:moveTo>
                <a:cubicBezTo>
                  <a:pt x="4333708" y="5046453"/>
                  <a:pt x="4332033" y="5044855"/>
                  <a:pt x="4330054" y="5044855"/>
                </a:cubicBezTo>
                <a:cubicBezTo>
                  <a:pt x="4327999" y="5044855"/>
                  <a:pt x="4326401" y="5046529"/>
                  <a:pt x="4326401" y="5048508"/>
                </a:cubicBezTo>
                <a:cubicBezTo>
                  <a:pt x="4326401" y="5050563"/>
                  <a:pt x="4328075" y="5052162"/>
                  <a:pt x="4330054" y="5052162"/>
                </a:cubicBezTo>
                <a:cubicBezTo>
                  <a:pt x="4332033" y="5052162"/>
                  <a:pt x="4333708" y="5050563"/>
                  <a:pt x="4333708" y="5048508"/>
                </a:cubicBezTo>
                <a:moveTo>
                  <a:pt x="4390870" y="4888057"/>
                </a:moveTo>
                <a:cubicBezTo>
                  <a:pt x="4390870" y="4885469"/>
                  <a:pt x="4388740" y="4883338"/>
                  <a:pt x="4386151" y="4883338"/>
                </a:cubicBezTo>
                <a:cubicBezTo>
                  <a:pt x="4383563" y="4883338"/>
                  <a:pt x="4381432" y="4885469"/>
                  <a:pt x="4381432" y="4888057"/>
                </a:cubicBezTo>
                <a:cubicBezTo>
                  <a:pt x="4381432" y="4890645"/>
                  <a:pt x="4383563" y="4892776"/>
                  <a:pt x="4386151" y="4892776"/>
                </a:cubicBezTo>
                <a:cubicBezTo>
                  <a:pt x="4388740" y="4892776"/>
                  <a:pt x="4390870" y="4890645"/>
                  <a:pt x="4390870" y="4888057"/>
                </a:cubicBezTo>
                <a:moveTo>
                  <a:pt x="4435931" y="4723876"/>
                </a:moveTo>
                <a:cubicBezTo>
                  <a:pt x="4435931" y="4720679"/>
                  <a:pt x="4433343" y="4718091"/>
                  <a:pt x="4430146" y="4718091"/>
                </a:cubicBezTo>
                <a:cubicBezTo>
                  <a:pt x="4426949" y="4718091"/>
                  <a:pt x="4424361" y="4720679"/>
                  <a:pt x="4424361" y="4723876"/>
                </a:cubicBezTo>
                <a:cubicBezTo>
                  <a:pt x="4424361" y="4727073"/>
                  <a:pt x="4426949" y="4729661"/>
                  <a:pt x="4430146" y="4729661"/>
                </a:cubicBezTo>
                <a:cubicBezTo>
                  <a:pt x="4433343" y="4729661"/>
                  <a:pt x="4435931" y="4727073"/>
                  <a:pt x="4435931" y="4723876"/>
                </a:cubicBezTo>
                <a:moveTo>
                  <a:pt x="4468585" y="4556802"/>
                </a:moveTo>
                <a:cubicBezTo>
                  <a:pt x="4468585" y="4553073"/>
                  <a:pt x="4465540" y="4549952"/>
                  <a:pt x="4461734" y="4549952"/>
                </a:cubicBezTo>
                <a:cubicBezTo>
                  <a:pt x="4458005" y="4549952"/>
                  <a:pt x="4454884" y="4552997"/>
                  <a:pt x="4454884" y="4556802"/>
                </a:cubicBezTo>
                <a:cubicBezTo>
                  <a:pt x="4454884" y="4560608"/>
                  <a:pt x="4457928" y="4563653"/>
                  <a:pt x="4461734" y="4563653"/>
                </a:cubicBezTo>
                <a:cubicBezTo>
                  <a:pt x="4465540" y="4563653"/>
                  <a:pt x="4468585" y="4560608"/>
                  <a:pt x="4468585" y="4556802"/>
                </a:cubicBezTo>
                <a:moveTo>
                  <a:pt x="4489212" y="4387902"/>
                </a:moveTo>
                <a:cubicBezTo>
                  <a:pt x="4489212" y="4383259"/>
                  <a:pt x="4485482" y="4379530"/>
                  <a:pt x="4480839" y="4379530"/>
                </a:cubicBezTo>
                <a:cubicBezTo>
                  <a:pt x="4476196" y="4379530"/>
                  <a:pt x="4472467" y="4383259"/>
                  <a:pt x="4472467" y="4387902"/>
                </a:cubicBezTo>
                <a:cubicBezTo>
                  <a:pt x="4472467" y="4392545"/>
                  <a:pt x="4476196" y="4396275"/>
                  <a:pt x="4480839" y="4396275"/>
                </a:cubicBezTo>
                <a:cubicBezTo>
                  <a:pt x="4485406" y="4396351"/>
                  <a:pt x="4489212" y="4392545"/>
                  <a:pt x="4489212" y="4387902"/>
                </a:cubicBezTo>
                <a:moveTo>
                  <a:pt x="4496595" y="4218013"/>
                </a:moveTo>
                <a:cubicBezTo>
                  <a:pt x="4496595" y="4212761"/>
                  <a:pt x="4492333" y="4208574"/>
                  <a:pt x="4487156" y="4208574"/>
                </a:cubicBezTo>
                <a:cubicBezTo>
                  <a:pt x="4481905" y="4208574"/>
                  <a:pt x="4477718" y="4212837"/>
                  <a:pt x="4477718" y="4218013"/>
                </a:cubicBezTo>
                <a:cubicBezTo>
                  <a:pt x="4477718" y="4223265"/>
                  <a:pt x="4481981" y="4227451"/>
                  <a:pt x="4487156" y="4227451"/>
                </a:cubicBezTo>
                <a:cubicBezTo>
                  <a:pt x="4492333" y="4227527"/>
                  <a:pt x="4496595" y="4223265"/>
                  <a:pt x="4496595" y="4218013"/>
                </a:cubicBezTo>
                <a:moveTo>
                  <a:pt x="4491267" y="4048199"/>
                </a:moveTo>
                <a:cubicBezTo>
                  <a:pt x="4491267" y="4042414"/>
                  <a:pt x="4486548" y="4037695"/>
                  <a:pt x="4480763" y="4037695"/>
                </a:cubicBezTo>
                <a:cubicBezTo>
                  <a:pt x="4474978" y="4037695"/>
                  <a:pt x="4470259" y="4042414"/>
                  <a:pt x="4470259" y="4048199"/>
                </a:cubicBezTo>
                <a:cubicBezTo>
                  <a:pt x="4470259" y="4053984"/>
                  <a:pt x="4474978" y="4058703"/>
                  <a:pt x="4480763" y="4058703"/>
                </a:cubicBezTo>
                <a:cubicBezTo>
                  <a:pt x="4486548" y="4058703"/>
                  <a:pt x="4491267" y="4053984"/>
                  <a:pt x="4491267" y="4048199"/>
                </a:cubicBezTo>
                <a:moveTo>
                  <a:pt x="4473836" y="3879223"/>
                </a:moveTo>
                <a:cubicBezTo>
                  <a:pt x="4473836" y="3872525"/>
                  <a:pt x="4468432" y="3867121"/>
                  <a:pt x="4461734" y="3867121"/>
                </a:cubicBezTo>
                <a:cubicBezTo>
                  <a:pt x="4455036" y="3867121"/>
                  <a:pt x="4449632" y="3872525"/>
                  <a:pt x="4449632" y="3879223"/>
                </a:cubicBezTo>
                <a:cubicBezTo>
                  <a:pt x="4449632" y="3885921"/>
                  <a:pt x="4455036" y="3891325"/>
                  <a:pt x="4461734" y="3891325"/>
                </a:cubicBezTo>
                <a:cubicBezTo>
                  <a:pt x="4468432" y="3891325"/>
                  <a:pt x="4473836" y="3885921"/>
                  <a:pt x="4473836" y="3879223"/>
                </a:cubicBezTo>
                <a:moveTo>
                  <a:pt x="4443314" y="3712226"/>
                </a:moveTo>
                <a:cubicBezTo>
                  <a:pt x="4443314" y="3704995"/>
                  <a:pt x="4437453" y="3699134"/>
                  <a:pt x="4430222" y="3699134"/>
                </a:cubicBezTo>
                <a:cubicBezTo>
                  <a:pt x="4422992" y="3699134"/>
                  <a:pt x="4417054" y="3704995"/>
                  <a:pt x="4417054" y="3712226"/>
                </a:cubicBezTo>
                <a:cubicBezTo>
                  <a:pt x="4417054" y="3719457"/>
                  <a:pt x="4422915" y="3725394"/>
                  <a:pt x="4430222" y="3725394"/>
                </a:cubicBezTo>
                <a:cubicBezTo>
                  <a:pt x="4437377" y="3725394"/>
                  <a:pt x="4443314" y="3719457"/>
                  <a:pt x="4443314" y="3712226"/>
                </a:cubicBezTo>
                <a:moveTo>
                  <a:pt x="4400309" y="3548045"/>
                </a:moveTo>
                <a:cubicBezTo>
                  <a:pt x="4400309" y="3540205"/>
                  <a:pt x="4393991" y="3533887"/>
                  <a:pt x="4386151" y="3533887"/>
                </a:cubicBezTo>
                <a:cubicBezTo>
                  <a:pt x="4378312" y="3533887"/>
                  <a:pt x="4371994" y="3540205"/>
                  <a:pt x="4371994" y="3548045"/>
                </a:cubicBezTo>
                <a:cubicBezTo>
                  <a:pt x="4371994" y="3555884"/>
                  <a:pt x="4378312" y="3562202"/>
                  <a:pt x="4386151" y="3562202"/>
                </a:cubicBezTo>
                <a:cubicBezTo>
                  <a:pt x="4393991" y="3562202"/>
                  <a:pt x="4400309" y="3555884"/>
                  <a:pt x="4400309" y="3548045"/>
                </a:cubicBezTo>
                <a:moveTo>
                  <a:pt x="4345201" y="3387593"/>
                </a:moveTo>
                <a:cubicBezTo>
                  <a:pt x="4345201" y="3379221"/>
                  <a:pt x="4338351" y="3372370"/>
                  <a:pt x="4329978" y="3372370"/>
                </a:cubicBezTo>
                <a:cubicBezTo>
                  <a:pt x="4321529" y="3372370"/>
                  <a:pt x="4314755" y="3379221"/>
                  <a:pt x="4314755" y="3387593"/>
                </a:cubicBezTo>
                <a:cubicBezTo>
                  <a:pt x="4314755" y="3396042"/>
                  <a:pt x="4321605" y="3402816"/>
                  <a:pt x="4329978" y="3402816"/>
                </a:cubicBezTo>
                <a:cubicBezTo>
                  <a:pt x="4338427" y="3402816"/>
                  <a:pt x="4345201" y="3395966"/>
                  <a:pt x="4345201" y="3387593"/>
                </a:cubicBezTo>
                <a:moveTo>
                  <a:pt x="4277763" y="3231785"/>
                </a:moveTo>
                <a:cubicBezTo>
                  <a:pt x="4277763" y="3223108"/>
                  <a:pt x="4270685" y="3216029"/>
                  <a:pt x="4262007" y="3216029"/>
                </a:cubicBezTo>
                <a:cubicBezTo>
                  <a:pt x="4253330" y="3216029"/>
                  <a:pt x="4246251" y="3223108"/>
                  <a:pt x="4246251" y="3231785"/>
                </a:cubicBezTo>
                <a:cubicBezTo>
                  <a:pt x="4246251" y="3240462"/>
                  <a:pt x="4253330" y="3247541"/>
                  <a:pt x="4262007" y="3247541"/>
                </a:cubicBezTo>
                <a:cubicBezTo>
                  <a:pt x="4270761" y="3247541"/>
                  <a:pt x="4277763" y="3240462"/>
                  <a:pt x="4277763" y="3231785"/>
                </a:cubicBezTo>
                <a:moveTo>
                  <a:pt x="4198907" y="3081457"/>
                </a:moveTo>
                <a:cubicBezTo>
                  <a:pt x="4198907" y="3072476"/>
                  <a:pt x="4191600" y="3065168"/>
                  <a:pt x="4182618" y="3065168"/>
                </a:cubicBezTo>
                <a:cubicBezTo>
                  <a:pt x="4173637" y="3065168"/>
                  <a:pt x="4166330" y="3072476"/>
                  <a:pt x="4166330" y="3081457"/>
                </a:cubicBezTo>
                <a:cubicBezTo>
                  <a:pt x="4166330" y="3090439"/>
                  <a:pt x="4173637" y="3097746"/>
                  <a:pt x="4182618" y="3097746"/>
                </a:cubicBezTo>
                <a:cubicBezTo>
                  <a:pt x="4191600" y="3097746"/>
                  <a:pt x="4198907" y="3090439"/>
                  <a:pt x="4198907" y="3081457"/>
                </a:cubicBezTo>
                <a:moveTo>
                  <a:pt x="4108939" y="2937523"/>
                </a:moveTo>
                <a:cubicBezTo>
                  <a:pt x="4108939" y="2928237"/>
                  <a:pt x="4101404" y="2920701"/>
                  <a:pt x="4092117" y="2920701"/>
                </a:cubicBezTo>
                <a:cubicBezTo>
                  <a:pt x="4082831" y="2920701"/>
                  <a:pt x="4075296" y="2928237"/>
                  <a:pt x="4075296" y="2937523"/>
                </a:cubicBezTo>
                <a:cubicBezTo>
                  <a:pt x="4075296" y="2946809"/>
                  <a:pt x="4082831" y="2954344"/>
                  <a:pt x="4092117" y="2954344"/>
                </a:cubicBezTo>
                <a:cubicBezTo>
                  <a:pt x="4101479" y="2954344"/>
                  <a:pt x="4108939" y="2946809"/>
                  <a:pt x="4108939" y="2937523"/>
                </a:cubicBezTo>
                <a:moveTo>
                  <a:pt x="4008543" y="2800743"/>
                </a:moveTo>
                <a:cubicBezTo>
                  <a:pt x="4008543" y="2791153"/>
                  <a:pt x="4000779" y="2783389"/>
                  <a:pt x="3991188" y="2783389"/>
                </a:cubicBezTo>
                <a:cubicBezTo>
                  <a:pt x="3981597" y="2783389"/>
                  <a:pt x="3973834" y="2791153"/>
                  <a:pt x="3973834" y="2800743"/>
                </a:cubicBezTo>
                <a:cubicBezTo>
                  <a:pt x="3973834" y="2810334"/>
                  <a:pt x="3981597" y="2818098"/>
                  <a:pt x="3991188" y="2818098"/>
                </a:cubicBezTo>
                <a:cubicBezTo>
                  <a:pt x="4000779" y="2818098"/>
                  <a:pt x="4008543" y="2810334"/>
                  <a:pt x="4008543" y="2800743"/>
                </a:cubicBezTo>
                <a:moveTo>
                  <a:pt x="3897643" y="2671956"/>
                </a:moveTo>
                <a:cubicBezTo>
                  <a:pt x="3897643" y="2662366"/>
                  <a:pt x="3889879" y="2654602"/>
                  <a:pt x="3880288" y="2654602"/>
                </a:cubicBezTo>
                <a:cubicBezTo>
                  <a:pt x="3870698" y="2654602"/>
                  <a:pt x="3862934" y="2662366"/>
                  <a:pt x="3862934" y="2671956"/>
                </a:cubicBezTo>
                <a:cubicBezTo>
                  <a:pt x="3862934" y="2681547"/>
                  <a:pt x="3870698" y="2689310"/>
                  <a:pt x="3880288" y="2689310"/>
                </a:cubicBezTo>
                <a:cubicBezTo>
                  <a:pt x="3889879" y="2689234"/>
                  <a:pt x="3897643" y="2681470"/>
                  <a:pt x="3897643" y="2671956"/>
                </a:cubicBezTo>
                <a:moveTo>
                  <a:pt x="3777456" y="2551694"/>
                </a:moveTo>
                <a:cubicBezTo>
                  <a:pt x="3777456" y="2542103"/>
                  <a:pt x="3769692" y="2534339"/>
                  <a:pt x="3760102" y="2534339"/>
                </a:cubicBezTo>
                <a:cubicBezTo>
                  <a:pt x="3750511" y="2534339"/>
                  <a:pt x="3742748" y="2542103"/>
                  <a:pt x="3742748" y="2551694"/>
                </a:cubicBezTo>
                <a:cubicBezTo>
                  <a:pt x="3742748" y="2561284"/>
                  <a:pt x="3750511" y="2569048"/>
                  <a:pt x="3760102" y="2569048"/>
                </a:cubicBezTo>
                <a:cubicBezTo>
                  <a:pt x="3769692" y="2569048"/>
                  <a:pt x="3777456" y="2561284"/>
                  <a:pt x="3777456" y="2551694"/>
                </a:cubicBezTo>
                <a:moveTo>
                  <a:pt x="3648592" y="2440870"/>
                </a:moveTo>
                <a:cubicBezTo>
                  <a:pt x="3648592" y="2431279"/>
                  <a:pt x="3640829" y="2423515"/>
                  <a:pt x="3631239" y="2423515"/>
                </a:cubicBezTo>
                <a:cubicBezTo>
                  <a:pt x="3621648" y="2423515"/>
                  <a:pt x="3613884" y="2431279"/>
                  <a:pt x="3613884" y="2440870"/>
                </a:cubicBezTo>
                <a:cubicBezTo>
                  <a:pt x="3613884" y="2450460"/>
                  <a:pt x="3621648" y="2458224"/>
                  <a:pt x="3631239" y="2458224"/>
                </a:cubicBezTo>
                <a:cubicBezTo>
                  <a:pt x="3640829" y="2458148"/>
                  <a:pt x="3648592" y="2450384"/>
                  <a:pt x="3648592" y="2440870"/>
                </a:cubicBezTo>
                <a:moveTo>
                  <a:pt x="3511357" y="2339941"/>
                </a:moveTo>
                <a:cubicBezTo>
                  <a:pt x="3511357" y="2330654"/>
                  <a:pt x="3503822" y="2323119"/>
                  <a:pt x="3494535" y="2323119"/>
                </a:cubicBezTo>
                <a:cubicBezTo>
                  <a:pt x="3485249" y="2323119"/>
                  <a:pt x="3477714" y="2330654"/>
                  <a:pt x="3477714" y="2339941"/>
                </a:cubicBezTo>
                <a:cubicBezTo>
                  <a:pt x="3477714" y="2349227"/>
                  <a:pt x="3485249" y="2356762"/>
                  <a:pt x="3494535" y="2356762"/>
                </a:cubicBezTo>
                <a:cubicBezTo>
                  <a:pt x="3503822" y="2356686"/>
                  <a:pt x="3511357" y="2349151"/>
                  <a:pt x="3511357" y="2339941"/>
                </a:cubicBezTo>
                <a:moveTo>
                  <a:pt x="3366890" y="2249439"/>
                </a:moveTo>
                <a:cubicBezTo>
                  <a:pt x="3366890" y="2240458"/>
                  <a:pt x="3359582" y="2233151"/>
                  <a:pt x="3350601" y="2233151"/>
                </a:cubicBezTo>
                <a:cubicBezTo>
                  <a:pt x="3341619" y="2233151"/>
                  <a:pt x="3334312" y="2240458"/>
                  <a:pt x="3334312" y="2249439"/>
                </a:cubicBezTo>
                <a:cubicBezTo>
                  <a:pt x="3334312" y="2258421"/>
                  <a:pt x="3341619" y="2265728"/>
                  <a:pt x="3350601" y="2265728"/>
                </a:cubicBezTo>
                <a:cubicBezTo>
                  <a:pt x="3359582" y="2265728"/>
                  <a:pt x="3366890" y="2258421"/>
                  <a:pt x="3366890" y="2249439"/>
                </a:cubicBezTo>
                <a:moveTo>
                  <a:pt x="3216029" y="2170051"/>
                </a:moveTo>
                <a:cubicBezTo>
                  <a:pt x="3216029" y="2161374"/>
                  <a:pt x="3208951" y="2154295"/>
                  <a:pt x="3200273" y="2154295"/>
                </a:cubicBezTo>
                <a:cubicBezTo>
                  <a:pt x="3191596" y="2154295"/>
                  <a:pt x="3184517" y="2161374"/>
                  <a:pt x="3184517" y="2170051"/>
                </a:cubicBezTo>
                <a:cubicBezTo>
                  <a:pt x="3184517" y="2178728"/>
                  <a:pt x="3191596" y="2185807"/>
                  <a:pt x="3200273" y="2185807"/>
                </a:cubicBezTo>
                <a:cubicBezTo>
                  <a:pt x="3209026" y="2185807"/>
                  <a:pt x="3216029" y="2178728"/>
                  <a:pt x="3216029" y="2170051"/>
                </a:cubicBezTo>
                <a:moveTo>
                  <a:pt x="3059687" y="2102080"/>
                </a:moveTo>
                <a:cubicBezTo>
                  <a:pt x="3059687" y="2093707"/>
                  <a:pt x="3052838" y="2086857"/>
                  <a:pt x="3044464" y="2086857"/>
                </a:cubicBezTo>
                <a:cubicBezTo>
                  <a:pt x="3036016" y="2086857"/>
                  <a:pt x="3029241" y="2093707"/>
                  <a:pt x="3029241" y="2102080"/>
                </a:cubicBezTo>
                <a:cubicBezTo>
                  <a:pt x="3029241" y="2110529"/>
                  <a:pt x="3036092" y="2117303"/>
                  <a:pt x="3044464" y="2117303"/>
                </a:cubicBezTo>
                <a:cubicBezTo>
                  <a:pt x="3052914" y="2117303"/>
                  <a:pt x="3059687" y="2110453"/>
                  <a:pt x="3059687" y="2102080"/>
                </a:cubicBezTo>
                <a:moveTo>
                  <a:pt x="2898247" y="2045907"/>
                </a:moveTo>
                <a:cubicBezTo>
                  <a:pt x="2898247" y="2038067"/>
                  <a:pt x="2891930" y="2031749"/>
                  <a:pt x="2884089" y="2031749"/>
                </a:cubicBezTo>
                <a:cubicBezTo>
                  <a:pt x="2876249" y="2031749"/>
                  <a:pt x="2869932" y="2038067"/>
                  <a:pt x="2869932" y="2045907"/>
                </a:cubicBezTo>
                <a:cubicBezTo>
                  <a:pt x="2869932" y="2053746"/>
                  <a:pt x="2876249" y="2060064"/>
                  <a:pt x="2884089" y="2060064"/>
                </a:cubicBezTo>
                <a:cubicBezTo>
                  <a:pt x="2891853" y="2060064"/>
                  <a:pt x="2898247" y="2053746"/>
                  <a:pt x="2898247" y="2045907"/>
                </a:cubicBezTo>
                <a:moveTo>
                  <a:pt x="2732924" y="2001912"/>
                </a:moveTo>
                <a:cubicBezTo>
                  <a:pt x="2732924" y="1994681"/>
                  <a:pt x="2727063" y="1988744"/>
                  <a:pt x="2719833" y="1988744"/>
                </a:cubicBezTo>
                <a:cubicBezTo>
                  <a:pt x="2712601" y="1988744"/>
                  <a:pt x="2706664" y="1994605"/>
                  <a:pt x="2706664" y="2001912"/>
                </a:cubicBezTo>
                <a:cubicBezTo>
                  <a:pt x="2706664" y="2009143"/>
                  <a:pt x="2712525" y="2015004"/>
                  <a:pt x="2719833" y="2015004"/>
                </a:cubicBezTo>
                <a:cubicBezTo>
                  <a:pt x="2727140" y="2015004"/>
                  <a:pt x="2732924" y="2009143"/>
                  <a:pt x="2732924" y="2001912"/>
                </a:cubicBezTo>
                <a:moveTo>
                  <a:pt x="2564862" y="1970324"/>
                </a:moveTo>
                <a:cubicBezTo>
                  <a:pt x="2564862" y="1963626"/>
                  <a:pt x="2559457" y="1958222"/>
                  <a:pt x="2552759" y="1958222"/>
                </a:cubicBezTo>
                <a:cubicBezTo>
                  <a:pt x="2546061" y="1958222"/>
                  <a:pt x="2540657" y="1963626"/>
                  <a:pt x="2540657" y="1970324"/>
                </a:cubicBezTo>
                <a:cubicBezTo>
                  <a:pt x="2540657" y="1977022"/>
                  <a:pt x="2546061" y="1982426"/>
                  <a:pt x="2552759" y="1982426"/>
                </a:cubicBezTo>
                <a:cubicBezTo>
                  <a:pt x="2559457" y="1982426"/>
                  <a:pt x="2564862" y="1976946"/>
                  <a:pt x="2564862" y="1970324"/>
                </a:cubicBezTo>
                <a:moveTo>
                  <a:pt x="2394363" y="1951295"/>
                </a:moveTo>
                <a:cubicBezTo>
                  <a:pt x="2394363" y="1945510"/>
                  <a:pt x="2389644" y="1940791"/>
                  <a:pt x="2383859" y="1940791"/>
                </a:cubicBezTo>
                <a:cubicBezTo>
                  <a:pt x="2378074" y="1940791"/>
                  <a:pt x="2373355" y="1945510"/>
                  <a:pt x="2373355" y="1951295"/>
                </a:cubicBezTo>
                <a:cubicBezTo>
                  <a:pt x="2373355" y="1957080"/>
                  <a:pt x="2378074" y="1961799"/>
                  <a:pt x="2383859" y="1961799"/>
                </a:cubicBezTo>
                <a:cubicBezTo>
                  <a:pt x="2389644" y="1961799"/>
                  <a:pt x="2394363" y="1957080"/>
                  <a:pt x="2394363" y="1951295"/>
                </a:cubicBezTo>
                <a:moveTo>
                  <a:pt x="2223483" y="1944901"/>
                </a:moveTo>
                <a:cubicBezTo>
                  <a:pt x="2223483" y="1939649"/>
                  <a:pt x="2219221" y="1935463"/>
                  <a:pt x="2214045" y="1935463"/>
                </a:cubicBezTo>
                <a:cubicBezTo>
                  <a:pt x="2208794" y="1935463"/>
                  <a:pt x="2204607" y="1939726"/>
                  <a:pt x="2204607" y="1944901"/>
                </a:cubicBezTo>
                <a:cubicBezTo>
                  <a:pt x="2204607" y="1950153"/>
                  <a:pt x="2208870" y="1954340"/>
                  <a:pt x="2214045" y="1954340"/>
                </a:cubicBezTo>
                <a:cubicBezTo>
                  <a:pt x="2219221" y="1954340"/>
                  <a:pt x="2223483" y="1950153"/>
                  <a:pt x="2223483" y="1944901"/>
                </a:cubicBezTo>
                <a:moveTo>
                  <a:pt x="2052528" y="1951295"/>
                </a:moveTo>
                <a:cubicBezTo>
                  <a:pt x="2052528" y="1946652"/>
                  <a:pt x="2048799" y="1942922"/>
                  <a:pt x="2044156" y="1942922"/>
                </a:cubicBezTo>
                <a:cubicBezTo>
                  <a:pt x="2039513" y="1942922"/>
                  <a:pt x="2035707" y="1946652"/>
                  <a:pt x="2035707" y="1951295"/>
                </a:cubicBezTo>
                <a:cubicBezTo>
                  <a:pt x="2035707" y="1955938"/>
                  <a:pt x="2039437" y="1959668"/>
                  <a:pt x="2044156" y="1959668"/>
                </a:cubicBezTo>
                <a:cubicBezTo>
                  <a:pt x="2048799" y="1959668"/>
                  <a:pt x="2052528" y="1955938"/>
                  <a:pt x="2052528" y="1951295"/>
                </a:cubicBezTo>
                <a:moveTo>
                  <a:pt x="1882030" y="1970324"/>
                </a:moveTo>
                <a:cubicBezTo>
                  <a:pt x="1882030" y="1966518"/>
                  <a:pt x="1878985" y="1963474"/>
                  <a:pt x="1875180" y="1963474"/>
                </a:cubicBezTo>
                <a:cubicBezTo>
                  <a:pt x="1871450" y="1963474"/>
                  <a:pt x="1868329" y="1966518"/>
                  <a:pt x="1868329" y="1970324"/>
                </a:cubicBezTo>
                <a:cubicBezTo>
                  <a:pt x="1868329" y="1974054"/>
                  <a:pt x="1871374" y="1977174"/>
                  <a:pt x="1875180" y="1977174"/>
                </a:cubicBezTo>
                <a:cubicBezTo>
                  <a:pt x="1878985" y="1977174"/>
                  <a:pt x="1882030" y="1974054"/>
                  <a:pt x="1882030" y="1970324"/>
                </a:cubicBezTo>
                <a:moveTo>
                  <a:pt x="1713967" y="2001912"/>
                </a:moveTo>
                <a:cubicBezTo>
                  <a:pt x="1713967" y="1998715"/>
                  <a:pt x="1711379" y="1996127"/>
                  <a:pt x="1708182" y="1996127"/>
                </a:cubicBezTo>
                <a:cubicBezTo>
                  <a:pt x="1704986" y="1996127"/>
                  <a:pt x="1702397" y="1998715"/>
                  <a:pt x="1702397" y="2001912"/>
                </a:cubicBezTo>
                <a:cubicBezTo>
                  <a:pt x="1702397" y="2005109"/>
                  <a:pt x="1704986" y="2007697"/>
                  <a:pt x="1708182" y="2007697"/>
                </a:cubicBezTo>
                <a:cubicBezTo>
                  <a:pt x="1711379" y="2007697"/>
                  <a:pt x="1713967" y="2005109"/>
                  <a:pt x="1713967" y="2001912"/>
                </a:cubicBezTo>
                <a:moveTo>
                  <a:pt x="1548720" y="2045907"/>
                </a:moveTo>
                <a:cubicBezTo>
                  <a:pt x="1548720" y="2043319"/>
                  <a:pt x="1546589" y="2041187"/>
                  <a:pt x="1544001" y="2041187"/>
                </a:cubicBezTo>
                <a:cubicBezTo>
                  <a:pt x="1541413" y="2041187"/>
                  <a:pt x="1539282" y="2043319"/>
                  <a:pt x="1539282" y="2045907"/>
                </a:cubicBezTo>
                <a:cubicBezTo>
                  <a:pt x="1539282" y="2048495"/>
                  <a:pt x="1541413" y="2050626"/>
                  <a:pt x="1544001" y="2050626"/>
                </a:cubicBezTo>
                <a:cubicBezTo>
                  <a:pt x="1546589" y="2050626"/>
                  <a:pt x="1548720" y="2048495"/>
                  <a:pt x="1548720" y="2045907"/>
                </a:cubicBezTo>
                <a:moveTo>
                  <a:pt x="1387204" y="2102080"/>
                </a:moveTo>
                <a:cubicBezTo>
                  <a:pt x="1387204" y="2100025"/>
                  <a:pt x="1385529" y="2098426"/>
                  <a:pt x="1383550" y="2098426"/>
                </a:cubicBezTo>
                <a:cubicBezTo>
                  <a:pt x="1381495" y="2098426"/>
                  <a:pt x="1379896" y="2100101"/>
                  <a:pt x="1379896" y="2102080"/>
                </a:cubicBezTo>
                <a:cubicBezTo>
                  <a:pt x="1379896" y="2104135"/>
                  <a:pt x="1381571" y="2105733"/>
                  <a:pt x="1383550" y="2105733"/>
                </a:cubicBezTo>
                <a:cubicBezTo>
                  <a:pt x="1385605" y="2105733"/>
                  <a:pt x="1387204" y="2104059"/>
                  <a:pt x="1387204" y="2102080"/>
                </a:cubicBezTo>
                <a:moveTo>
                  <a:pt x="1230329" y="2170051"/>
                </a:moveTo>
                <a:cubicBezTo>
                  <a:pt x="1230329" y="2168605"/>
                  <a:pt x="1229188" y="2167387"/>
                  <a:pt x="1227742" y="2167387"/>
                </a:cubicBezTo>
                <a:cubicBezTo>
                  <a:pt x="1226296" y="2167387"/>
                  <a:pt x="1225077" y="2168529"/>
                  <a:pt x="1225077" y="2170051"/>
                </a:cubicBezTo>
                <a:cubicBezTo>
                  <a:pt x="1225077" y="2171497"/>
                  <a:pt x="1226296" y="2172639"/>
                  <a:pt x="1227742" y="2172639"/>
                </a:cubicBezTo>
                <a:cubicBezTo>
                  <a:pt x="1229188" y="2172639"/>
                  <a:pt x="1230329" y="2171497"/>
                  <a:pt x="1230329" y="2170051"/>
                </a:cubicBezTo>
                <a:moveTo>
                  <a:pt x="1079545" y="2249439"/>
                </a:moveTo>
                <a:cubicBezTo>
                  <a:pt x="1079545" y="2248298"/>
                  <a:pt x="1078631" y="2247308"/>
                  <a:pt x="1077414" y="2247308"/>
                </a:cubicBezTo>
                <a:cubicBezTo>
                  <a:pt x="1076272" y="2247308"/>
                  <a:pt x="1075282" y="2248222"/>
                  <a:pt x="1075282" y="2249439"/>
                </a:cubicBezTo>
                <a:cubicBezTo>
                  <a:pt x="1075282" y="2250581"/>
                  <a:pt x="1076196" y="2251571"/>
                  <a:pt x="1077414" y="2251571"/>
                </a:cubicBezTo>
                <a:cubicBezTo>
                  <a:pt x="1078631" y="2251571"/>
                  <a:pt x="1079545" y="2250581"/>
                  <a:pt x="1079545" y="2249439"/>
                </a:cubicBezTo>
                <a:moveTo>
                  <a:pt x="934545" y="2339941"/>
                </a:moveTo>
                <a:cubicBezTo>
                  <a:pt x="934545" y="2339332"/>
                  <a:pt x="934088" y="2338875"/>
                  <a:pt x="933479" y="2338875"/>
                </a:cubicBezTo>
                <a:cubicBezTo>
                  <a:pt x="932871" y="2338875"/>
                  <a:pt x="932414" y="2339332"/>
                  <a:pt x="932414" y="2339941"/>
                </a:cubicBezTo>
                <a:cubicBezTo>
                  <a:pt x="932414" y="2340550"/>
                  <a:pt x="932871" y="2341006"/>
                  <a:pt x="933479" y="2341006"/>
                </a:cubicBezTo>
                <a:cubicBezTo>
                  <a:pt x="934088" y="2340930"/>
                  <a:pt x="934545" y="2340473"/>
                  <a:pt x="934545" y="2339941"/>
                </a:cubicBezTo>
                <a:moveTo>
                  <a:pt x="797766" y="2440870"/>
                </a:moveTo>
                <a:cubicBezTo>
                  <a:pt x="797766" y="2440261"/>
                  <a:pt x="797309" y="2439804"/>
                  <a:pt x="796700" y="2439804"/>
                </a:cubicBezTo>
                <a:cubicBezTo>
                  <a:pt x="796091" y="2439804"/>
                  <a:pt x="795634" y="2440261"/>
                  <a:pt x="795634" y="2440870"/>
                </a:cubicBezTo>
                <a:cubicBezTo>
                  <a:pt x="795634" y="2441478"/>
                  <a:pt x="796091" y="2441935"/>
                  <a:pt x="796700" y="2441935"/>
                </a:cubicBezTo>
                <a:cubicBezTo>
                  <a:pt x="797309" y="2441859"/>
                  <a:pt x="797766" y="2441403"/>
                  <a:pt x="797766" y="2440870"/>
                </a:cubicBezTo>
                <a:moveTo>
                  <a:pt x="668445" y="2551694"/>
                </a:moveTo>
                <a:cubicBezTo>
                  <a:pt x="668445" y="2551389"/>
                  <a:pt x="668217" y="2551161"/>
                  <a:pt x="667913" y="2551161"/>
                </a:cubicBezTo>
                <a:cubicBezTo>
                  <a:pt x="667608" y="2551161"/>
                  <a:pt x="667380" y="2551389"/>
                  <a:pt x="667380" y="2551694"/>
                </a:cubicBezTo>
                <a:cubicBezTo>
                  <a:pt x="667380" y="2551998"/>
                  <a:pt x="667608" y="2552227"/>
                  <a:pt x="667913" y="2552227"/>
                </a:cubicBezTo>
                <a:cubicBezTo>
                  <a:pt x="668217" y="2552227"/>
                  <a:pt x="668445" y="2551998"/>
                  <a:pt x="668445" y="2551694"/>
                </a:cubicBezTo>
                <a:moveTo>
                  <a:pt x="4029322" y="5882581"/>
                </a:moveTo>
                <a:cubicBezTo>
                  <a:pt x="4029322" y="5882277"/>
                  <a:pt x="4029094" y="5882048"/>
                  <a:pt x="4028789" y="5882048"/>
                </a:cubicBezTo>
                <a:cubicBezTo>
                  <a:pt x="4028485" y="5882048"/>
                  <a:pt x="4028256" y="5882277"/>
                  <a:pt x="4028256" y="5882581"/>
                </a:cubicBezTo>
                <a:cubicBezTo>
                  <a:pt x="4028256" y="5882886"/>
                  <a:pt x="4028485" y="5883114"/>
                  <a:pt x="4028789" y="5883114"/>
                </a:cubicBezTo>
                <a:cubicBezTo>
                  <a:pt x="4029094" y="5883114"/>
                  <a:pt x="4029322" y="5882886"/>
                  <a:pt x="4029322" y="5882581"/>
                </a:cubicBezTo>
                <a:moveTo>
                  <a:pt x="4140375" y="5753413"/>
                </a:moveTo>
                <a:cubicBezTo>
                  <a:pt x="4140375" y="5752804"/>
                  <a:pt x="4139918" y="5752348"/>
                  <a:pt x="4139309" y="5752348"/>
                </a:cubicBezTo>
                <a:cubicBezTo>
                  <a:pt x="4138700" y="5752348"/>
                  <a:pt x="4138243" y="5752804"/>
                  <a:pt x="4138243" y="5753413"/>
                </a:cubicBezTo>
                <a:cubicBezTo>
                  <a:pt x="4138243" y="5754022"/>
                  <a:pt x="4138700" y="5754479"/>
                  <a:pt x="4139309" y="5754479"/>
                </a:cubicBezTo>
                <a:cubicBezTo>
                  <a:pt x="4139918" y="5754479"/>
                  <a:pt x="4140375" y="5754022"/>
                  <a:pt x="4140375" y="5753413"/>
                </a:cubicBezTo>
                <a:moveTo>
                  <a:pt x="4241684" y="5616938"/>
                </a:moveTo>
                <a:cubicBezTo>
                  <a:pt x="4241684" y="5616329"/>
                  <a:pt x="4241228" y="5615873"/>
                  <a:pt x="4240618" y="5615873"/>
                </a:cubicBezTo>
                <a:cubicBezTo>
                  <a:pt x="4240010" y="5615873"/>
                  <a:pt x="4239553" y="5616329"/>
                  <a:pt x="4239553" y="5616938"/>
                </a:cubicBezTo>
                <a:cubicBezTo>
                  <a:pt x="4239553" y="5617547"/>
                  <a:pt x="4240010" y="5618004"/>
                  <a:pt x="4240618" y="5618004"/>
                </a:cubicBezTo>
                <a:cubicBezTo>
                  <a:pt x="4241228" y="5618004"/>
                  <a:pt x="4241684" y="5617547"/>
                  <a:pt x="4241684" y="5616938"/>
                </a:cubicBezTo>
                <a:moveTo>
                  <a:pt x="4334469" y="5473765"/>
                </a:moveTo>
                <a:cubicBezTo>
                  <a:pt x="4334469" y="5472623"/>
                  <a:pt x="4333556" y="5471634"/>
                  <a:pt x="4332338" y="5471634"/>
                </a:cubicBezTo>
                <a:cubicBezTo>
                  <a:pt x="4331196" y="5471634"/>
                  <a:pt x="4330206" y="5472547"/>
                  <a:pt x="4330206" y="5473765"/>
                </a:cubicBezTo>
                <a:cubicBezTo>
                  <a:pt x="4330206" y="5474907"/>
                  <a:pt x="4331120" y="5475896"/>
                  <a:pt x="4332338" y="5475896"/>
                </a:cubicBezTo>
                <a:cubicBezTo>
                  <a:pt x="4333480" y="5475896"/>
                  <a:pt x="4334469" y="5474907"/>
                  <a:pt x="4334469" y="5473765"/>
                </a:cubicBezTo>
                <a:moveTo>
                  <a:pt x="4417054" y="5324655"/>
                </a:moveTo>
                <a:cubicBezTo>
                  <a:pt x="4417054" y="5322904"/>
                  <a:pt x="4415608" y="5321534"/>
                  <a:pt x="4413933" y="5321534"/>
                </a:cubicBezTo>
                <a:cubicBezTo>
                  <a:pt x="4412183" y="5321534"/>
                  <a:pt x="4410736" y="5322904"/>
                  <a:pt x="4410736" y="5324655"/>
                </a:cubicBezTo>
                <a:cubicBezTo>
                  <a:pt x="4410736" y="5326405"/>
                  <a:pt x="4412183" y="5327775"/>
                  <a:pt x="4413933" y="5327775"/>
                </a:cubicBezTo>
                <a:cubicBezTo>
                  <a:pt x="4415684" y="5327775"/>
                  <a:pt x="4417054" y="5326405"/>
                  <a:pt x="4417054" y="5324655"/>
                </a:cubicBezTo>
                <a:moveTo>
                  <a:pt x="4489212" y="5170217"/>
                </a:moveTo>
                <a:cubicBezTo>
                  <a:pt x="4489212" y="5167933"/>
                  <a:pt x="4487309" y="5166030"/>
                  <a:pt x="4485025" y="5166030"/>
                </a:cubicBezTo>
                <a:cubicBezTo>
                  <a:pt x="4482742" y="5166030"/>
                  <a:pt x="4480839" y="5167933"/>
                  <a:pt x="4480839" y="5170217"/>
                </a:cubicBezTo>
                <a:cubicBezTo>
                  <a:pt x="4480839" y="5172500"/>
                  <a:pt x="4482742" y="5174403"/>
                  <a:pt x="4485025" y="5174403"/>
                </a:cubicBezTo>
                <a:cubicBezTo>
                  <a:pt x="4487309" y="5174403"/>
                  <a:pt x="4489212" y="5172576"/>
                  <a:pt x="4489212" y="5170217"/>
                </a:cubicBezTo>
                <a:moveTo>
                  <a:pt x="4550028" y="5011288"/>
                </a:moveTo>
                <a:cubicBezTo>
                  <a:pt x="4550028" y="5008700"/>
                  <a:pt x="4547896" y="5006569"/>
                  <a:pt x="4545309" y="5006569"/>
                </a:cubicBezTo>
                <a:cubicBezTo>
                  <a:pt x="4542721" y="5006569"/>
                  <a:pt x="4540590" y="5008700"/>
                  <a:pt x="4540590" y="5011288"/>
                </a:cubicBezTo>
                <a:cubicBezTo>
                  <a:pt x="4540590" y="5013876"/>
                  <a:pt x="4542721" y="5016007"/>
                  <a:pt x="4545309" y="5016007"/>
                </a:cubicBezTo>
                <a:cubicBezTo>
                  <a:pt x="4547896" y="5016007"/>
                  <a:pt x="4550028" y="5013876"/>
                  <a:pt x="4550028" y="5011288"/>
                </a:cubicBezTo>
                <a:moveTo>
                  <a:pt x="4600797" y="4848553"/>
                </a:moveTo>
                <a:cubicBezTo>
                  <a:pt x="4600797" y="4845052"/>
                  <a:pt x="4597981" y="4842235"/>
                  <a:pt x="4594479" y="4842235"/>
                </a:cubicBezTo>
                <a:cubicBezTo>
                  <a:pt x="4590978" y="4842235"/>
                  <a:pt x="4588162" y="4845052"/>
                  <a:pt x="4588162" y="4848553"/>
                </a:cubicBezTo>
                <a:cubicBezTo>
                  <a:pt x="4588162" y="4852054"/>
                  <a:pt x="4590978" y="4854871"/>
                  <a:pt x="4594479" y="4854871"/>
                </a:cubicBezTo>
                <a:cubicBezTo>
                  <a:pt x="4597981" y="4854871"/>
                  <a:pt x="4600797" y="4852054"/>
                  <a:pt x="4600797" y="4848553"/>
                </a:cubicBezTo>
                <a:moveTo>
                  <a:pt x="4639692" y="4682850"/>
                </a:moveTo>
                <a:cubicBezTo>
                  <a:pt x="4639692" y="4678816"/>
                  <a:pt x="4636419" y="4675467"/>
                  <a:pt x="4632309" y="4675467"/>
                </a:cubicBezTo>
                <a:cubicBezTo>
                  <a:pt x="4628275" y="4675467"/>
                  <a:pt x="4624925" y="4678740"/>
                  <a:pt x="4624925" y="4682850"/>
                </a:cubicBezTo>
                <a:cubicBezTo>
                  <a:pt x="4624925" y="4686884"/>
                  <a:pt x="4628199" y="4690233"/>
                  <a:pt x="4632309" y="4690233"/>
                </a:cubicBezTo>
                <a:cubicBezTo>
                  <a:pt x="4636343" y="4690157"/>
                  <a:pt x="4639692" y="4686884"/>
                  <a:pt x="4639692" y="4682850"/>
                </a:cubicBezTo>
                <a:moveTo>
                  <a:pt x="4667017" y="4514863"/>
                </a:moveTo>
                <a:cubicBezTo>
                  <a:pt x="4667017" y="4510220"/>
                  <a:pt x="4663288" y="4506490"/>
                  <a:pt x="4658645" y="4506490"/>
                </a:cubicBezTo>
                <a:cubicBezTo>
                  <a:pt x="4654002" y="4506490"/>
                  <a:pt x="4650196" y="4510220"/>
                  <a:pt x="4650196" y="4514863"/>
                </a:cubicBezTo>
                <a:cubicBezTo>
                  <a:pt x="4650196" y="4519506"/>
                  <a:pt x="4653926" y="4523236"/>
                  <a:pt x="4658645" y="4523236"/>
                </a:cubicBezTo>
                <a:cubicBezTo>
                  <a:pt x="4663288" y="4523312"/>
                  <a:pt x="4667017" y="4519506"/>
                  <a:pt x="4667017" y="4514863"/>
                </a:cubicBezTo>
                <a:moveTo>
                  <a:pt x="4683230" y="4345506"/>
                </a:moveTo>
                <a:cubicBezTo>
                  <a:pt x="4683230" y="4340026"/>
                  <a:pt x="4678739" y="4335535"/>
                  <a:pt x="4673259" y="4335535"/>
                </a:cubicBezTo>
                <a:cubicBezTo>
                  <a:pt x="4667778" y="4335535"/>
                  <a:pt x="4663288" y="4340026"/>
                  <a:pt x="4663288" y="4345506"/>
                </a:cubicBezTo>
                <a:cubicBezTo>
                  <a:pt x="4663288" y="4350987"/>
                  <a:pt x="4667778" y="4355477"/>
                  <a:pt x="4673259" y="4355477"/>
                </a:cubicBezTo>
                <a:cubicBezTo>
                  <a:pt x="4678739" y="4355477"/>
                  <a:pt x="4683230" y="4350987"/>
                  <a:pt x="4683230" y="4345506"/>
                </a:cubicBezTo>
                <a:moveTo>
                  <a:pt x="4687264" y="4175540"/>
                </a:moveTo>
                <a:cubicBezTo>
                  <a:pt x="4687264" y="4169451"/>
                  <a:pt x="4682317" y="4164504"/>
                  <a:pt x="4676227" y="4164504"/>
                </a:cubicBezTo>
                <a:cubicBezTo>
                  <a:pt x="4670138" y="4164504"/>
                  <a:pt x="4665191" y="4169451"/>
                  <a:pt x="4665191" y="4175540"/>
                </a:cubicBezTo>
                <a:cubicBezTo>
                  <a:pt x="4665191" y="4181630"/>
                  <a:pt x="4670138" y="4186577"/>
                  <a:pt x="4676227" y="4186577"/>
                </a:cubicBezTo>
                <a:cubicBezTo>
                  <a:pt x="4682317" y="4186577"/>
                  <a:pt x="4687264" y="4181630"/>
                  <a:pt x="4687264" y="4175540"/>
                </a:cubicBezTo>
                <a:moveTo>
                  <a:pt x="4680033" y="4005803"/>
                </a:moveTo>
                <a:cubicBezTo>
                  <a:pt x="4680033" y="3998876"/>
                  <a:pt x="4674400" y="3993168"/>
                  <a:pt x="4667398" y="3993168"/>
                </a:cubicBezTo>
                <a:cubicBezTo>
                  <a:pt x="4660395" y="3993168"/>
                  <a:pt x="4654763" y="3998800"/>
                  <a:pt x="4654763" y="4005803"/>
                </a:cubicBezTo>
                <a:cubicBezTo>
                  <a:pt x="4654763" y="4012729"/>
                  <a:pt x="4660395" y="4018438"/>
                  <a:pt x="4667398" y="4018438"/>
                </a:cubicBezTo>
                <a:cubicBezTo>
                  <a:pt x="4674400" y="4018362"/>
                  <a:pt x="4680033" y="4012729"/>
                  <a:pt x="4680033" y="4005803"/>
                </a:cubicBezTo>
                <a:moveTo>
                  <a:pt x="4660548" y="3837055"/>
                </a:moveTo>
                <a:cubicBezTo>
                  <a:pt x="4660548" y="3829520"/>
                  <a:pt x="4654458" y="3823354"/>
                  <a:pt x="4646923" y="3823354"/>
                </a:cubicBezTo>
                <a:cubicBezTo>
                  <a:pt x="4639387" y="3823354"/>
                  <a:pt x="4633299" y="3829443"/>
                  <a:pt x="4633299" y="3837055"/>
                </a:cubicBezTo>
                <a:cubicBezTo>
                  <a:pt x="4633299" y="3844590"/>
                  <a:pt x="4639387" y="3850680"/>
                  <a:pt x="4646923" y="3850680"/>
                </a:cubicBezTo>
                <a:cubicBezTo>
                  <a:pt x="4654458" y="3850680"/>
                  <a:pt x="4660548" y="3844590"/>
                  <a:pt x="4660548" y="3837055"/>
                </a:cubicBezTo>
                <a:moveTo>
                  <a:pt x="4630025" y="3670058"/>
                </a:moveTo>
                <a:cubicBezTo>
                  <a:pt x="4630025" y="3661685"/>
                  <a:pt x="4623175" y="3654835"/>
                  <a:pt x="4614802" y="3654835"/>
                </a:cubicBezTo>
                <a:cubicBezTo>
                  <a:pt x="4606353" y="3654835"/>
                  <a:pt x="4599579" y="3661685"/>
                  <a:pt x="4599579" y="3670058"/>
                </a:cubicBezTo>
                <a:cubicBezTo>
                  <a:pt x="4599579" y="3678507"/>
                  <a:pt x="4606430" y="3685281"/>
                  <a:pt x="4614802" y="3685281"/>
                </a:cubicBezTo>
                <a:cubicBezTo>
                  <a:pt x="4623251" y="3685281"/>
                  <a:pt x="4630025" y="3678507"/>
                  <a:pt x="4630025" y="3670058"/>
                </a:cubicBezTo>
                <a:moveTo>
                  <a:pt x="4587553" y="3505724"/>
                </a:moveTo>
                <a:cubicBezTo>
                  <a:pt x="4587553" y="3496743"/>
                  <a:pt x="4580245" y="3489436"/>
                  <a:pt x="4571264" y="3489436"/>
                </a:cubicBezTo>
                <a:cubicBezTo>
                  <a:pt x="4562282" y="3489436"/>
                  <a:pt x="4554976" y="3496743"/>
                  <a:pt x="4554976" y="3505724"/>
                </a:cubicBezTo>
                <a:cubicBezTo>
                  <a:pt x="4554976" y="3514706"/>
                  <a:pt x="4562282" y="3522013"/>
                  <a:pt x="4571264" y="3522013"/>
                </a:cubicBezTo>
                <a:cubicBezTo>
                  <a:pt x="4580322" y="3522013"/>
                  <a:pt x="4587553" y="3514706"/>
                  <a:pt x="4587553" y="3505724"/>
                </a:cubicBezTo>
                <a:moveTo>
                  <a:pt x="4533891" y="3344817"/>
                </a:moveTo>
                <a:cubicBezTo>
                  <a:pt x="4533891" y="3335226"/>
                  <a:pt x="4526128" y="3327462"/>
                  <a:pt x="4516537" y="3327462"/>
                </a:cubicBezTo>
                <a:cubicBezTo>
                  <a:pt x="4506946" y="3327462"/>
                  <a:pt x="4499182" y="3335226"/>
                  <a:pt x="4499182" y="3344817"/>
                </a:cubicBezTo>
                <a:cubicBezTo>
                  <a:pt x="4499182" y="3354407"/>
                  <a:pt x="4506946" y="3362171"/>
                  <a:pt x="4516537" y="3362171"/>
                </a:cubicBezTo>
                <a:cubicBezTo>
                  <a:pt x="4526128" y="3362171"/>
                  <a:pt x="4533891" y="3354407"/>
                  <a:pt x="4533891" y="3344817"/>
                </a:cubicBezTo>
                <a:moveTo>
                  <a:pt x="4469193" y="3188019"/>
                </a:moveTo>
                <a:cubicBezTo>
                  <a:pt x="4469193" y="3177895"/>
                  <a:pt x="4460973" y="3169599"/>
                  <a:pt x="4450773" y="3169599"/>
                </a:cubicBezTo>
                <a:cubicBezTo>
                  <a:pt x="4440650" y="3169599"/>
                  <a:pt x="4432430" y="3177819"/>
                  <a:pt x="4432430" y="3188019"/>
                </a:cubicBezTo>
                <a:cubicBezTo>
                  <a:pt x="4432430" y="3198142"/>
                  <a:pt x="4440650" y="3206439"/>
                  <a:pt x="4450773" y="3206439"/>
                </a:cubicBezTo>
                <a:cubicBezTo>
                  <a:pt x="4460973" y="3206439"/>
                  <a:pt x="4469193" y="3198218"/>
                  <a:pt x="4469193" y="3188019"/>
                </a:cubicBezTo>
                <a:moveTo>
                  <a:pt x="4393306" y="3036168"/>
                </a:moveTo>
                <a:cubicBezTo>
                  <a:pt x="4393306" y="3025741"/>
                  <a:pt x="4384858" y="3017292"/>
                  <a:pt x="4374430" y="3017292"/>
                </a:cubicBezTo>
                <a:cubicBezTo>
                  <a:pt x="4364002" y="3017292"/>
                  <a:pt x="4355477" y="3025741"/>
                  <a:pt x="4355477" y="3036168"/>
                </a:cubicBezTo>
                <a:cubicBezTo>
                  <a:pt x="4355477" y="3046596"/>
                  <a:pt x="4363926" y="3055045"/>
                  <a:pt x="4374430" y="3055045"/>
                </a:cubicBezTo>
                <a:cubicBezTo>
                  <a:pt x="4384858" y="3055045"/>
                  <a:pt x="4393306" y="3046596"/>
                  <a:pt x="4393306" y="3036168"/>
                </a:cubicBezTo>
                <a:moveTo>
                  <a:pt x="4307143" y="2889951"/>
                </a:moveTo>
                <a:cubicBezTo>
                  <a:pt x="4307143" y="2879218"/>
                  <a:pt x="4298466" y="2870541"/>
                  <a:pt x="4287734" y="2870541"/>
                </a:cubicBezTo>
                <a:cubicBezTo>
                  <a:pt x="4277002" y="2870541"/>
                  <a:pt x="4268325" y="2879218"/>
                  <a:pt x="4268325" y="2889951"/>
                </a:cubicBezTo>
                <a:cubicBezTo>
                  <a:pt x="4268325" y="2900683"/>
                  <a:pt x="4277002" y="2909360"/>
                  <a:pt x="4287734" y="2909360"/>
                </a:cubicBezTo>
                <a:cubicBezTo>
                  <a:pt x="4298466" y="2909360"/>
                  <a:pt x="4307143" y="2900683"/>
                  <a:pt x="4307143" y="2889951"/>
                </a:cubicBezTo>
                <a:moveTo>
                  <a:pt x="4211162" y="2750050"/>
                </a:moveTo>
                <a:cubicBezTo>
                  <a:pt x="4211162" y="2739014"/>
                  <a:pt x="4202257" y="2730108"/>
                  <a:pt x="4191220" y="2730108"/>
                </a:cubicBezTo>
                <a:cubicBezTo>
                  <a:pt x="4180183" y="2730108"/>
                  <a:pt x="4171277" y="2739014"/>
                  <a:pt x="4171277" y="2750050"/>
                </a:cubicBezTo>
                <a:cubicBezTo>
                  <a:pt x="4171277" y="2761087"/>
                  <a:pt x="4180183" y="2769993"/>
                  <a:pt x="4191220" y="2769993"/>
                </a:cubicBezTo>
                <a:cubicBezTo>
                  <a:pt x="4202257" y="2769993"/>
                  <a:pt x="4211162" y="2761087"/>
                  <a:pt x="4211162" y="2750050"/>
                </a:cubicBezTo>
                <a:moveTo>
                  <a:pt x="4105666" y="2617153"/>
                </a:moveTo>
                <a:cubicBezTo>
                  <a:pt x="4105666" y="2605812"/>
                  <a:pt x="4096456" y="2596678"/>
                  <a:pt x="4085191" y="2596678"/>
                </a:cubicBezTo>
                <a:cubicBezTo>
                  <a:pt x="4073850" y="2596678"/>
                  <a:pt x="4064716" y="2605812"/>
                  <a:pt x="4064716" y="2617153"/>
                </a:cubicBezTo>
                <a:cubicBezTo>
                  <a:pt x="4064716" y="2628494"/>
                  <a:pt x="4073850" y="2637628"/>
                  <a:pt x="4085191" y="2637628"/>
                </a:cubicBezTo>
                <a:cubicBezTo>
                  <a:pt x="4096456" y="2637628"/>
                  <a:pt x="4105666" y="2628418"/>
                  <a:pt x="4105666" y="2617153"/>
                </a:cubicBezTo>
                <a:moveTo>
                  <a:pt x="3990732" y="2491867"/>
                </a:moveTo>
                <a:cubicBezTo>
                  <a:pt x="3990732" y="2480526"/>
                  <a:pt x="3981522" y="2471392"/>
                  <a:pt x="3970256" y="2471392"/>
                </a:cubicBezTo>
                <a:cubicBezTo>
                  <a:pt x="3958915" y="2471392"/>
                  <a:pt x="3949782" y="2480526"/>
                  <a:pt x="3949782" y="2491867"/>
                </a:cubicBezTo>
                <a:cubicBezTo>
                  <a:pt x="3949782" y="2503208"/>
                  <a:pt x="3958991" y="2512342"/>
                  <a:pt x="3970256" y="2512342"/>
                </a:cubicBezTo>
                <a:cubicBezTo>
                  <a:pt x="3981597" y="2512342"/>
                  <a:pt x="3990732" y="2503132"/>
                  <a:pt x="3990732" y="2491867"/>
                </a:cubicBezTo>
                <a:moveTo>
                  <a:pt x="3867500" y="2374802"/>
                </a:moveTo>
                <a:cubicBezTo>
                  <a:pt x="3867500" y="2363460"/>
                  <a:pt x="3858291" y="2354326"/>
                  <a:pt x="3847026" y="2354326"/>
                </a:cubicBezTo>
                <a:cubicBezTo>
                  <a:pt x="3835685" y="2354326"/>
                  <a:pt x="3826550" y="2363460"/>
                  <a:pt x="3826550" y="2374802"/>
                </a:cubicBezTo>
                <a:cubicBezTo>
                  <a:pt x="3826550" y="2386143"/>
                  <a:pt x="3835685" y="2395277"/>
                  <a:pt x="3847026" y="2395277"/>
                </a:cubicBezTo>
                <a:cubicBezTo>
                  <a:pt x="3858291" y="2395277"/>
                  <a:pt x="3867500" y="2386143"/>
                  <a:pt x="3867500" y="2374802"/>
                </a:cubicBezTo>
                <a:moveTo>
                  <a:pt x="3735897" y="2266565"/>
                </a:moveTo>
                <a:cubicBezTo>
                  <a:pt x="3735897" y="2255529"/>
                  <a:pt x="3726992" y="2246623"/>
                  <a:pt x="3715955" y="2246623"/>
                </a:cubicBezTo>
                <a:cubicBezTo>
                  <a:pt x="3704918" y="2246623"/>
                  <a:pt x="3696013" y="2255529"/>
                  <a:pt x="3696013" y="2266565"/>
                </a:cubicBezTo>
                <a:cubicBezTo>
                  <a:pt x="3696013" y="2277602"/>
                  <a:pt x="3704918" y="2286508"/>
                  <a:pt x="3715955" y="2286508"/>
                </a:cubicBezTo>
                <a:cubicBezTo>
                  <a:pt x="3726915" y="2286508"/>
                  <a:pt x="3735897" y="2277526"/>
                  <a:pt x="3735897" y="2266565"/>
                </a:cubicBezTo>
                <a:moveTo>
                  <a:pt x="3597139" y="2167539"/>
                </a:moveTo>
                <a:cubicBezTo>
                  <a:pt x="3597139" y="2156807"/>
                  <a:pt x="3588462" y="2148130"/>
                  <a:pt x="3577729" y="2148130"/>
                </a:cubicBezTo>
                <a:cubicBezTo>
                  <a:pt x="3566997" y="2148130"/>
                  <a:pt x="3558320" y="2156807"/>
                  <a:pt x="3558320" y="2167539"/>
                </a:cubicBezTo>
                <a:cubicBezTo>
                  <a:pt x="3558320" y="2178271"/>
                  <a:pt x="3566997" y="2186948"/>
                  <a:pt x="3577729" y="2186948"/>
                </a:cubicBezTo>
                <a:cubicBezTo>
                  <a:pt x="3588462" y="2187025"/>
                  <a:pt x="3597139" y="2178271"/>
                  <a:pt x="3597139" y="2167539"/>
                </a:cubicBezTo>
                <a:moveTo>
                  <a:pt x="3451910" y="2078332"/>
                </a:moveTo>
                <a:cubicBezTo>
                  <a:pt x="3451910" y="2067904"/>
                  <a:pt x="3443462" y="2059455"/>
                  <a:pt x="3433034" y="2059455"/>
                </a:cubicBezTo>
                <a:cubicBezTo>
                  <a:pt x="3422606" y="2059455"/>
                  <a:pt x="3414157" y="2067904"/>
                  <a:pt x="3414157" y="2078332"/>
                </a:cubicBezTo>
                <a:cubicBezTo>
                  <a:pt x="3414157" y="2088760"/>
                  <a:pt x="3422606" y="2097285"/>
                  <a:pt x="3433034" y="2097285"/>
                </a:cubicBezTo>
                <a:cubicBezTo>
                  <a:pt x="3443462" y="2097285"/>
                  <a:pt x="3451910" y="2088836"/>
                  <a:pt x="3451910" y="2078332"/>
                </a:cubicBezTo>
                <a:moveTo>
                  <a:pt x="3300821" y="1999324"/>
                </a:moveTo>
                <a:cubicBezTo>
                  <a:pt x="3300821" y="1989201"/>
                  <a:pt x="3292601" y="1980904"/>
                  <a:pt x="3282401" y="1980904"/>
                </a:cubicBezTo>
                <a:cubicBezTo>
                  <a:pt x="3272278" y="1980904"/>
                  <a:pt x="3264058" y="1989124"/>
                  <a:pt x="3264058" y="1999324"/>
                </a:cubicBezTo>
                <a:cubicBezTo>
                  <a:pt x="3264058" y="2009447"/>
                  <a:pt x="3272278" y="2017744"/>
                  <a:pt x="3282401" y="2017744"/>
                </a:cubicBezTo>
                <a:cubicBezTo>
                  <a:pt x="3292601" y="2017744"/>
                  <a:pt x="3300821" y="2009523"/>
                  <a:pt x="3300821" y="1999324"/>
                </a:cubicBezTo>
                <a:moveTo>
                  <a:pt x="3144176" y="1930972"/>
                </a:moveTo>
                <a:cubicBezTo>
                  <a:pt x="3144176" y="1921382"/>
                  <a:pt x="3136412" y="1913618"/>
                  <a:pt x="3126822" y="1913618"/>
                </a:cubicBezTo>
                <a:cubicBezTo>
                  <a:pt x="3117231" y="1913618"/>
                  <a:pt x="3109467" y="1921382"/>
                  <a:pt x="3109467" y="1930972"/>
                </a:cubicBezTo>
                <a:cubicBezTo>
                  <a:pt x="3109467" y="1940563"/>
                  <a:pt x="3117231" y="1948327"/>
                  <a:pt x="3126822" y="1948327"/>
                </a:cubicBezTo>
                <a:cubicBezTo>
                  <a:pt x="3136412" y="1948251"/>
                  <a:pt x="3144176" y="1940487"/>
                  <a:pt x="3144176" y="1930972"/>
                </a:cubicBezTo>
                <a:moveTo>
                  <a:pt x="2983192" y="1873429"/>
                </a:moveTo>
                <a:cubicBezTo>
                  <a:pt x="2983192" y="1864448"/>
                  <a:pt x="2975885" y="1857140"/>
                  <a:pt x="2966903" y="1857140"/>
                </a:cubicBezTo>
                <a:cubicBezTo>
                  <a:pt x="2957921" y="1857140"/>
                  <a:pt x="2950614" y="1864448"/>
                  <a:pt x="2950614" y="1873429"/>
                </a:cubicBezTo>
                <a:cubicBezTo>
                  <a:pt x="2950614" y="1882411"/>
                  <a:pt x="2957921" y="1889718"/>
                  <a:pt x="2966903" y="1889718"/>
                </a:cubicBezTo>
                <a:cubicBezTo>
                  <a:pt x="2975885" y="1889718"/>
                  <a:pt x="2983192" y="1882411"/>
                  <a:pt x="2983192" y="1873429"/>
                </a:cubicBezTo>
                <a:moveTo>
                  <a:pt x="2818554" y="1827075"/>
                </a:moveTo>
                <a:cubicBezTo>
                  <a:pt x="2818554" y="1818626"/>
                  <a:pt x="2811704" y="1811852"/>
                  <a:pt x="2803331" y="1811852"/>
                </a:cubicBezTo>
                <a:cubicBezTo>
                  <a:pt x="2794882" y="1811852"/>
                  <a:pt x="2788108" y="1818702"/>
                  <a:pt x="2788108" y="1827075"/>
                </a:cubicBezTo>
                <a:cubicBezTo>
                  <a:pt x="2788108" y="1835524"/>
                  <a:pt x="2794959" y="1842298"/>
                  <a:pt x="2803331" y="1842298"/>
                </a:cubicBezTo>
                <a:cubicBezTo>
                  <a:pt x="2811780" y="1842298"/>
                  <a:pt x="2818554" y="1835447"/>
                  <a:pt x="2818554" y="1827075"/>
                </a:cubicBezTo>
                <a:moveTo>
                  <a:pt x="2651176" y="1792062"/>
                </a:moveTo>
                <a:cubicBezTo>
                  <a:pt x="2651176" y="1784222"/>
                  <a:pt x="2644858" y="1777904"/>
                  <a:pt x="2637019" y="1777904"/>
                </a:cubicBezTo>
                <a:cubicBezTo>
                  <a:pt x="2629179" y="1777904"/>
                  <a:pt x="2622862" y="1784222"/>
                  <a:pt x="2622862" y="1792062"/>
                </a:cubicBezTo>
                <a:cubicBezTo>
                  <a:pt x="2622862" y="1799902"/>
                  <a:pt x="2629179" y="1806219"/>
                  <a:pt x="2637019" y="1806219"/>
                </a:cubicBezTo>
                <a:cubicBezTo>
                  <a:pt x="2644783" y="1806295"/>
                  <a:pt x="2651176" y="1799902"/>
                  <a:pt x="2651176" y="1792062"/>
                </a:cubicBezTo>
                <a:moveTo>
                  <a:pt x="2481743" y="1768694"/>
                </a:moveTo>
                <a:cubicBezTo>
                  <a:pt x="2481743" y="1761463"/>
                  <a:pt x="2475882" y="1755602"/>
                  <a:pt x="2468652" y="1755602"/>
                </a:cubicBezTo>
                <a:cubicBezTo>
                  <a:pt x="2461420" y="1755602"/>
                  <a:pt x="2455483" y="1761463"/>
                  <a:pt x="2455483" y="1768694"/>
                </a:cubicBezTo>
                <a:cubicBezTo>
                  <a:pt x="2455483" y="1775925"/>
                  <a:pt x="2461344" y="1781862"/>
                  <a:pt x="2468652" y="1781862"/>
                </a:cubicBezTo>
                <a:cubicBezTo>
                  <a:pt x="2475882" y="1781786"/>
                  <a:pt x="2481743" y="1775925"/>
                  <a:pt x="2481743" y="1768694"/>
                </a:cubicBezTo>
                <a:moveTo>
                  <a:pt x="2310560" y="1756972"/>
                </a:moveTo>
                <a:cubicBezTo>
                  <a:pt x="2310560" y="1750579"/>
                  <a:pt x="2305384" y="1745403"/>
                  <a:pt x="2298990" y="1745403"/>
                </a:cubicBezTo>
                <a:cubicBezTo>
                  <a:pt x="2292597" y="1745403"/>
                  <a:pt x="2287421" y="1750579"/>
                  <a:pt x="2287421" y="1756972"/>
                </a:cubicBezTo>
                <a:cubicBezTo>
                  <a:pt x="2287421" y="1763366"/>
                  <a:pt x="2292597" y="1768542"/>
                  <a:pt x="2298990" y="1768542"/>
                </a:cubicBezTo>
                <a:cubicBezTo>
                  <a:pt x="2305384" y="1768542"/>
                  <a:pt x="2310560" y="1763366"/>
                  <a:pt x="2310560" y="1756972"/>
                </a:cubicBezTo>
                <a:moveTo>
                  <a:pt x="2138995" y="1756972"/>
                </a:moveTo>
                <a:cubicBezTo>
                  <a:pt x="2138995" y="1751492"/>
                  <a:pt x="2134505" y="1747001"/>
                  <a:pt x="2129025" y="1747001"/>
                </a:cubicBezTo>
                <a:cubicBezTo>
                  <a:pt x="2123544" y="1747001"/>
                  <a:pt x="2119053" y="1751492"/>
                  <a:pt x="2119053" y="1756972"/>
                </a:cubicBezTo>
                <a:cubicBezTo>
                  <a:pt x="2119053" y="1762453"/>
                  <a:pt x="2123544" y="1766944"/>
                  <a:pt x="2129025" y="1766944"/>
                </a:cubicBezTo>
                <a:cubicBezTo>
                  <a:pt x="2134505" y="1766944"/>
                  <a:pt x="2138995" y="1762453"/>
                  <a:pt x="2138995" y="1756972"/>
                </a:cubicBezTo>
                <a:moveTo>
                  <a:pt x="1968345" y="1768694"/>
                </a:moveTo>
                <a:cubicBezTo>
                  <a:pt x="1968345" y="1763747"/>
                  <a:pt x="1964387" y="1759789"/>
                  <a:pt x="1959439" y="1759789"/>
                </a:cubicBezTo>
                <a:cubicBezTo>
                  <a:pt x="1954492" y="1759789"/>
                  <a:pt x="1950534" y="1763823"/>
                  <a:pt x="1950534" y="1768694"/>
                </a:cubicBezTo>
                <a:cubicBezTo>
                  <a:pt x="1950534" y="1773642"/>
                  <a:pt x="1954568" y="1777600"/>
                  <a:pt x="1959439" y="1777600"/>
                </a:cubicBezTo>
                <a:cubicBezTo>
                  <a:pt x="1964387" y="1777600"/>
                  <a:pt x="1968345" y="1773642"/>
                  <a:pt x="1968345" y="1768694"/>
                </a:cubicBezTo>
                <a:moveTo>
                  <a:pt x="1798379" y="1792062"/>
                </a:moveTo>
                <a:cubicBezTo>
                  <a:pt x="1798379" y="1788028"/>
                  <a:pt x="1795106" y="1784678"/>
                  <a:pt x="1790996" y="1784678"/>
                </a:cubicBezTo>
                <a:cubicBezTo>
                  <a:pt x="1786962" y="1784678"/>
                  <a:pt x="1783612" y="1787951"/>
                  <a:pt x="1783612" y="1792062"/>
                </a:cubicBezTo>
                <a:cubicBezTo>
                  <a:pt x="1783612" y="1796096"/>
                  <a:pt x="1786885" y="1799445"/>
                  <a:pt x="1790996" y="1799445"/>
                </a:cubicBezTo>
                <a:cubicBezTo>
                  <a:pt x="1795106" y="1799445"/>
                  <a:pt x="1798379" y="1796172"/>
                  <a:pt x="1798379" y="1792062"/>
                </a:cubicBezTo>
                <a:moveTo>
                  <a:pt x="1631001" y="1827075"/>
                </a:moveTo>
                <a:cubicBezTo>
                  <a:pt x="1631001" y="1823573"/>
                  <a:pt x="1628185" y="1820757"/>
                  <a:pt x="1624683" y="1820757"/>
                </a:cubicBezTo>
                <a:cubicBezTo>
                  <a:pt x="1621182" y="1820757"/>
                  <a:pt x="1618366" y="1823573"/>
                  <a:pt x="1618366" y="1827075"/>
                </a:cubicBezTo>
                <a:cubicBezTo>
                  <a:pt x="1618366" y="1830576"/>
                  <a:pt x="1621182" y="1833392"/>
                  <a:pt x="1624683" y="1833392"/>
                </a:cubicBezTo>
                <a:cubicBezTo>
                  <a:pt x="1628185" y="1833392"/>
                  <a:pt x="1631001" y="1830500"/>
                  <a:pt x="1631001" y="1827075"/>
                </a:cubicBezTo>
                <a:moveTo>
                  <a:pt x="1466363" y="1873429"/>
                </a:moveTo>
                <a:cubicBezTo>
                  <a:pt x="1466363" y="1870537"/>
                  <a:pt x="1464004" y="1868177"/>
                  <a:pt x="1461111" y="1868177"/>
                </a:cubicBezTo>
                <a:cubicBezTo>
                  <a:pt x="1458219" y="1868177"/>
                  <a:pt x="1455859" y="1870537"/>
                  <a:pt x="1455859" y="1873429"/>
                </a:cubicBezTo>
                <a:cubicBezTo>
                  <a:pt x="1455859" y="1876321"/>
                  <a:pt x="1458219" y="1878681"/>
                  <a:pt x="1461111" y="1878681"/>
                </a:cubicBezTo>
                <a:cubicBezTo>
                  <a:pt x="1464004" y="1878681"/>
                  <a:pt x="1466363" y="1876321"/>
                  <a:pt x="1466363" y="1873429"/>
                </a:cubicBezTo>
                <a:moveTo>
                  <a:pt x="1305380" y="1930972"/>
                </a:moveTo>
                <a:cubicBezTo>
                  <a:pt x="1305380" y="1928689"/>
                  <a:pt x="1303477" y="1926786"/>
                  <a:pt x="1301193" y="1926786"/>
                </a:cubicBezTo>
                <a:cubicBezTo>
                  <a:pt x="1298833" y="1926786"/>
                  <a:pt x="1297007" y="1928689"/>
                  <a:pt x="1297007" y="1930972"/>
                </a:cubicBezTo>
                <a:cubicBezTo>
                  <a:pt x="1297007" y="1933256"/>
                  <a:pt x="1298910" y="1935159"/>
                  <a:pt x="1301193" y="1935159"/>
                </a:cubicBezTo>
                <a:cubicBezTo>
                  <a:pt x="1303477" y="1935159"/>
                  <a:pt x="1305380" y="1933256"/>
                  <a:pt x="1305380" y="1930972"/>
                </a:cubicBezTo>
                <a:moveTo>
                  <a:pt x="1148734" y="1999324"/>
                </a:moveTo>
                <a:cubicBezTo>
                  <a:pt x="1148734" y="1997573"/>
                  <a:pt x="1147364" y="1996203"/>
                  <a:pt x="1145613" y="1996203"/>
                </a:cubicBezTo>
                <a:cubicBezTo>
                  <a:pt x="1143862" y="1996203"/>
                  <a:pt x="1142416" y="1997573"/>
                  <a:pt x="1142416" y="1999324"/>
                </a:cubicBezTo>
                <a:cubicBezTo>
                  <a:pt x="1142416" y="2001075"/>
                  <a:pt x="1143862" y="2002445"/>
                  <a:pt x="1145613" y="2002445"/>
                </a:cubicBezTo>
                <a:cubicBezTo>
                  <a:pt x="1147364" y="2002445"/>
                  <a:pt x="1148734" y="2001075"/>
                  <a:pt x="1148734" y="1999324"/>
                </a:cubicBezTo>
                <a:moveTo>
                  <a:pt x="997112" y="2078332"/>
                </a:moveTo>
                <a:cubicBezTo>
                  <a:pt x="997112" y="2077190"/>
                  <a:pt x="996198" y="2076201"/>
                  <a:pt x="994981" y="2076201"/>
                </a:cubicBezTo>
                <a:cubicBezTo>
                  <a:pt x="993839" y="2076201"/>
                  <a:pt x="992850" y="2077114"/>
                  <a:pt x="992850" y="2078332"/>
                </a:cubicBezTo>
                <a:cubicBezTo>
                  <a:pt x="992850" y="2079473"/>
                  <a:pt x="993763" y="2080463"/>
                  <a:pt x="994981" y="2080463"/>
                </a:cubicBezTo>
                <a:cubicBezTo>
                  <a:pt x="996198" y="2080463"/>
                  <a:pt x="997112" y="2079550"/>
                  <a:pt x="997112" y="2078332"/>
                </a:cubicBezTo>
                <a:moveTo>
                  <a:pt x="851884" y="2167539"/>
                </a:moveTo>
                <a:cubicBezTo>
                  <a:pt x="851884" y="2166702"/>
                  <a:pt x="851198" y="2165941"/>
                  <a:pt x="850285" y="2165941"/>
                </a:cubicBezTo>
                <a:cubicBezTo>
                  <a:pt x="849448" y="2165941"/>
                  <a:pt x="848687" y="2166626"/>
                  <a:pt x="848687" y="2167539"/>
                </a:cubicBezTo>
                <a:cubicBezTo>
                  <a:pt x="848687" y="2168377"/>
                  <a:pt x="849372" y="2169137"/>
                  <a:pt x="850285" y="2169137"/>
                </a:cubicBezTo>
                <a:cubicBezTo>
                  <a:pt x="851198" y="2169137"/>
                  <a:pt x="851884" y="2168452"/>
                  <a:pt x="851884" y="2167539"/>
                </a:cubicBezTo>
                <a:moveTo>
                  <a:pt x="713125" y="2266565"/>
                </a:moveTo>
                <a:cubicBezTo>
                  <a:pt x="713125" y="2265956"/>
                  <a:pt x="712668" y="2265500"/>
                  <a:pt x="712060" y="2265500"/>
                </a:cubicBezTo>
                <a:cubicBezTo>
                  <a:pt x="711451" y="2265500"/>
                  <a:pt x="710994" y="2265956"/>
                  <a:pt x="710994" y="2266565"/>
                </a:cubicBezTo>
                <a:cubicBezTo>
                  <a:pt x="710994" y="2267174"/>
                  <a:pt x="711451" y="2267631"/>
                  <a:pt x="712060" y="2267631"/>
                </a:cubicBezTo>
                <a:cubicBezTo>
                  <a:pt x="712668" y="2267631"/>
                  <a:pt x="713125" y="2267098"/>
                  <a:pt x="713125" y="2266565"/>
                </a:cubicBezTo>
                <a:moveTo>
                  <a:pt x="581598" y="2374802"/>
                </a:moveTo>
                <a:cubicBezTo>
                  <a:pt x="581598" y="2374497"/>
                  <a:pt x="581369" y="2374269"/>
                  <a:pt x="581065" y="2374269"/>
                </a:cubicBezTo>
                <a:cubicBezTo>
                  <a:pt x="580761" y="2374269"/>
                  <a:pt x="580532" y="2374497"/>
                  <a:pt x="580532" y="2374802"/>
                </a:cubicBezTo>
                <a:cubicBezTo>
                  <a:pt x="580532" y="2375106"/>
                  <a:pt x="580761" y="2375334"/>
                  <a:pt x="581065" y="2375334"/>
                </a:cubicBezTo>
                <a:cubicBezTo>
                  <a:pt x="581369" y="2375334"/>
                  <a:pt x="581598" y="2375106"/>
                  <a:pt x="581598" y="2374802"/>
                </a:cubicBezTo>
                <a:moveTo>
                  <a:pt x="4177747" y="6000940"/>
                </a:moveTo>
                <a:cubicBezTo>
                  <a:pt x="4177747" y="6000636"/>
                  <a:pt x="4177519" y="6000408"/>
                  <a:pt x="4177215" y="6000408"/>
                </a:cubicBezTo>
                <a:cubicBezTo>
                  <a:pt x="4176910" y="6000408"/>
                  <a:pt x="4176681" y="6000636"/>
                  <a:pt x="4176681" y="6000940"/>
                </a:cubicBezTo>
                <a:cubicBezTo>
                  <a:pt x="4176681" y="6001245"/>
                  <a:pt x="4176910" y="6001473"/>
                  <a:pt x="4177215" y="6001473"/>
                </a:cubicBezTo>
                <a:cubicBezTo>
                  <a:pt x="4177519" y="6001473"/>
                  <a:pt x="4177747" y="6001245"/>
                  <a:pt x="4177747" y="6000940"/>
                </a:cubicBezTo>
                <a:moveTo>
                  <a:pt x="4288495" y="5871544"/>
                </a:moveTo>
                <a:cubicBezTo>
                  <a:pt x="4288495" y="5870936"/>
                  <a:pt x="4288038" y="5870479"/>
                  <a:pt x="4287430" y="5870479"/>
                </a:cubicBezTo>
                <a:cubicBezTo>
                  <a:pt x="4286821" y="5870479"/>
                  <a:pt x="4286364" y="5870936"/>
                  <a:pt x="4286364" y="5871544"/>
                </a:cubicBezTo>
                <a:cubicBezTo>
                  <a:pt x="4286364" y="5872153"/>
                  <a:pt x="4286821" y="5872610"/>
                  <a:pt x="4287430" y="5872610"/>
                </a:cubicBezTo>
                <a:cubicBezTo>
                  <a:pt x="4288038" y="5872610"/>
                  <a:pt x="4288495" y="5872077"/>
                  <a:pt x="4288495" y="5871544"/>
                </a:cubicBezTo>
                <a:moveTo>
                  <a:pt x="4390643" y="5735298"/>
                </a:moveTo>
                <a:cubicBezTo>
                  <a:pt x="4390643" y="5734461"/>
                  <a:pt x="4389957" y="5733699"/>
                  <a:pt x="4389044" y="5733699"/>
                </a:cubicBezTo>
                <a:cubicBezTo>
                  <a:pt x="4388206" y="5733699"/>
                  <a:pt x="4387445" y="5734384"/>
                  <a:pt x="4387445" y="5735298"/>
                </a:cubicBezTo>
                <a:cubicBezTo>
                  <a:pt x="4387445" y="5736135"/>
                  <a:pt x="4388130" y="5736896"/>
                  <a:pt x="4389044" y="5736896"/>
                </a:cubicBezTo>
                <a:cubicBezTo>
                  <a:pt x="4389957" y="5736896"/>
                  <a:pt x="4390643" y="5736135"/>
                  <a:pt x="4390643" y="5735298"/>
                </a:cubicBezTo>
                <a:moveTo>
                  <a:pt x="4483959" y="5592809"/>
                </a:moveTo>
                <a:cubicBezTo>
                  <a:pt x="4483959" y="5591668"/>
                  <a:pt x="4483046" y="5590678"/>
                  <a:pt x="4481829" y="5590678"/>
                </a:cubicBezTo>
                <a:cubicBezTo>
                  <a:pt x="4480611" y="5590678"/>
                  <a:pt x="4479697" y="5591592"/>
                  <a:pt x="4479697" y="5592809"/>
                </a:cubicBezTo>
                <a:cubicBezTo>
                  <a:pt x="4479697" y="5593951"/>
                  <a:pt x="4480611" y="5594941"/>
                  <a:pt x="4481829" y="5594941"/>
                </a:cubicBezTo>
                <a:cubicBezTo>
                  <a:pt x="4483046" y="5594941"/>
                  <a:pt x="4483959" y="5593951"/>
                  <a:pt x="4483959" y="5592809"/>
                </a:cubicBezTo>
                <a:moveTo>
                  <a:pt x="4568372" y="5444689"/>
                </a:moveTo>
                <a:cubicBezTo>
                  <a:pt x="4568372" y="5442938"/>
                  <a:pt x="4567001" y="5441568"/>
                  <a:pt x="4565251" y="5441568"/>
                </a:cubicBezTo>
                <a:cubicBezTo>
                  <a:pt x="4563500" y="5441568"/>
                  <a:pt x="4562130" y="5442938"/>
                  <a:pt x="4562130" y="5444689"/>
                </a:cubicBezTo>
                <a:cubicBezTo>
                  <a:pt x="4562130" y="5446440"/>
                  <a:pt x="4563577" y="5447810"/>
                  <a:pt x="4565251" y="5447810"/>
                </a:cubicBezTo>
                <a:cubicBezTo>
                  <a:pt x="4567001" y="5447810"/>
                  <a:pt x="4568372" y="5446440"/>
                  <a:pt x="4568372" y="5444689"/>
                </a:cubicBezTo>
                <a:moveTo>
                  <a:pt x="4643193" y="5291545"/>
                </a:moveTo>
                <a:cubicBezTo>
                  <a:pt x="4643193" y="5289185"/>
                  <a:pt x="4641290" y="5287358"/>
                  <a:pt x="4639007" y="5287358"/>
                </a:cubicBezTo>
                <a:cubicBezTo>
                  <a:pt x="4636723" y="5287358"/>
                  <a:pt x="4634821" y="5289261"/>
                  <a:pt x="4634821" y="5291545"/>
                </a:cubicBezTo>
                <a:cubicBezTo>
                  <a:pt x="4634821" y="5293828"/>
                  <a:pt x="4636723" y="5295731"/>
                  <a:pt x="4639007" y="5295731"/>
                </a:cubicBezTo>
                <a:cubicBezTo>
                  <a:pt x="4641366" y="5295731"/>
                  <a:pt x="4643193" y="5293828"/>
                  <a:pt x="4643193" y="5291545"/>
                </a:cubicBezTo>
                <a:moveTo>
                  <a:pt x="4708044" y="5133986"/>
                </a:moveTo>
                <a:cubicBezTo>
                  <a:pt x="4708044" y="5131093"/>
                  <a:pt x="4705684" y="5128734"/>
                  <a:pt x="4702791" y="5128734"/>
                </a:cubicBezTo>
                <a:cubicBezTo>
                  <a:pt x="4699900" y="5128734"/>
                  <a:pt x="4697540" y="5131093"/>
                  <a:pt x="4697540" y="5133986"/>
                </a:cubicBezTo>
                <a:cubicBezTo>
                  <a:pt x="4697540" y="5136878"/>
                  <a:pt x="4699900" y="5139238"/>
                  <a:pt x="4702791" y="5139238"/>
                </a:cubicBezTo>
                <a:cubicBezTo>
                  <a:pt x="4705684" y="5139238"/>
                  <a:pt x="4708044" y="5136878"/>
                  <a:pt x="4708044" y="5133986"/>
                </a:cubicBezTo>
                <a:moveTo>
                  <a:pt x="4762695" y="4972621"/>
                </a:moveTo>
                <a:cubicBezTo>
                  <a:pt x="4762695" y="4969120"/>
                  <a:pt x="4759878" y="4966303"/>
                  <a:pt x="4756377" y="4966303"/>
                </a:cubicBezTo>
                <a:cubicBezTo>
                  <a:pt x="4752876" y="4966303"/>
                  <a:pt x="4750059" y="4969120"/>
                  <a:pt x="4750059" y="4972621"/>
                </a:cubicBezTo>
                <a:cubicBezTo>
                  <a:pt x="4750059" y="4976123"/>
                  <a:pt x="4752876" y="4978939"/>
                  <a:pt x="4756377" y="4978939"/>
                </a:cubicBezTo>
                <a:cubicBezTo>
                  <a:pt x="4759878" y="4978939"/>
                  <a:pt x="4762695" y="4976123"/>
                  <a:pt x="4762695" y="4972621"/>
                </a:cubicBezTo>
                <a:moveTo>
                  <a:pt x="4806841" y="4808136"/>
                </a:moveTo>
                <a:cubicBezTo>
                  <a:pt x="4806841" y="4804101"/>
                  <a:pt x="4803569" y="4800752"/>
                  <a:pt x="4799458" y="4800752"/>
                </a:cubicBezTo>
                <a:cubicBezTo>
                  <a:pt x="4795424" y="4800752"/>
                  <a:pt x="4792075" y="4804025"/>
                  <a:pt x="4792075" y="4808136"/>
                </a:cubicBezTo>
                <a:cubicBezTo>
                  <a:pt x="4792075" y="4812170"/>
                  <a:pt x="4795348" y="4815519"/>
                  <a:pt x="4799458" y="4815519"/>
                </a:cubicBezTo>
                <a:cubicBezTo>
                  <a:pt x="4803569" y="4815519"/>
                  <a:pt x="4806841" y="4812246"/>
                  <a:pt x="4806841" y="4808136"/>
                </a:cubicBezTo>
                <a:moveTo>
                  <a:pt x="4840941" y="4641291"/>
                </a:moveTo>
                <a:cubicBezTo>
                  <a:pt x="4840941" y="4636343"/>
                  <a:pt x="4836983" y="4632385"/>
                  <a:pt x="4832036" y="4632385"/>
                </a:cubicBezTo>
                <a:cubicBezTo>
                  <a:pt x="4827088" y="4632385"/>
                  <a:pt x="4823130" y="4636419"/>
                  <a:pt x="4823130" y="4641291"/>
                </a:cubicBezTo>
                <a:cubicBezTo>
                  <a:pt x="4823130" y="4646238"/>
                  <a:pt x="4827088" y="4650196"/>
                  <a:pt x="4832036" y="4650196"/>
                </a:cubicBezTo>
                <a:cubicBezTo>
                  <a:pt x="4836907" y="4650272"/>
                  <a:pt x="4840941" y="4646238"/>
                  <a:pt x="4840941" y="4641291"/>
                </a:cubicBezTo>
                <a:moveTo>
                  <a:pt x="4864233" y="4472695"/>
                </a:moveTo>
                <a:cubicBezTo>
                  <a:pt x="4864233" y="4466910"/>
                  <a:pt x="4859513" y="4462191"/>
                  <a:pt x="4853729" y="4462191"/>
                </a:cubicBezTo>
                <a:cubicBezTo>
                  <a:pt x="4847944" y="4462191"/>
                  <a:pt x="4843225" y="4466910"/>
                  <a:pt x="4843225" y="4472695"/>
                </a:cubicBezTo>
                <a:cubicBezTo>
                  <a:pt x="4843225" y="4478480"/>
                  <a:pt x="4847944" y="4483199"/>
                  <a:pt x="4853729" y="4483199"/>
                </a:cubicBezTo>
                <a:cubicBezTo>
                  <a:pt x="4859513" y="4483199"/>
                  <a:pt x="4864233" y="4478480"/>
                  <a:pt x="4864233" y="4472695"/>
                </a:cubicBezTo>
                <a:moveTo>
                  <a:pt x="4876182" y="4303034"/>
                </a:moveTo>
                <a:cubicBezTo>
                  <a:pt x="4876182" y="4296640"/>
                  <a:pt x="4871007" y="4291464"/>
                  <a:pt x="4864613" y="4291464"/>
                </a:cubicBezTo>
                <a:cubicBezTo>
                  <a:pt x="4858219" y="4291464"/>
                  <a:pt x="4853044" y="4296640"/>
                  <a:pt x="4853044" y="4303034"/>
                </a:cubicBezTo>
                <a:cubicBezTo>
                  <a:pt x="4853044" y="4309427"/>
                  <a:pt x="4858219" y="4314603"/>
                  <a:pt x="4864613" y="4314603"/>
                </a:cubicBezTo>
                <a:cubicBezTo>
                  <a:pt x="4871007" y="4314603"/>
                  <a:pt x="4876182" y="4309427"/>
                  <a:pt x="4876182" y="4303034"/>
                </a:cubicBezTo>
                <a:moveTo>
                  <a:pt x="4877781" y="4133068"/>
                </a:moveTo>
                <a:cubicBezTo>
                  <a:pt x="4877781" y="4125837"/>
                  <a:pt x="4871920" y="4119976"/>
                  <a:pt x="4864613" y="4119976"/>
                </a:cubicBezTo>
                <a:cubicBezTo>
                  <a:pt x="4857382" y="4119976"/>
                  <a:pt x="4851445" y="4125837"/>
                  <a:pt x="4851445" y="4133068"/>
                </a:cubicBezTo>
                <a:cubicBezTo>
                  <a:pt x="4851445" y="4140299"/>
                  <a:pt x="4857306" y="4146160"/>
                  <a:pt x="4864613" y="4146160"/>
                </a:cubicBezTo>
                <a:cubicBezTo>
                  <a:pt x="4871920" y="4146160"/>
                  <a:pt x="4877781" y="4140299"/>
                  <a:pt x="4877781" y="4133068"/>
                </a:cubicBezTo>
                <a:moveTo>
                  <a:pt x="4868418" y="3963406"/>
                </a:moveTo>
                <a:cubicBezTo>
                  <a:pt x="4868418" y="3955262"/>
                  <a:pt x="4861796" y="3948716"/>
                  <a:pt x="4853729" y="3948716"/>
                </a:cubicBezTo>
                <a:cubicBezTo>
                  <a:pt x="4845584" y="3948716"/>
                  <a:pt x="4839038" y="3955262"/>
                  <a:pt x="4839038" y="3963406"/>
                </a:cubicBezTo>
                <a:cubicBezTo>
                  <a:pt x="4839038" y="3971551"/>
                  <a:pt x="4845660" y="3978097"/>
                  <a:pt x="4853729" y="3978097"/>
                </a:cubicBezTo>
                <a:cubicBezTo>
                  <a:pt x="4861873" y="3978097"/>
                  <a:pt x="4868418" y="3971551"/>
                  <a:pt x="4868418" y="3963406"/>
                </a:cubicBezTo>
                <a:moveTo>
                  <a:pt x="4847791" y="3794811"/>
                </a:moveTo>
                <a:cubicBezTo>
                  <a:pt x="4847791" y="3786134"/>
                  <a:pt x="4840713" y="3779055"/>
                  <a:pt x="4832036" y="3779055"/>
                </a:cubicBezTo>
                <a:cubicBezTo>
                  <a:pt x="4823359" y="3779055"/>
                  <a:pt x="4816279" y="3786134"/>
                  <a:pt x="4816279" y="3794811"/>
                </a:cubicBezTo>
                <a:cubicBezTo>
                  <a:pt x="4816279" y="3803488"/>
                  <a:pt x="4823359" y="3810567"/>
                  <a:pt x="4832036" y="3810567"/>
                </a:cubicBezTo>
                <a:cubicBezTo>
                  <a:pt x="4840713" y="3810567"/>
                  <a:pt x="4847791" y="3803488"/>
                  <a:pt x="4847791" y="3794811"/>
                </a:cubicBezTo>
                <a:moveTo>
                  <a:pt x="4816813" y="3627890"/>
                </a:moveTo>
                <a:cubicBezTo>
                  <a:pt x="4816813" y="3618299"/>
                  <a:pt x="4809049" y="3610535"/>
                  <a:pt x="4799458" y="3610535"/>
                </a:cubicBezTo>
                <a:cubicBezTo>
                  <a:pt x="4789868" y="3610535"/>
                  <a:pt x="4782104" y="3618299"/>
                  <a:pt x="4782104" y="3627890"/>
                </a:cubicBezTo>
                <a:cubicBezTo>
                  <a:pt x="4782104" y="3637480"/>
                  <a:pt x="4789868" y="3645244"/>
                  <a:pt x="4799458" y="3645244"/>
                </a:cubicBezTo>
                <a:cubicBezTo>
                  <a:pt x="4809049" y="3645244"/>
                  <a:pt x="4816813" y="3637480"/>
                  <a:pt x="4816813" y="3627890"/>
                </a:cubicBezTo>
                <a:moveTo>
                  <a:pt x="4774797" y="3463480"/>
                </a:moveTo>
                <a:cubicBezTo>
                  <a:pt x="4774797" y="3453357"/>
                  <a:pt x="4766576" y="3445060"/>
                  <a:pt x="4756377" y="3445060"/>
                </a:cubicBezTo>
                <a:cubicBezTo>
                  <a:pt x="4746254" y="3445060"/>
                  <a:pt x="4738033" y="3453281"/>
                  <a:pt x="4738033" y="3463480"/>
                </a:cubicBezTo>
                <a:cubicBezTo>
                  <a:pt x="4738033" y="3473604"/>
                  <a:pt x="4746254" y="3481900"/>
                  <a:pt x="4756377" y="3481900"/>
                </a:cubicBezTo>
                <a:cubicBezTo>
                  <a:pt x="4766501" y="3481900"/>
                  <a:pt x="4774797" y="3473604"/>
                  <a:pt x="4774797" y="3463480"/>
                </a:cubicBezTo>
                <a:moveTo>
                  <a:pt x="4722277" y="3302116"/>
                </a:moveTo>
                <a:cubicBezTo>
                  <a:pt x="4722277" y="3291383"/>
                  <a:pt x="4713600" y="3282706"/>
                  <a:pt x="4702867" y="3282706"/>
                </a:cubicBezTo>
                <a:cubicBezTo>
                  <a:pt x="4692136" y="3282706"/>
                  <a:pt x="4683458" y="3291383"/>
                  <a:pt x="4683458" y="3302116"/>
                </a:cubicBezTo>
                <a:cubicBezTo>
                  <a:pt x="4683458" y="3312848"/>
                  <a:pt x="4692136" y="3321525"/>
                  <a:pt x="4702867" y="3321525"/>
                </a:cubicBezTo>
                <a:cubicBezTo>
                  <a:pt x="4713524" y="3321601"/>
                  <a:pt x="4722277" y="3312848"/>
                  <a:pt x="4722277" y="3302116"/>
                </a:cubicBezTo>
                <a:moveTo>
                  <a:pt x="4659482" y="3144557"/>
                </a:moveTo>
                <a:cubicBezTo>
                  <a:pt x="4659482" y="3133216"/>
                  <a:pt x="4650272" y="3124082"/>
                  <a:pt x="4639007" y="3124082"/>
                </a:cubicBezTo>
                <a:cubicBezTo>
                  <a:pt x="4627665" y="3124082"/>
                  <a:pt x="4618532" y="3133216"/>
                  <a:pt x="4618532" y="3144557"/>
                </a:cubicBezTo>
                <a:cubicBezTo>
                  <a:pt x="4618532" y="3155898"/>
                  <a:pt x="4627741" y="3165032"/>
                  <a:pt x="4639007" y="3165032"/>
                </a:cubicBezTo>
                <a:cubicBezTo>
                  <a:pt x="4650348" y="3165032"/>
                  <a:pt x="4659482" y="3155898"/>
                  <a:pt x="4659482" y="3144557"/>
                </a:cubicBezTo>
                <a:moveTo>
                  <a:pt x="4586791" y="2991412"/>
                </a:moveTo>
                <a:cubicBezTo>
                  <a:pt x="4586791" y="2979538"/>
                  <a:pt x="4577125" y="2969872"/>
                  <a:pt x="4565251" y="2969872"/>
                </a:cubicBezTo>
                <a:cubicBezTo>
                  <a:pt x="4553377" y="2969872"/>
                  <a:pt x="4543711" y="2979538"/>
                  <a:pt x="4543711" y="2991412"/>
                </a:cubicBezTo>
                <a:cubicBezTo>
                  <a:pt x="4543711" y="3003286"/>
                  <a:pt x="4553377" y="3012953"/>
                  <a:pt x="4565251" y="3012953"/>
                </a:cubicBezTo>
                <a:cubicBezTo>
                  <a:pt x="4577125" y="3012953"/>
                  <a:pt x="4586791" y="3003286"/>
                  <a:pt x="4586791" y="2991412"/>
                </a:cubicBezTo>
                <a:moveTo>
                  <a:pt x="4503902" y="2843292"/>
                </a:moveTo>
                <a:cubicBezTo>
                  <a:pt x="4503902" y="2831113"/>
                  <a:pt x="4494007" y="2821218"/>
                  <a:pt x="4481829" y="2821218"/>
                </a:cubicBezTo>
                <a:cubicBezTo>
                  <a:pt x="4469650" y="2821218"/>
                  <a:pt x="4459755" y="2831113"/>
                  <a:pt x="4459755" y="2843292"/>
                </a:cubicBezTo>
                <a:cubicBezTo>
                  <a:pt x="4459755" y="2855470"/>
                  <a:pt x="4469650" y="2865365"/>
                  <a:pt x="4481829" y="2865365"/>
                </a:cubicBezTo>
                <a:cubicBezTo>
                  <a:pt x="4494007" y="2865365"/>
                  <a:pt x="4503902" y="2855470"/>
                  <a:pt x="4503902" y="2843292"/>
                </a:cubicBezTo>
                <a:moveTo>
                  <a:pt x="4411650" y="2700804"/>
                </a:moveTo>
                <a:cubicBezTo>
                  <a:pt x="4411650" y="2688321"/>
                  <a:pt x="4401527" y="2678198"/>
                  <a:pt x="4389044" y="2678198"/>
                </a:cubicBezTo>
                <a:cubicBezTo>
                  <a:pt x="4376561" y="2678198"/>
                  <a:pt x="4366438" y="2688321"/>
                  <a:pt x="4366438" y="2700804"/>
                </a:cubicBezTo>
                <a:cubicBezTo>
                  <a:pt x="4366438" y="2713287"/>
                  <a:pt x="4376561" y="2723410"/>
                  <a:pt x="4389044" y="2723410"/>
                </a:cubicBezTo>
                <a:cubicBezTo>
                  <a:pt x="4401603" y="2723410"/>
                  <a:pt x="4411650" y="2713287"/>
                  <a:pt x="4411650" y="2700804"/>
                </a:cubicBezTo>
                <a:moveTo>
                  <a:pt x="4310493" y="2564557"/>
                </a:moveTo>
                <a:cubicBezTo>
                  <a:pt x="4310493" y="2551770"/>
                  <a:pt x="4300141" y="2541418"/>
                  <a:pt x="4287353" y="2541418"/>
                </a:cubicBezTo>
                <a:cubicBezTo>
                  <a:pt x="4274567" y="2541418"/>
                  <a:pt x="4264214" y="2551770"/>
                  <a:pt x="4264214" y="2564557"/>
                </a:cubicBezTo>
                <a:cubicBezTo>
                  <a:pt x="4264214" y="2577345"/>
                  <a:pt x="4274567" y="2587696"/>
                  <a:pt x="4287353" y="2587696"/>
                </a:cubicBezTo>
                <a:cubicBezTo>
                  <a:pt x="4300217" y="2587696"/>
                  <a:pt x="4310493" y="2577345"/>
                  <a:pt x="4310493" y="2564557"/>
                </a:cubicBezTo>
                <a:moveTo>
                  <a:pt x="4200886" y="2435085"/>
                </a:moveTo>
                <a:cubicBezTo>
                  <a:pt x="4200886" y="2421993"/>
                  <a:pt x="4190306" y="2411413"/>
                  <a:pt x="4177215" y="2411413"/>
                </a:cubicBezTo>
                <a:cubicBezTo>
                  <a:pt x="4164199" y="2411413"/>
                  <a:pt x="4153619" y="2421993"/>
                  <a:pt x="4153619" y="2435085"/>
                </a:cubicBezTo>
                <a:cubicBezTo>
                  <a:pt x="4153619" y="2448177"/>
                  <a:pt x="4164199" y="2458757"/>
                  <a:pt x="4177215" y="2458757"/>
                </a:cubicBezTo>
                <a:cubicBezTo>
                  <a:pt x="4190306" y="2458757"/>
                  <a:pt x="4200886" y="2448177"/>
                  <a:pt x="4200886" y="2435085"/>
                </a:cubicBezTo>
                <a:moveTo>
                  <a:pt x="4082603" y="2312996"/>
                </a:moveTo>
                <a:cubicBezTo>
                  <a:pt x="4082603" y="2299904"/>
                  <a:pt x="4072023" y="2289324"/>
                  <a:pt x="4058931" y="2289324"/>
                </a:cubicBezTo>
                <a:cubicBezTo>
                  <a:pt x="4045915" y="2289324"/>
                  <a:pt x="4035335" y="2299904"/>
                  <a:pt x="4035335" y="2312996"/>
                </a:cubicBezTo>
                <a:cubicBezTo>
                  <a:pt x="4035335" y="2326087"/>
                  <a:pt x="4045915" y="2336668"/>
                  <a:pt x="4058931" y="2336668"/>
                </a:cubicBezTo>
                <a:cubicBezTo>
                  <a:pt x="4072023" y="2336668"/>
                  <a:pt x="4082603" y="2326087"/>
                  <a:pt x="4082603" y="2312996"/>
                </a:cubicBezTo>
                <a:moveTo>
                  <a:pt x="3956175" y="2198670"/>
                </a:moveTo>
                <a:cubicBezTo>
                  <a:pt x="3956175" y="2185883"/>
                  <a:pt x="3945823" y="2175531"/>
                  <a:pt x="3933037" y="2175531"/>
                </a:cubicBezTo>
                <a:cubicBezTo>
                  <a:pt x="3920249" y="2175531"/>
                  <a:pt x="3909897" y="2185883"/>
                  <a:pt x="3909897" y="2198670"/>
                </a:cubicBezTo>
                <a:cubicBezTo>
                  <a:pt x="3909897" y="2211458"/>
                  <a:pt x="3920249" y="2221809"/>
                  <a:pt x="3933037" y="2221809"/>
                </a:cubicBezTo>
                <a:cubicBezTo>
                  <a:pt x="3945900" y="2221809"/>
                  <a:pt x="3956175" y="2211458"/>
                  <a:pt x="3956175" y="2198670"/>
                </a:cubicBezTo>
                <a:moveTo>
                  <a:pt x="3823278" y="2092718"/>
                </a:moveTo>
                <a:cubicBezTo>
                  <a:pt x="3823278" y="2079930"/>
                  <a:pt x="3812926" y="2069579"/>
                  <a:pt x="3800138" y="2069579"/>
                </a:cubicBezTo>
                <a:cubicBezTo>
                  <a:pt x="3787352" y="2069579"/>
                  <a:pt x="3777000" y="2079930"/>
                  <a:pt x="3777000" y="2092718"/>
                </a:cubicBezTo>
                <a:cubicBezTo>
                  <a:pt x="3777000" y="2105505"/>
                  <a:pt x="3787352" y="2115857"/>
                  <a:pt x="3800138" y="2115857"/>
                </a:cubicBezTo>
                <a:cubicBezTo>
                  <a:pt x="3812926" y="2115857"/>
                  <a:pt x="3823278" y="2105505"/>
                  <a:pt x="3823278" y="2092718"/>
                </a:cubicBezTo>
                <a:moveTo>
                  <a:pt x="3683378" y="1995442"/>
                </a:moveTo>
                <a:cubicBezTo>
                  <a:pt x="3683378" y="1982959"/>
                  <a:pt x="3673255" y="1972836"/>
                  <a:pt x="3660772" y="1972836"/>
                </a:cubicBezTo>
                <a:cubicBezTo>
                  <a:pt x="3648289" y="1972836"/>
                  <a:pt x="3638165" y="1982959"/>
                  <a:pt x="3638165" y="1995442"/>
                </a:cubicBezTo>
                <a:cubicBezTo>
                  <a:pt x="3638165" y="2007925"/>
                  <a:pt x="3648289" y="2018048"/>
                  <a:pt x="3660772" y="2018048"/>
                </a:cubicBezTo>
                <a:cubicBezTo>
                  <a:pt x="3673255" y="2018048"/>
                  <a:pt x="3683378" y="2007925"/>
                  <a:pt x="3683378" y="1995442"/>
                </a:cubicBezTo>
                <a:moveTo>
                  <a:pt x="3537464" y="1907300"/>
                </a:moveTo>
                <a:cubicBezTo>
                  <a:pt x="3537464" y="1895122"/>
                  <a:pt x="3527570" y="1885227"/>
                  <a:pt x="3515390" y="1885227"/>
                </a:cubicBezTo>
                <a:cubicBezTo>
                  <a:pt x="3503212" y="1885227"/>
                  <a:pt x="3493318" y="1895122"/>
                  <a:pt x="3493318" y="1907300"/>
                </a:cubicBezTo>
                <a:cubicBezTo>
                  <a:pt x="3493318" y="1919479"/>
                  <a:pt x="3503212" y="1929374"/>
                  <a:pt x="3515390" y="1929374"/>
                </a:cubicBezTo>
                <a:cubicBezTo>
                  <a:pt x="3527570" y="1929374"/>
                  <a:pt x="3537464" y="1919479"/>
                  <a:pt x="3537464" y="1907300"/>
                </a:cubicBezTo>
                <a:moveTo>
                  <a:pt x="3385690" y="1828673"/>
                </a:moveTo>
                <a:cubicBezTo>
                  <a:pt x="3385690" y="1817104"/>
                  <a:pt x="3376252" y="1807665"/>
                  <a:pt x="3364682" y="1807665"/>
                </a:cubicBezTo>
                <a:cubicBezTo>
                  <a:pt x="3353113" y="1807665"/>
                  <a:pt x="3343674" y="1817104"/>
                  <a:pt x="3343674" y="1828673"/>
                </a:cubicBezTo>
                <a:cubicBezTo>
                  <a:pt x="3343674" y="1840243"/>
                  <a:pt x="3353113" y="1849681"/>
                  <a:pt x="3364682" y="1849681"/>
                </a:cubicBezTo>
                <a:cubicBezTo>
                  <a:pt x="3376252" y="1849681"/>
                  <a:pt x="3385690" y="1840319"/>
                  <a:pt x="3385690" y="1828673"/>
                </a:cubicBezTo>
                <a:moveTo>
                  <a:pt x="3229197" y="1759865"/>
                </a:moveTo>
                <a:cubicBezTo>
                  <a:pt x="3229197" y="1748828"/>
                  <a:pt x="3220292" y="1739923"/>
                  <a:pt x="3209254" y="1739923"/>
                </a:cubicBezTo>
                <a:cubicBezTo>
                  <a:pt x="3198218" y="1739923"/>
                  <a:pt x="3189312" y="1748828"/>
                  <a:pt x="3189312" y="1759865"/>
                </a:cubicBezTo>
                <a:cubicBezTo>
                  <a:pt x="3189312" y="1770902"/>
                  <a:pt x="3198218" y="1779807"/>
                  <a:pt x="3209254" y="1779807"/>
                </a:cubicBezTo>
                <a:cubicBezTo>
                  <a:pt x="3220215" y="1779807"/>
                  <a:pt x="3229197" y="1770902"/>
                  <a:pt x="3229197" y="1759865"/>
                </a:cubicBezTo>
                <a:moveTo>
                  <a:pt x="3068593" y="1701180"/>
                </a:moveTo>
                <a:cubicBezTo>
                  <a:pt x="3068593" y="1690752"/>
                  <a:pt x="3060145" y="1682227"/>
                  <a:pt x="3049717" y="1682227"/>
                </a:cubicBezTo>
                <a:cubicBezTo>
                  <a:pt x="3039289" y="1682227"/>
                  <a:pt x="3030840" y="1690676"/>
                  <a:pt x="3030840" y="1701180"/>
                </a:cubicBezTo>
                <a:cubicBezTo>
                  <a:pt x="3030840" y="1711608"/>
                  <a:pt x="3039289" y="1720057"/>
                  <a:pt x="3049717" y="1720057"/>
                </a:cubicBezTo>
                <a:cubicBezTo>
                  <a:pt x="3060145" y="1720057"/>
                  <a:pt x="3068593" y="1711608"/>
                  <a:pt x="3068593" y="1701180"/>
                </a:cubicBezTo>
                <a:moveTo>
                  <a:pt x="2904564" y="1652770"/>
                </a:moveTo>
                <a:cubicBezTo>
                  <a:pt x="2904564" y="1642875"/>
                  <a:pt x="2896573" y="1634959"/>
                  <a:pt x="2886677" y="1634959"/>
                </a:cubicBezTo>
                <a:cubicBezTo>
                  <a:pt x="2876783" y="1634959"/>
                  <a:pt x="2868790" y="1642952"/>
                  <a:pt x="2868790" y="1652770"/>
                </a:cubicBezTo>
                <a:cubicBezTo>
                  <a:pt x="2868790" y="1662665"/>
                  <a:pt x="2876783" y="1670658"/>
                  <a:pt x="2886677" y="1670658"/>
                </a:cubicBezTo>
                <a:cubicBezTo>
                  <a:pt x="2896573" y="1670658"/>
                  <a:pt x="2904564" y="1662665"/>
                  <a:pt x="2904564" y="1652770"/>
                </a:cubicBezTo>
                <a:moveTo>
                  <a:pt x="2737796" y="1614941"/>
                </a:moveTo>
                <a:cubicBezTo>
                  <a:pt x="2737796" y="1605655"/>
                  <a:pt x="2730261" y="1598120"/>
                  <a:pt x="2720974" y="1598120"/>
                </a:cubicBezTo>
                <a:cubicBezTo>
                  <a:pt x="2711688" y="1598120"/>
                  <a:pt x="2704153" y="1605655"/>
                  <a:pt x="2704153" y="1614941"/>
                </a:cubicBezTo>
                <a:cubicBezTo>
                  <a:pt x="2704153" y="1624227"/>
                  <a:pt x="2711688" y="1631763"/>
                  <a:pt x="2720974" y="1631763"/>
                </a:cubicBezTo>
                <a:cubicBezTo>
                  <a:pt x="2730261" y="1631763"/>
                  <a:pt x="2737796" y="1624227"/>
                  <a:pt x="2737796" y="1614941"/>
                </a:cubicBezTo>
                <a:moveTo>
                  <a:pt x="2568363" y="1587844"/>
                </a:moveTo>
                <a:cubicBezTo>
                  <a:pt x="2568363" y="1579395"/>
                  <a:pt x="2561512" y="1572621"/>
                  <a:pt x="2553140" y="1572621"/>
                </a:cubicBezTo>
                <a:cubicBezTo>
                  <a:pt x="2544691" y="1572621"/>
                  <a:pt x="2537917" y="1579471"/>
                  <a:pt x="2537917" y="1587844"/>
                </a:cubicBezTo>
                <a:cubicBezTo>
                  <a:pt x="2537917" y="1596293"/>
                  <a:pt x="2544767" y="1603067"/>
                  <a:pt x="2553140" y="1603067"/>
                </a:cubicBezTo>
                <a:cubicBezTo>
                  <a:pt x="2561588" y="1603067"/>
                  <a:pt x="2568363" y="1596217"/>
                  <a:pt x="2568363" y="1587844"/>
                </a:cubicBezTo>
                <a:moveTo>
                  <a:pt x="2397559" y="1571479"/>
                </a:moveTo>
                <a:cubicBezTo>
                  <a:pt x="2397559" y="1563944"/>
                  <a:pt x="2391471" y="1557854"/>
                  <a:pt x="2383859" y="1557854"/>
                </a:cubicBezTo>
                <a:cubicBezTo>
                  <a:pt x="2376324" y="1557854"/>
                  <a:pt x="2370234" y="1563944"/>
                  <a:pt x="2370234" y="1571479"/>
                </a:cubicBezTo>
                <a:cubicBezTo>
                  <a:pt x="2370234" y="1579015"/>
                  <a:pt x="2376324" y="1585180"/>
                  <a:pt x="2383859" y="1585180"/>
                </a:cubicBezTo>
                <a:cubicBezTo>
                  <a:pt x="2391471" y="1585180"/>
                  <a:pt x="2397559" y="1579091"/>
                  <a:pt x="2397559" y="1571479"/>
                </a:cubicBezTo>
                <a:moveTo>
                  <a:pt x="2226604" y="1566075"/>
                </a:moveTo>
                <a:cubicBezTo>
                  <a:pt x="2226604" y="1559149"/>
                  <a:pt x="2220972" y="1553440"/>
                  <a:pt x="2213969" y="1553440"/>
                </a:cubicBezTo>
                <a:cubicBezTo>
                  <a:pt x="2207043" y="1553440"/>
                  <a:pt x="2201334" y="1559072"/>
                  <a:pt x="2201334" y="1566075"/>
                </a:cubicBezTo>
                <a:cubicBezTo>
                  <a:pt x="2201334" y="1573001"/>
                  <a:pt x="2206967" y="1578710"/>
                  <a:pt x="2213969" y="1578710"/>
                </a:cubicBezTo>
                <a:cubicBezTo>
                  <a:pt x="2220972" y="1578634"/>
                  <a:pt x="2226604" y="1573001"/>
                  <a:pt x="2226604" y="1566075"/>
                </a:cubicBezTo>
                <a:moveTo>
                  <a:pt x="2055116" y="1571479"/>
                </a:moveTo>
                <a:cubicBezTo>
                  <a:pt x="2055116" y="1565390"/>
                  <a:pt x="2050168" y="1560442"/>
                  <a:pt x="2044080" y="1560442"/>
                </a:cubicBezTo>
                <a:cubicBezTo>
                  <a:pt x="2037991" y="1560442"/>
                  <a:pt x="2033043" y="1565390"/>
                  <a:pt x="2033043" y="1571479"/>
                </a:cubicBezTo>
                <a:cubicBezTo>
                  <a:pt x="2033043" y="1577568"/>
                  <a:pt x="2037991" y="1582516"/>
                  <a:pt x="2044080" y="1582516"/>
                </a:cubicBezTo>
                <a:cubicBezTo>
                  <a:pt x="2050168" y="1582516"/>
                  <a:pt x="2055116" y="1577568"/>
                  <a:pt x="2055116" y="1571479"/>
                </a:cubicBezTo>
                <a:moveTo>
                  <a:pt x="1884314" y="1587844"/>
                </a:moveTo>
                <a:cubicBezTo>
                  <a:pt x="1884314" y="1582592"/>
                  <a:pt x="1880051" y="1578406"/>
                  <a:pt x="1874875" y="1578406"/>
                </a:cubicBezTo>
                <a:cubicBezTo>
                  <a:pt x="1869623" y="1578406"/>
                  <a:pt x="1865437" y="1582668"/>
                  <a:pt x="1865437" y="1587844"/>
                </a:cubicBezTo>
                <a:cubicBezTo>
                  <a:pt x="1865437" y="1593096"/>
                  <a:pt x="1869699" y="1597282"/>
                  <a:pt x="1874875" y="1597282"/>
                </a:cubicBezTo>
                <a:cubicBezTo>
                  <a:pt x="1880127" y="1597282"/>
                  <a:pt x="1884314" y="1593096"/>
                  <a:pt x="1884314" y="1587844"/>
                </a:cubicBezTo>
                <a:moveTo>
                  <a:pt x="1715489" y="1614941"/>
                </a:moveTo>
                <a:cubicBezTo>
                  <a:pt x="1715489" y="1610298"/>
                  <a:pt x="1711760" y="1606568"/>
                  <a:pt x="1707117" y="1606568"/>
                </a:cubicBezTo>
                <a:cubicBezTo>
                  <a:pt x="1702474" y="1606568"/>
                  <a:pt x="1698668" y="1610298"/>
                  <a:pt x="1698668" y="1614941"/>
                </a:cubicBezTo>
                <a:cubicBezTo>
                  <a:pt x="1698668" y="1619584"/>
                  <a:pt x="1702397" y="1623314"/>
                  <a:pt x="1707117" y="1623314"/>
                </a:cubicBezTo>
                <a:cubicBezTo>
                  <a:pt x="1711683" y="1623390"/>
                  <a:pt x="1715489" y="1619584"/>
                  <a:pt x="1715489" y="1614941"/>
                </a:cubicBezTo>
                <a:moveTo>
                  <a:pt x="1548188" y="1652770"/>
                </a:moveTo>
                <a:cubicBezTo>
                  <a:pt x="1548188" y="1649041"/>
                  <a:pt x="1545143" y="1645920"/>
                  <a:pt x="1541337" y="1645920"/>
                </a:cubicBezTo>
                <a:cubicBezTo>
                  <a:pt x="1537532" y="1645920"/>
                  <a:pt x="1534487" y="1648965"/>
                  <a:pt x="1534487" y="1652770"/>
                </a:cubicBezTo>
                <a:cubicBezTo>
                  <a:pt x="1534487" y="1656576"/>
                  <a:pt x="1537532" y="1659621"/>
                  <a:pt x="1541337" y="1659621"/>
                </a:cubicBezTo>
                <a:cubicBezTo>
                  <a:pt x="1545067" y="1659621"/>
                  <a:pt x="1548188" y="1656576"/>
                  <a:pt x="1548188" y="1652770"/>
                </a:cubicBezTo>
                <a:moveTo>
                  <a:pt x="1384159" y="1701180"/>
                </a:moveTo>
                <a:cubicBezTo>
                  <a:pt x="1384159" y="1697983"/>
                  <a:pt x="1381571" y="1695395"/>
                  <a:pt x="1378374" y="1695395"/>
                </a:cubicBezTo>
                <a:cubicBezTo>
                  <a:pt x="1375177" y="1695395"/>
                  <a:pt x="1372589" y="1697983"/>
                  <a:pt x="1372589" y="1701180"/>
                </a:cubicBezTo>
                <a:cubicBezTo>
                  <a:pt x="1372589" y="1704377"/>
                  <a:pt x="1375177" y="1706965"/>
                  <a:pt x="1378374" y="1706965"/>
                </a:cubicBezTo>
                <a:cubicBezTo>
                  <a:pt x="1381571" y="1706965"/>
                  <a:pt x="1384159" y="1704377"/>
                  <a:pt x="1384159" y="1701180"/>
                </a:cubicBezTo>
                <a:moveTo>
                  <a:pt x="1223556" y="1759865"/>
                </a:moveTo>
                <a:cubicBezTo>
                  <a:pt x="1223556" y="1757277"/>
                  <a:pt x="1221424" y="1755146"/>
                  <a:pt x="1218836" y="1755146"/>
                </a:cubicBezTo>
                <a:cubicBezTo>
                  <a:pt x="1216248" y="1755146"/>
                  <a:pt x="1214117" y="1757277"/>
                  <a:pt x="1214117" y="1759865"/>
                </a:cubicBezTo>
                <a:cubicBezTo>
                  <a:pt x="1214117" y="1762453"/>
                  <a:pt x="1216248" y="1764584"/>
                  <a:pt x="1218836" y="1764584"/>
                </a:cubicBezTo>
                <a:cubicBezTo>
                  <a:pt x="1221424" y="1764584"/>
                  <a:pt x="1223556" y="1762529"/>
                  <a:pt x="1223556" y="1759865"/>
                </a:cubicBezTo>
                <a:moveTo>
                  <a:pt x="1067062" y="1828673"/>
                </a:moveTo>
                <a:cubicBezTo>
                  <a:pt x="1067062" y="1826618"/>
                  <a:pt x="1065387" y="1825020"/>
                  <a:pt x="1063408" y="1825020"/>
                </a:cubicBezTo>
                <a:cubicBezTo>
                  <a:pt x="1061354" y="1825020"/>
                  <a:pt x="1059755" y="1826694"/>
                  <a:pt x="1059755" y="1828673"/>
                </a:cubicBezTo>
                <a:cubicBezTo>
                  <a:pt x="1059755" y="1830728"/>
                  <a:pt x="1061429" y="1832327"/>
                  <a:pt x="1063408" y="1832327"/>
                </a:cubicBezTo>
                <a:cubicBezTo>
                  <a:pt x="1065387" y="1832403"/>
                  <a:pt x="1067062" y="1830728"/>
                  <a:pt x="1067062" y="1828673"/>
                </a:cubicBezTo>
                <a:moveTo>
                  <a:pt x="915288" y="1907300"/>
                </a:moveTo>
                <a:cubicBezTo>
                  <a:pt x="915288" y="1905854"/>
                  <a:pt x="914146" y="1904636"/>
                  <a:pt x="912700" y="1904636"/>
                </a:cubicBezTo>
                <a:cubicBezTo>
                  <a:pt x="911254" y="1904636"/>
                  <a:pt x="910036" y="1905778"/>
                  <a:pt x="910036" y="1907300"/>
                </a:cubicBezTo>
                <a:cubicBezTo>
                  <a:pt x="910036" y="1908747"/>
                  <a:pt x="911254" y="1909888"/>
                  <a:pt x="912700" y="1909888"/>
                </a:cubicBezTo>
                <a:cubicBezTo>
                  <a:pt x="914070" y="1909964"/>
                  <a:pt x="915288" y="1908747"/>
                  <a:pt x="915288" y="1907300"/>
                </a:cubicBezTo>
                <a:moveTo>
                  <a:pt x="768842" y="1995442"/>
                </a:moveTo>
                <a:cubicBezTo>
                  <a:pt x="768842" y="1994605"/>
                  <a:pt x="768157" y="1993844"/>
                  <a:pt x="767243" y="1993844"/>
                </a:cubicBezTo>
                <a:cubicBezTo>
                  <a:pt x="766330" y="1993844"/>
                  <a:pt x="765645" y="1994529"/>
                  <a:pt x="765645" y="1995442"/>
                </a:cubicBezTo>
                <a:cubicBezTo>
                  <a:pt x="765645" y="1996279"/>
                  <a:pt x="766330" y="1997041"/>
                  <a:pt x="767243" y="1997041"/>
                </a:cubicBezTo>
                <a:cubicBezTo>
                  <a:pt x="768157" y="1997041"/>
                  <a:pt x="768842" y="1996356"/>
                  <a:pt x="768842" y="1995442"/>
                </a:cubicBezTo>
                <a:moveTo>
                  <a:pt x="628866" y="2092718"/>
                </a:moveTo>
                <a:cubicBezTo>
                  <a:pt x="628866" y="2092109"/>
                  <a:pt x="628409" y="2091652"/>
                  <a:pt x="627800" y="2091652"/>
                </a:cubicBezTo>
                <a:cubicBezTo>
                  <a:pt x="627191" y="2091652"/>
                  <a:pt x="626734" y="2092109"/>
                  <a:pt x="626734" y="2092718"/>
                </a:cubicBezTo>
                <a:cubicBezTo>
                  <a:pt x="626734" y="2093327"/>
                  <a:pt x="627191" y="2093783"/>
                  <a:pt x="627800" y="2093783"/>
                </a:cubicBezTo>
                <a:cubicBezTo>
                  <a:pt x="628409" y="2093783"/>
                  <a:pt x="628866" y="2093327"/>
                  <a:pt x="628866" y="2092718"/>
                </a:cubicBezTo>
                <a:moveTo>
                  <a:pt x="495435" y="2198670"/>
                </a:moveTo>
                <a:cubicBezTo>
                  <a:pt x="495435" y="2198366"/>
                  <a:pt x="495207" y="2198137"/>
                  <a:pt x="494902" y="2198137"/>
                </a:cubicBezTo>
                <a:cubicBezTo>
                  <a:pt x="494598" y="2198137"/>
                  <a:pt x="494369" y="2198366"/>
                  <a:pt x="494369" y="2198670"/>
                </a:cubicBezTo>
                <a:cubicBezTo>
                  <a:pt x="494369" y="2198975"/>
                  <a:pt x="494598" y="2199203"/>
                  <a:pt x="494902" y="2199203"/>
                </a:cubicBezTo>
                <a:cubicBezTo>
                  <a:pt x="495207" y="2199203"/>
                  <a:pt x="495435" y="2198975"/>
                  <a:pt x="495435" y="2198670"/>
                </a:cubicBezTo>
                <a:moveTo>
                  <a:pt x="369617" y="2312996"/>
                </a:moveTo>
                <a:cubicBezTo>
                  <a:pt x="369617" y="2312691"/>
                  <a:pt x="369388" y="2312463"/>
                  <a:pt x="369084" y="2312463"/>
                </a:cubicBezTo>
                <a:cubicBezTo>
                  <a:pt x="368779" y="2312463"/>
                  <a:pt x="368551" y="2312691"/>
                  <a:pt x="368551" y="2312996"/>
                </a:cubicBezTo>
                <a:cubicBezTo>
                  <a:pt x="368551" y="2313300"/>
                  <a:pt x="368779" y="2313528"/>
                  <a:pt x="369084" y="2313528"/>
                </a:cubicBezTo>
                <a:cubicBezTo>
                  <a:pt x="369388" y="2313528"/>
                  <a:pt x="369617" y="2313300"/>
                  <a:pt x="369617" y="2312996"/>
                </a:cubicBezTo>
                <a:moveTo>
                  <a:pt x="4326096" y="6119300"/>
                </a:moveTo>
                <a:cubicBezTo>
                  <a:pt x="4326096" y="6118995"/>
                  <a:pt x="4325868" y="6118767"/>
                  <a:pt x="4325564" y="6118767"/>
                </a:cubicBezTo>
                <a:cubicBezTo>
                  <a:pt x="4325259" y="6118767"/>
                  <a:pt x="4325031" y="6118995"/>
                  <a:pt x="4325031" y="6119300"/>
                </a:cubicBezTo>
                <a:cubicBezTo>
                  <a:pt x="4325031" y="6119604"/>
                  <a:pt x="4325259" y="6119833"/>
                  <a:pt x="4325564" y="6119833"/>
                </a:cubicBezTo>
                <a:cubicBezTo>
                  <a:pt x="4325868" y="6119833"/>
                  <a:pt x="4326096" y="6119604"/>
                  <a:pt x="4326096" y="6119300"/>
                </a:cubicBezTo>
                <a:moveTo>
                  <a:pt x="4436540" y="5989599"/>
                </a:moveTo>
                <a:cubicBezTo>
                  <a:pt x="4436540" y="5988991"/>
                  <a:pt x="4436083" y="5988534"/>
                  <a:pt x="4435474" y="5988534"/>
                </a:cubicBezTo>
                <a:cubicBezTo>
                  <a:pt x="4434865" y="5988534"/>
                  <a:pt x="4434409" y="5988991"/>
                  <a:pt x="4434409" y="5989599"/>
                </a:cubicBezTo>
                <a:cubicBezTo>
                  <a:pt x="4434409" y="5990208"/>
                  <a:pt x="4434865" y="5990665"/>
                  <a:pt x="4435474" y="5990665"/>
                </a:cubicBezTo>
                <a:cubicBezTo>
                  <a:pt x="4436083" y="5990665"/>
                  <a:pt x="4436540" y="5990208"/>
                  <a:pt x="4436540" y="5989599"/>
                </a:cubicBezTo>
                <a:moveTo>
                  <a:pt x="4539068" y="5853581"/>
                </a:moveTo>
                <a:cubicBezTo>
                  <a:pt x="4539068" y="5852744"/>
                  <a:pt x="4538382" y="5851983"/>
                  <a:pt x="4537469" y="5851983"/>
                </a:cubicBezTo>
                <a:cubicBezTo>
                  <a:pt x="4536631" y="5851983"/>
                  <a:pt x="4535871" y="5852668"/>
                  <a:pt x="4535871" y="5853581"/>
                </a:cubicBezTo>
                <a:cubicBezTo>
                  <a:pt x="4535871" y="5854494"/>
                  <a:pt x="4536555" y="5855180"/>
                  <a:pt x="4537469" y="5855180"/>
                </a:cubicBezTo>
                <a:cubicBezTo>
                  <a:pt x="4538382" y="5855180"/>
                  <a:pt x="4539068" y="5854494"/>
                  <a:pt x="4539068" y="5853581"/>
                </a:cubicBezTo>
                <a:moveTo>
                  <a:pt x="4633755" y="5711702"/>
                </a:moveTo>
                <a:cubicBezTo>
                  <a:pt x="4633755" y="5710255"/>
                  <a:pt x="4632613" y="5709114"/>
                  <a:pt x="4631167" y="5709114"/>
                </a:cubicBezTo>
                <a:cubicBezTo>
                  <a:pt x="4629721" y="5709114"/>
                  <a:pt x="4628503" y="5710255"/>
                  <a:pt x="4628503" y="5711702"/>
                </a:cubicBezTo>
                <a:cubicBezTo>
                  <a:pt x="4628503" y="5713148"/>
                  <a:pt x="4629721" y="5714366"/>
                  <a:pt x="4631167" y="5714366"/>
                </a:cubicBezTo>
                <a:cubicBezTo>
                  <a:pt x="4632613" y="5714366"/>
                  <a:pt x="4633755" y="5713148"/>
                  <a:pt x="4633755" y="5711702"/>
                </a:cubicBezTo>
                <a:moveTo>
                  <a:pt x="4719309" y="5564495"/>
                </a:moveTo>
                <a:cubicBezTo>
                  <a:pt x="4719309" y="5562744"/>
                  <a:pt x="4717863" y="5561374"/>
                  <a:pt x="4716188" y="5561374"/>
                </a:cubicBezTo>
                <a:cubicBezTo>
                  <a:pt x="4714513" y="5561374"/>
                  <a:pt x="4712991" y="5562744"/>
                  <a:pt x="4712991" y="5564495"/>
                </a:cubicBezTo>
                <a:cubicBezTo>
                  <a:pt x="4712991" y="5566245"/>
                  <a:pt x="4714437" y="5567615"/>
                  <a:pt x="4716188" y="5567615"/>
                </a:cubicBezTo>
                <a:cubicBezTo>
                  <a:pt x="4717939" y="5567615"/>
                  <a:pt x="4719309" y="5566245"/>
                  <a:pt x="4719309" y="5564495"/>
                </a:cubicBezTo>
                <a:moveTo>
                  <a:pt x="4796413" y="5412492"/>
                </a:moveTo>
                <a:cubicBezTo>
                  <a:pt x="4796413" y="5410132"/>
                  <a:pt x="4794511" y="5408306"/>
                  <a:pt x="4792227" y="5408306"/>
                </a:cubicBezTo>
                <a:cubicBezTo>
                  <a:pt x="4789944" y="5408306"/>
                  <a:pt x="4788041" y="5410209"/>
                  <a:pt x="4788041" y="5412492"/>
                </a:cubicBezTo>
                <a:cubicBezTo>
                  <a:pt x="4788041" y="5414776"/>
                  <a:pt x="4789944" y="5416679"/>
                  <a:pt x="4792227" y="5416679"/>
                </a:cubicBezTo>
                <a:cubicBezTo>
                  <a:pt x="4794511" y="5416679"/>
                  <a:pt x="4796413" y="5414776"/>
                  <a:pt x="4796413" y="5412492"/>
                </a:cubicBezTo>
                <a:moveTo>
                  <a:pt x="4864233" y="5256151"/>
                </a:moveTo>
                <a:cubicBezTo>
                  <a:pt x="4864233" y="5253259"/>
                  <a:pt x="4861873" y="5250899"/>
                  <a:pt x="4858980" y="5250899"/>
                </a:cubicBezTo>
                <a:cubicBezTo>
                  <a:pt x="4856088" y="5250899"/>
                  <a:pt x="4853729" y="5253259"/>
                  <a:pt x="4853729" y="5256151"/>
                </a:cubicBezTo>
                <a:cubicBezTo>
                  <a:pt x="4853729" y="5259043"/>
                  <a:pt x="4856088" y="5261403"/>
                  <a:pt x="4858980" y="5261403"/>
                </a:cubicBezTo>
                <a:cubicBezTo>
                  <a:pt x="4861873" y="5261403"/>
                  <a:pt x="4864233" y="5259043"/>
                  <a:pt x="4864233" y="5256151"/>
                </a:cubicBezTo>
                <a:moveTo>
                  <a:pt x="4923146" y="5096081"/>
                </a:moveTo>
                <a:cubicBezTo>
                  <a:pt x="4923146" y="5092351"/>
                  <a:pt x="4920101" y="5089230"/>
                  <a:pt x="4916295" y="5089230"/>
                </a:cubicBezTo>
                <a:cubicBezTo>
                  <a:pt x="4912490" y="5089230"/>
                  <a:pt x="4909445" y="5092275"/>
                  <a:pt x="4909445" y="5096081"/>
                </a:cubicBezTo>
                <a:cubicBezTo>
                  <a:pt x="4909445" y="5099886"/>
                  <a:pt x="4912490" y="5102931"/>
                  <a:pt x="4916295" y="5102931"/>
                </a:cubicBezTo>
                <a:cubicBezTo>
                  <a:pt x="4920101" y="5102931"/>
                  <a:pt x="4923146" y="5099886"/>
                  <a:pt x="4923146" y="5096081"/>
                </a:cubicBezTo>
                <a:moveTo>
                  <a:pt x="4971936" y="4932889"/>
                </a:moveTo>
                <a:cubicBezTo>
                  <a:pt x="4971936" y="4928550"/>
                  <a:pt x="4968434" y="4925049"/>
                  <a:pt x="4964096" y="4925049"/>
                </a:cubicBezTo>
                <a:cubicBezTo>
                  <a:pt x="4959757" y="4925049"/>
                  <a:pt x="4956180" y="4928550"/>
                  <a:pt x="4956180" y="4932889"/>
                </a:cubicBezTo>
                <a:cubicBezTo>
                  <a:pt x="4956180" y="4937227"/>
                  <a:pt x="4959681" y="4940805"/>
                  <a:pt x="4964096" y="4940805"/>
                </a:cubicBezTo>
                <a:cubicBezTo>
                  <a:pt x="4968358" y="4940805"/>
                  <a:pt x="4971936" y="4937227"/>
                  <a:pt x="4971936" y="4932889"/>
                </a:cubicBezTo>
                <a:moveTo>
                  <a:pt x="5011287" y="4767186"/>
                </a:moveTo>
                <a:cubicBezTo>
                  <a:pt x="5011287" y="4761934"/>
                  <a:pt x="5007025" y="4757747"/>
                  <a:pt x="5001849" y="4757747"/>
                </a:cubicBezTo>
                <a:cubicBezTo>
                  <a:pt x="4996597" y="4757747"/>
                  <a:pt x="4992411" y="4762010"/>
                  <a:pt x="4992411" y="4767186"/>
                </a:cubicBezTo>
                <a:cubicBezTo>
                  <a:pt x="4992411" y="4772438"/>
                  <a:pt x="4996674" y="4776624"/>
                  <a:pt x="5001849" y="4776624"/>
                </a:cubicBezTo>
                <a:cubicBezTo>
                  <a:pt x="5007101" y="4776624"/>
                  <a:pt x="5011287" y="4772361"/>
                  <a:pt x="5011287" y="4767186"/>
                </a:cubicBezTo>
                <a:moveTo>
                  <a:pt x="5040211" y="4599427"/>
                </a:moveTo>
                <a:cubicBezTo>
                  <a:pt x="5040211" y="4593643"/>
                  <a:pt x="5035492" y="4588923"/>
                  <a:pt x="5029707" y="4588923"/>
                </a:cubicBezTo>
                <a:cubicBezTo>
                  <a:pt x="5023923" y="4588923"/>
                  <a:pt x="5019203" y="4593643"/>
                  <a:pt x="5019203" y="4599427"/>
                </a:cubicBezTo>
                <a:cubicBezTo>
                  <a:pt x="5019203" y="4605212"/>
                  <a:pt x="5023923" y="4609931"/>
                  <a:pt x="5029707" y="4609931"/>
                </a:cubicBezTo>
                <a:cubicBezTo>
                  <a:pt x="5035492" y="4609931"/>
                  <a:pt x="5040211" y="4605288"/>
                  <a:pt x="5040211" y="4599427"/>
                </a:cubicBezTo>
                <a:moveTo>
                  <a:pt x="5059545" y="4430375"/>
                </a:moveTo>
                <a:cubicBezTo>
                  <a:pt x="5059545" y="4423677"/>
                  <a:pt x="5054140" y="4418272"/>
                  <a:pt x="5047442" y="4418272"/>
                </a:cubicBezTo>
                <a:cubicBezTo>
                  <a:pt x="5040744" y="4418272"/>
                  <a:pt x="5035340" y="4423677"/>
                  <a:pt x="5035340" y="4430375"/>
                </a:cubicBezTo>
                <a:cubicBezTo>
                  <a:pt x="5035340" y="4437073"/>
                  <a:pt x="5040744" y="4442477"/>
                  <a:pt x="5047442" y="4442477"/>
                </a:cubicBezTo>
                <a:cubicBezTo>
                  <a:pt x="5054140" y="4442477"/>
                  <a:pt x="5059545" y="4437073"/>
                  <a:pt x="5059545" y="4430375"/>
                </a:cubicBezTo>
                <a:moveTo>
                  <a:pt x="5068755" y="4260561"/>
                </a:moveTo>
                <a:cubicBezTo>
                  <a:pt x="5068755" y="4253026"/>
                  <a:pt x="5062665" y="4246936"/>
                  <a:pt x="5055054" y="4246936"/>
                </a:cubicBezTo>
                <a:cubicBezTo>
                  <a:pt x="5047518" y="4246936"/>
                  <a:pt x="5041430" y="4253026"/>
                  <a:pt x="5041430" y="4260561"/>
                </a:cubicBezTo>
                <a:cubicBezTo>
                  <a:pt x="5041430" y="4268097"/>
                  <a:pt x="5047518" y="4274186"/>
                  <a:pt x="5055054" y="4274186"/>
                </a:cubicBezTo>
                <a:cubicBezTo>
                  <a:pt x="5062665" y="4274186"/>
                  <a:pt x="5068755" y="4268097"/>
                  <a:pt x="5068755" y="4260561"/>
                </a:cubicBezTo>
                <a:moveTo>
                  <a:pt x="5067765" y="4090595"/>
                </a:moveTo>
                <a:cubicBezTo>
                  <a:pt x="5067765" y="4082147"/>
                  <a:pt x="5060915" y="4075372"/>
                  <a:pt x="5052542" y="4075372"/>
                </a:cubicBezTo>
                <a:cubicBezTo>
                  <a:pt x="5044093" y="4075372"/>
                  <a:pt x="5037319" y="4082223"/>
                  <a:pt x="5037319" y="4090595"/>
                </a:cubicBezTo>
                <a:cubicBezTo>
                  <a:pt x="5037319" y="4098968"/>
                  <a:pt x="5044170" y="4105818"/>
                  <a:pt x="5052542" y="4105818"/>
                </a:cubicBezTo>
                <a:cubicBezTo>
                  <a:pt x="5060991" y="4105818"/>
                  <a:pt x="5067765" y="4098968"/>
                  <a:pt x="5067765" y="4090595"/>
                </a:cubicBezTo>
                <a:moveTo>
                  <a:pt x="5056653" y="3921010"/>
                </a:moveTo>
                <a:cubicBezTo>
                  <a:pt x="5056653" y="3911724"/>
                  <a:pt x="5049116" y="3904189"/>
                  <a:pt x="5039830" y="3904189"/>
                </a:cubicBezTo>
                <a:cubicBezTo>
                  <a:pt x="5030545" y="3904189"/>
                  <a:pt x="5023009" y="3911724"/>
                  <a:pt x="5023009" y="3921010"/>
                </a:cubicBezTo>
                <a:cubicBezTo>
                  <a:pt x="5023009" y="3930296"/>
                  <a:pt x="5030545" y="3937832"/>
                  <a:pt x="5039830" y="3937832"/>
                </a:cubicBezTo>
                <a:cubicBezTo>
                  <a:pt x="5049116" y="3937832"/>
                  <a:pt x="5056653" y="3930296"/>
                  <a:pt x="5056653" y="3921010"/>
                </a:cubicBezTo>
                <a:moveTo>
                  <a:pt x="5035416" y="3752567"/>
                </a:moveTo>
                <a:cubicBezTo>
                  <a:pt x="5035416" y="3742443"/>
                  <a:pt x="5027196" y="3734147"/>
                  <a:pt x="5016996" y="3734147"/>
                </a:cubicBezTo>
                <a:cubicBezTo>
                  <a:pt x="5006873" y="3734147"/>
                  <a:pt x="4998653" y="3742367"/>
                  <a:pt x="4998653" y="3752567"/>
                </a:cubicBezTo>
                <a:cubicBezTo>
                  <a:pt x="4998653" y="3762690"/>
                  <a:pt x="5006873" y="3770987"/>
                  <a:pt x="5016996" y="3770987"/>
                </a:cubicBezTo>
                <a:cubicBezTo>
                  <a:pt x="5027196" y="3770987"/>
                  <a:pt x="5035416" y="3762766"/>
                  <a:pt x="5035416" y="3752567"/>
                </a:cubicBezTo>
                <a:moveTo>
                  <a:pt x="5003599" y="3585798"/>
                </a:moveTo>
                <a:cubicBezTo>
                  <a:pt x="5003599" y="3575066"/>
                  <a:pt x="4994922" y="3566388"/>
                  <a:pt x="4984191" y="3566388"/>
                </a:cubicBezTo>
                <a:cubicBezTo>
                  <a:pt x="4973458" y="3566388"/>
                  <a:pt x="4964781" y="3575066"/>
                  <a:pt x="4964781" y="3585798"/>
                </a:cubicBezTo>
                <a:cubicBezTo>
                  <a:pt x="4964781" y="3596530"/>
                  <a:pt x="4973458" y="3605207"/>
                  <a:pt x="4984191" y="3605207"/>
                </a:cubicBezTo>
                <a:cubicBezTo>
                  <a:pt x="4994922" y="3605207"/>
                  <a:pt x="5003599" y="3596530"/>
                  <a:pt x="5003599" y="3585798"/>
                </a:cubicBezTo>
                <a:moveTo>
                  <a:pt x="4962422" y="3421236"/>
                </a:moveTo>
                <a:cubicBezTo>
                  <a:pt x="4962422" y="3409667"/>
                  <a:pt x="4952983" y="3400229"/>
                  <a:pt x="4941414" y="3400229"/>
                </a:cubicBezTo>
                <a:cubicBezTo>
                  <a:pt x="4929844" y="3400229"/>
                  <a:pt x="4920406" y="3409667"/>
                  <a:pt x="4920406" y="3421236"/>
                </a:cubicBezTo>
                <a:cubicBezTo>
                  <a:pt x="4920406" y="3432806"/>
                  <a:pt x="4929844" y="3442244"/>
                  <a:pt x="4941414" y="3442244"/>
                </a:cubicBezTo>
                <a:cubicBezTo>
                  <a:pt x="4952983" y="3442244"/>
                  <a:pt x="4962422" y="3432806"/>
                  <a:pt x="4962422" y="3421236"/>
                </a:cubicBezTo>
                <a:moveTo>
                  <a:pt x="4910968" y="3259567"/>
                </a:moveTo>
                <a:cubicBezTo>
                  <a:pt x="4910968" y="3247389"/>
                  <a:pt x="4901072" y="3237494"/>
                  <a:pt x="4888894" y="3237494"/>
                </a:cubicBezTo>
                <a:cubicBezTo>
                  <a:pt x="4876716" y="3237494"/>
                  <a:pt x="4866820" y="3247389"/>
                  <a:pt x="4866820" y="3259567"/>
                </a:cubicBezTo>
                <a:cubicBezTo>
                  <a:pt x="4866820" y="3271746"/>
                  <a:pt x="4876716" y="3281641"/>
                  <a:pt x="4888894" y="3281641"/>
                </a:cubicBezTo>
                <a:cubicBezTo>
                  <a:pt x="4901072" y="3281641"/>
                  <a:pt x="4910968" y="3271746"/>
                  <a:pt x="4910968" y="3259567"/>
                </a:cubicBezTo>
                <a:moveTo>
                  <a:pt x="4849847" y="3101323"/>
                </a:moveTo>
                <a:cubicBezTo>
                  <a:pt x="4849847" y="3088536"/>
                  <a:pt x="4839495" y="3078184"/>
                  <a:pt x="4826707" y="3078184"/>
                </a:cubicBezTo>
                <a:cubicBezTo>
                  <a:pt x="4813920" y="3078184"/>
                  <a:pt x="4803569" y="3088536"/>
                  <a:pt x="4803569" y="3101323"/>
                </a:cubicBezTo>
                <a:cubicBezTo>
                  <a:pt x="4803569" y="3114111"/>
                  <a:pt x="4813920" y="3124462"/>
                  <a:pt x="4826707" y="3124462"/>
                </a:cubicBezTo>
                <a:cubicBezTo>
                  <a:pt x="4839495" y="3124386"/>
                  <a:pt x="4849847" y="3114035"/>
                  <a:pt x="4849847" y="3101323"/>
                </a:cubicBezTo>
                <a:moveTo>
                  <a:pt x="4779440" y="2947037"/>
                </a:moveTo>
                <a:cubicBezTo>
                  <a:pt x="4779440" y="2933717"/>
                  <a:pt x="4768631" y="2922909"/>
                  <a:pt x="4755311" y="2922909"/>
                </a:cubicBezTo>
                <a:cubicBezTo>
                  <a:pt x="4741991" y="2922909"/>
                  <a:pt x="4731183" y="2933717"/>
                  <a:pt x="4731183" y="2947037"/>
                </a:cubicBezTo>
                <a:cubicBezTo>
                  <a:pt x="4731183" y="2960357"/>
                  <a:pt x="4741991" y="2971166"/>
                  <a:pt x="4755311" y="2971166"/>
                </a:cubicBezTo>
                <a:cubicBezTo>
                  <a:pt x="4768631" y="2971242"/>
                  <a:pt x="4779440" y="2960357"/>
                  <a:pt x="4779440" y="2947037"/>
                </a:cubicBezTo>
                <a:moveTo>
                  <a:pt x="4699975" y="2797318"/>
                </a:moveTo>
                <a:cubicBezTo>
                  <a:pt x="4699975" y="2783389"/>
                  <a:pt x="4688710" y="2772124"/>
                  <a:pt x="4674781" y="2772124"/>
                </a:cubicBezTo>
                <a:cubicBezTo>
                  <a:pt x="4660852" y="2772124"/>
                  <a:pt x="4649587" y="2783389"/>
                  <a:pt x="4649587" y="2797318"/>
                </a:cubicBezTo>
                <a:cubicBezTo>
                  <a:pt x="4649587" y="2811247"/>
                  <a:pt x="4660852" y="2822512"/>
                  <a:pt x="4674781" y="2822512"/>
                </a:cubicBezTo>
                <a:cubicBezTo>
                  <a:pt x="4688634" y="2822588"/>
                  <a:pt x="4699975" y="2811247"/>
                  <a:pt x="4699975" y="2797318"/>
                </a:cubicBezTo>
                <a:moveTo>
                  <a:pt x="4611149" y="2652699"/>
                </a:moveTo>
                <a:cubicBezTo>
                  <a:pt x="4611149" y="2638465"/>
                  <a:pt x="4599655" y="2626972"/>
                  <a:pt x="4585422" y="2626972"/>
                </a:cubicBezTo>
                <a:cubicBezTo>
                  <a:pt x="4571188" y="2626972"/>
                  <a:pt x="4559695" y="2638465"/>
                  <a:pt x="4559695" y="2652699"/>
                </a:cubicBezTo>
                <a:cubicBezTo>
                  <a:pt x="4559695" y="2666933"/>
                  <a:pt x="4571188" y="2678426"/>
                  <a:pt x="4585422" y="2678426"/>
                </a:cubicBezTo>
                <a:cubicBezTo>
                  <a:pt x="4599655" y="2678426"/>
                  <a:pt x="4611149" y="2666933"/>
                  <a:pt x="4611149" y="2652699"/>
                </a:cubicBezTo>
                <a:moveTo>
                  <a:pt x="4513797" y="2513712"/>
                </a:moveTo>
                <a:cubicBezTo>
                  <a:pt x="4513797" y="2499174"/>
                  <a:pt x="4502000" y="2487452"/>
                  <a:pt x="4487537" y="2487452"/>
                </a:cubicBezTo>
                <a:cubicBezTo>
                  <a:pt x="4473075" y="2487452"/>
                  <a:pt x="4461277" y="2499174"/>
                  <a:pt x="4461277" y="2513712"/>
                </a:cubicBezTo>
                <a:cubicBezTo>
                  <a:pt x="4461277" y="2528250"/>
                  <a:pt x="4472999" y="2539972"/>
                  <a:pt x="4487537" y="2539972"/>
                </a:cubicBezTo>
                <a:cubicBezTo>
                  <a:pt x="4502075" y="2539972"/>
                  <a:pt x="4513797" y="2528250"/>
                  <a:pt x="4513797" y="2513712"/>
                </a:cubicBezTo>
                <a:moveTo>
                  <a:pt x="4407769" y="2380814"/>
                </a:moveTo>
                <a:cubicBezTo>
                  <a:pt x="4407769" y="2366277"/>
                  <a:pt x="4396047" y="2354555"/>
                  <a:pt x="4381508" y="2354555"/>
                </a:cubicBezTo>
                <a:cubicBezTo>
                  <a:pt x="4366970" y="2354555"/>
                  <a:pt x="4355249" y="2366353"/>
                  <a:pt x="4355249" y="2380814"/>
                </a:cubicBezTo>
                <a:cubicBezTo>
                  <a:pt x="4355249" y="2395353"/>
                  <a:pt x="4366970" y="2407074"/>
                  <a:pt x="4381508" y="2407074"/>
                </a:cubicBezTo>
                <a:cubicBezTo>
                  <a:pt x="4396047" y="2407074"/>
                  <a:pt x="4407769" y="2395277"/>
                  <a:pt x="4407769" y="2380814"/>
                </a:cubicBezTo>
                <a:moveTo>
                  <a:pt x="4294585" y="2254463"/>
                </a:moveTo>
                <a:cubicBezTo>
                  <a:pt x="4294585" y="2239697"/>
                  <a:pt x="4282558" y="2227670"/>
                  <a:pt x="4267792" y="2227670"/>
                </a:cubicBezTo>
                <a:cubicBezTo>
                  <a:pt x="4253025" y="2227670"/>
                  <a:pt x="4240999" y="2239697"/>
                  <a:pt x="4240999" y="2254463"/>
                </a:cubicBezTo>
                <a:cubicBezTo>
                  <a:pt x="4240999" y="2269229"/>
                  <a:pt x="4253025" y="2281256"/>
                  <a:pt x="4267792" y="2281256"/>
                </a:cubicBezTo>
                <a:cubicBezTo>
                  <a:pt x="4282558" y="2281256"/>
                  <a:pt x="4294585" y="2269229"/>
                  <a:pt x="4294585" y="2254463"/>
                </a:cubicBezTo>
                <a:moveTo>
                  <a:pt x="4173485" y="2135114"/>
                </a:moveTo>
                <a:cubicBezTo>
                  <a:pt x="4173485" y="2120347"/>
                  <a:pt x="4161458" y="2108321"/>
                  <a:pt x="4146692" y="2108321"/>
                </a:cubicBezTo>
                <a:cubicBezTo>
                  <a:pt x="4131925" y="2108321"/>
                  <a:pt x="4119899" y="2120347"/>
                  <a:pt x="4119899" y="2135114"/>
                </a:cubicBezTo>
                <a:cubicBezTo>
                  <a:pt x="4119899" y="2149880"/>
                  <a:pt x="4131925" y="2161907"/>
                  <a:pt x="4146692" y="2161907"/>
                </a:cubicBezTo>
                <a:cubicBezTo>
                  <a:pt x="4161458" y="2161907"/>
                  <a:pt x="4173485" y="2149956"/>
                  <a:pt x="4173485" y="2135114"/>
                </a:cubicBezTo>
                <a:moveTo>
                  <a:pt x="4044926" y="2023300"/>
                </a:moveTo>
                <a:cubicBezTo>
                  <a:pt x="4044926" y="2008762"/>
                  <a:pt x="4033204" y="1997041"/>
                  <a:pt x="4018666" y="1997041"/>
                </a:cubicBezTo>
                <a:cubicBezTo>
                  <a:pt x="4004128" y="1997041"/>
                  <a:pt x="3992406" y="2008762"/>
                  <a:pt x="3992406" y="2023300"/>
                </a:cubicBezTo>
                <a:cubicBezTo>
                  <a:pt x="3992406" y="2037838"/>
                  <a:pt x="4004204" y="2049560"/>
                  <a:pt x="4018666" y="2049560"/>
                </a:cubicBezTo>
                <a:cubicBezTo>
                  <a:pt x="4033128" y="2049560"/>
                  <a:pt x="4044926" y="2037762"/>
                  <a:pt x="4044926" y="2023300"/>
                </a:cubicBezTo>
                <a:moveTo>
                  <a:pt x="3910430" y="1919327"/>
                </a:moveTo>
                <a:cubicBezTo>
                  <a:pt x="3910430" y="1904789"/>
                  <a:pt x="3898632" y="1893067"/>
                  <a:pt x="3884170" y="1893067"/>
                </a:cubicBezTo>
                <a:cubicBezTo>
                  <a:pt x="3869708" y="1893067"/>
                  <a:pt x="3857910" y="1904789"/>
                  <a:pt x="3857910" y="1919327"/>
                </a:cubicBezTo>
                <a:cubicBezTo>
                  <a:pt x="3857910" y="1933865"/>
                  <a:pt x="3869708" y="1945586"/>
                  <a:pt x="3884170" y="1945586"/>
                </a:cubicBezTo>
                <a:cubicBezTo>
                  <a:pt x="3898632" y="1945586"/>
                  <a:pt x="3910430" y="1933789"/>
                  <a:pt x="3910430" y="1919327"/>
                </a:cubicBezTo>
                <a:moveTo>
                  <a:pt x="3769464" y="1823497"/>
                </a:moveTo>
                <a:cubicBezTo>
                  <a:pt x="3769464" y="1809264"/>
                  <a:pt x="3757971" y="1797770"/>
                  <a:pt x="3743737" y="1797770"/>
                </a:cubicBezTo>
                <a:cubicBezTo>
                  <a:pt x="3729503" y="1797770"/>
                  <a:pt x="3718011" y="1809264"/>
                  <a:pt x="3718011" y="1823497"/>
                </a:cubicBezTo>
                <a:cubicBezTo>
                  <a:pt x="3718011" y="1837731"/>
                  <a:pt x="3729503" y="1849224"/>
                  <a:pt x="3743737" y="1849224"/>
                </a:cubicBezTo>
                <a:cubicBezTo>
                  <a:pt x="3757895" y="1849300"/>
                  <a:pt x="3769464" y="1837731"/>
                  <a:pt x="3769464" y="1823497"/>
                </a:cubicBezTo>
                <a:moveTo>
                  <a:pt x="3622409" y="1736345"/>
                </a:moveTo>
                <a:cubicBezTo>
                  <a:pt x="3622409" y="1722721"/>
                  <a:pt x="3611373" y="1711684"/>
                  <a:pt x="3597748" y="1711684"/>
                </a:cubicBezTo>
                <a:cubicBezTo>
                  <a:pt x="3584123" y="1711684"/>
                  <a:pt x="3573086" y="1722721"/>
                  <a:pt x="3573086" y="1736345"/>
                </a:cubicBezTo>
                <a:cubicBezTo>
                  <a:pt x="3573086" y="1749970"/>
                  <a:pt x="3584123" y="1761007"/>
                  <a:pt x="3597748" y="1761007"/>
                </a:cubicBezTo>
                <a:cubicBezTo>
                  <a:pt x="3611373" y="1761007"/>
                  <a:pt x="3622409" y="1749970"/>
                  <a:pt x="3622409" y="1736345"/>
                </a:cubicBezTo>
                <a:moveTo>
                  <a:pt x="3471015" y="1658022"/>
                </a:moveTo>
                <a:cubicBezTo>
                  <a:pt x="3471015" y="1644702"/>
                  <a:pt x="3460207" y="1633818"/>
                  <a:pt x="3446811" y="1633818"/>
                </a:cubicBezTo>
                <a:cubicBezTo>
                  <a:pt x="3433491" y="1633818"/>
                  <a:pt x="3422682" y="1644626"/>
                  <a:pt x="3422682" y="1658022"/>
                </a:cubicBezTo>
                <a:cubicBezTo>
                  <a:pt x="3422682" y="1671343"/>
                  <a:pt x="3433491" y="1682151"/>
                  <a:pt x="3446811" y="1682151"/>
                </a:cubicBezTo>
                <a:cubicBezTo>
                  <a:pt x="3460207" y="1682151"/>
                  <a:pt x="3471015" y="1671343"/>
                  <a:pt x="3471015" y="1658022"/>
                </a:cubicBezTo>
                <a:moveTo>
                  <a:pt x="3314674" y="1588910"/>
                </a:moveTo>
                <a:cubicBezTo>
                  <a:pt x="3314674" y="1576122"/>
                  <a:pt x="3304322" y="1565771"/>
                  <a:pt x="3291536" y="1565771"/>
                </a:cubicBezTo>
                <a:cubicBezTo>
                  <a:pt x="3278748" y="1565771"/>
                  <a:pt x="3268396" y="1576122"/>
                  <a:pt x="3268396" y="1588910"/>
                </a:cubicBezTo>
                <a:cubicBezTo>
                  <a:pt x="3268396" y="1601697"/>
                  <a:pt x="3278748" y="1612049"/>
                  <a:pt x="3291536" y="1612049"/>
                </a:cubicBezTo>
                <a:cubicBezTo>
                  <a:pt x="3304322" y="1611973"/>
                  <a:pt x="3314674" y="1601621"/>
                  <a:pt x="3314674" y="1588910"/>
                </a:cubicBezTo>
                <a:moveTo>
                  <a:pt x="3154452" y="1529159"/>
                </a:moveTo>
                <a:cubicBezTo>
                  <a:pt x="3154452" y="1516981"/>
                  <a:pt x="3144556" y="1507085"/>
                  <a:pt x="3132378" y="1507085"/>
                </a:cubicBezTo>
                <a:cubicBezTo>
                  <a:pt x="3120200" y="1507085"/>
                  <a:pt x="3110304" y="1516981"/>
                  <a:pt x="3110304" y="1529159"/>
                </a:cubicBezTo>
                <a:cubicBezTo>
                  <a:pt x="3110304" y="1541337"/>
                  <a:pt x="3120200" y="1551232"/>
                  <a:pt x="3132378" y="1551232"/>
                </a:cubicBezTo>
                <a:cubicBezTo>
                  <a:pt x="3144556" y="1551232"/>
                  <a:pt x="3154452" y="1541337"/>
                  <a:pt x="3154452" y="1529159"/>
                </a:cubicBezTo>
                <a:moveTo>
                  <a:pt x="2990423" y="1478999"/>
                </a:moveTo>
                <a:cubicBezTo>
                  <a:pt x="2990423" y="1467658"/>
                  <a:pt x="2981213" y="1458524"/>
                  <a:pt x="2969948" y="1458524"/>
                </a:cubicBezTo>
                <a:cubicBezTo>
                  <a:pt x="2958607" y="1458524"/>
                  <a:pt x="2949472" y="1467658"/>
                  <a:pt x="2949472" y="1478999"/>
                </a:cubicBezTo>
                <a:cubicBezTo>
                  <a:pt x="2949472" y="1490340"/>
                  <a:pt x="2958607" y="1499474"/>
                  <a:pt x="2969948" y="1499474"/>
                </a:cubicBezTo>
                <a:cubicBezTo>
                  <a:pt x="2981213" y="1499550"/>
                  <a:pt x="2990423" y="1490340"/>
                  <a:pt x="2990423" y="1478999"/>
                </a:cubicBezTo>
                <a:moveTo>
                  <a:pt x="2824187" y="1438734"/>
                </a:moveTo>
                <a:cubicBezTo>
                  <a:pt x="2824187" y="1428002"/>
                  <a:pt x="2815509" y="1419324"/>
                  <a:pt x="2804777" y="1419324"/>
                </a:cubicBezTo>
                <a:cubicBezTo>
                  <a:pt x="2794045" y="1419324"/>
                  <a:pt x="2785368" y="1428002"/>
                  <a:pt x="2785368" y="1438734"/>
                </a:cubicBezTo>
                <a:cubicBezTo>
                  <a:pt x="2785368" y="1449466"/>
                  <a:pt x="2794045" y="1458143"/>
                  <a:pt x="2804777" y="1458143"/>
                </a:cubicBezTo>
                <a:cubicBezTo>
                  <a:pt x="2815509" y="1458143"/>
                  <a:pt x="2824187" y="1449466"/>
                  <a:pt x="2824187" y="1438734"/>
                </a:cubicBezTo>
                <a:moveTo>
                  <a:pt x="2655362" y="1408364"/>
                </a:moveTo>
                <a:cubicBezTo>
                  <a:pt x="2655362" y="1398469"/>
                  <a:pt x="2647371" y="1390477"/>
                  <a:pt x="2637475" y="1390477"/>
                </a:cubicBezTo>
                <a:cubicBezTo>
                  <a:pt x="2627581" y="1390477"/>
                  <a:pt x="2619588" y="1398469"/>
                  <a:pt x="2619588" y="1408364"/>
                </a:cubicBezTo>
                <a:cubicBezTo>
                  <a:pt x="2619588" y="1418259"/>
                  <a:pt x="2627581" y="1426251"/>
                  <a:pt x="2637475" y="1426251"/>
                </a:cubicBezTo>
                <a:cubicBezTo>
                  <a:pt x="2647371" y="1426251"/>
                  <a:pt x="2655362" y="1418259"/>
                  <a:pt x="2655362" y="1408364"/>
                </a:cubicBezTo>
                <a:moveTo>
                  <a:pt x="2485016" y="1388041"/>
                </a:moveTo>
                <a:cubicBezTo>
                  <a:pt x="2485016" y="1379059"/>
                  <a:pt x="2477709" y="1371752"/>
                  <a:pt x="2468728" y="1371752"/>
                </a:cubicBezTo>
                <a:cubicBezTo>
                  <a:pt x="2459746" y="1371752"/>
                  <a:pt x="2452439" y="1379059"/>
                  <a:pt x="2452439" y="1388041"/>
                </a:cubicBezTo>
                <a:cubicBezTo>
                  <a:pt x="2452439" y="1397023"/>
                  <a:pt x="2459746" y="1404330"/>
                  <a:pt x="2468728" y="1404330"/>
                </a:cubicBezTo>
                <a:cubicBezTo>
                  <a:pt x="2477709" y="1404330"/>
                  <a:pt x="2485016" y="1397099"/>
                  <a:pt x="2485016" y="1388041"/>
                </a:cubicBezTo>
                <a:moveTo>
                  <a:pt x="2313756" y="1377918"/>
                </a:moveTo>
                <a:cubicBezTo>
                  <a:pt x="2313756" y="1369773"/>
                  <a:pt x="2307210" y="1363227"/>
                  <a:pt x="2299066" y="1363227"/>
                </a:cubicBezTo>
                <a:cubicBezTo>
                  <a:pt x="2290922" y="1363227"/>
                  <a:pt x="2284376" y="1369849"/>
                  <a:pt x="2284376" y="1377918"/>
                </a:cubicBezTo>
                <a:cubicBezTo>
                  <a:pt x="2284376" y="1386062"/>
                  <a:pt x="2290998" y="1392608"/>
                  <a:pt x="2299066" y="1392608"/>
                </a:cubicBezTo>
                <a:cubicBezTo>
                  <a:pt x="2307134" y="1392608"/>
                  <a:pt x="2313756" y="1386062"/>
                  <a:pt x="2313756" y="1377918"/>
                </a:cubicBezTo>
                <a:moveTo>
                  <a:pt x="2142649" y="1377918"/>
                </a:moveTo>
                <a:cubicBezTo>
                  <a:pt x="2142649" y="1370382"/>
                  <a:pt x="2136560" y="1364217"/>
                  <a:pt x="2129025" y="1364217"/>
                </a:cubicBezTo>
                <a:cubicBezTo>
                  <a:pt x="2121489" y="1364217"/>
                  <a:pt x="2115400" y="1370306"/>
                  <a:pt x="2115400" y="1377918"/>
                </a:cubicBezTo>
                <a:cubicBezTo>
                  <a:pt x="2115400" y="1385453"/>
                  <a:pt x="2121489" y="1391542"/>
                  <a:pt x="2129025" y="1391542"/>
                </a:cubicBezTo>
                <a:cubicBezTo>
                  <a:pt x="2136560" y="1391542"/>
                  <a:pt x="2142649" y="1385453"/>
                  <a:pt x="2142649" y="1377918"/>
                </a:cubicBezTo>
                <a:moveTo>
                  <a:pt x="1971390" y="1388041"/>
                </a:moveTo>
                <a:cubicBezTo>
                  <a:pt x="1971390" y="1381343"/>
                  <a:pt x="1965985" y="1375939"/>
                  <a:pt x="1959287" y="1375939"/>
                </a:cubicBezTo>
                <a:cubicBezTo>
                  <a:pt x="1952589" y="1375939"/>
                  <a:pt x="1947184" y="1381343"/>
                  <a:pt x="1947184" y="1388041"/>
                </a:cubicBezTo>
                <a:cubicBezTo>
                  <a:pt x="1947184" y="1394739"/>
                  <a:pt x="1952589" y="1400143"/>
                  <a:pt x="1959287" y="1400143"/>
                </a:cubicBezTo>
                <a:cubicBezTo>
                  <a:pt x="1965985" y="1400143"/>
                  <a:pt x="1971390" y="1394739"/>
                  <a:pt x="1971390" y="1388041"/>
                </a:cubicBezTo>
                <a:moveTo>
                  <a:pt x="1801043" y="1408364"/>
                </a:moveTo>
                <a:cubicBezTo>
                  <a:pt x="1801043" y="1402579"/>
                  <a:pt x="1796324" y="1397860"/>
                  <a:pt x="1790539" y="1397860"/>
                </a:cubicBezTo>
                <a:cubicBezTo>
                  <a:pt x="1784754" y="1397860"/>
                  <a:pt x="1780035" y="1402579"/>
                  <a:pt x="1780035" y="1408364"/>
                </a:cubicBezTo>
                <a:cubicBezTo>
                  <a:pt x="1780035" y="1414149"/>
                  <a:pt x="1784754" y="1418868"/>
                  <a:pt x="1790539" y="1418868"/>
                </a:cubicBezTo>
                <a:cubicBezTo>
                  <a:pt x="1796324" y="1418868"/>
                  <a:pt x="1801043" y="1414149"/>
                  <a:pt x="1801043" y="1408364"/>
                </a:cubicBezTo>
                <a:moveTo>
                  <a:pt x="1632219" y="1438734"/>
                </a:moveTo>
                <a:cubicBezTo>
                  <a:pt x="1632219" y="1433786"/>
                  <a:pt x="1628261" y="1429828"/>
                  <a:pt x="1623313" y="1429828"/>
                </a:cubicBezTo>
                <a:cubicBezTo>
                  <a:pt x="1618366" y="1429828"/>
                  <a:pt x="1614408" y="1433862"/>
                  <a:pt x="1614408" y="1438734"/>
                </a:cubicBezTo>
                <a:cubicBezTo>
                  <a:pt x="1614408" y="1443681"/>
                  <a:pt x="1618366" y="1447639"/>
                  <a:pt x="1623313" y="1447639"/>
                </a:cubicBezTo>
                <a:cubicBezTo>
                  <a:pt x="1628185" y="1447639"/>
                  <a:pt x="1632219" y="1443681"/>
                  <a:pt x="1632219" y="1438734"/>
                </a:cubicBezTo>
                <a:moveTo>
                  <a:pt x="1465450" y="1478999"/>
                </a:moveTo>
                <a:cubicBezTo>
                  <a:pt x="1465450" y="1474965"/>
                  <a:pt x="1462177" y="1471616"/>
                  <a:pt x="1458067" y="1471616"/>
                </a:cubicBezTo>
                <a:cubicBezTo>
                  <a:pt x="1454033" y="1471616"/>
                  <a:pt x="1450684" y="1474889"/>
                  <a:pt x="1450684" y="1478999"/>
                </a:cubicBezTo>
                <a:cubicBezTo>
                  <a:pt x="1450684" y="1483033"/>
                  <a:pt x="1453957" y="1486382"/>
                  <a:pt x="1458067" y="1486382"/>
                </a:cubicBezTo>
                <a:cubicBezTo>
                  <a:pt x="1462177" y="1486382"/>
                  <a:pt x="1465450" y="1483109"/>
                  <a:pt x="1465450" y="1478999"/>
                </a:cubicBezTo>
                <a:moveTo>
                  <a:pt x="1301954" y="1529159"/>
                </a:moveTo>
                <a:cubicBezTo>
                  <a:pt x="1301954" y="1525658"/>
                  <a:pt x="1299138" y="1522841"/>
                  <a:pt x="1295637" y="1522841"/>
                </a:cubicBezTo>
                <a:cubicBezTo>
                  <a:pt x="1292135" y="1522841"/>
                  <a:pt x="1289319" y="1525658"/>
                  <a:pt x="1289319" y="1529159"/>
                </a:cubicBezTo>
                <a:cubicBezTo>
                  <a:pt x="1289319" y="1532660"/>
                  <a:pt x="1292135" y="1535477"/>
                  <a:pt x="1295637" y="1535477"/>
                </a:cubicBezTo>
                <a:cubicBezTo>
                  <a:pt x="1299138" y="1535477"/>
                  <a:pt x="1301954" y="1532660"/>
                  <a:pt x="1301954" y="1529159"/>
                </a:cubicBezTo>
                <a:moveTo>
                  <a:pt x="1141731" y="1588910"/>
                </a:moveTo>
                <a:cubicBezTo>
                  <a:pt x="1141731" y="1586017"/>
                  <a:pt x="1139372" y="1583658"/>
                  <a:pt x="1136479" y="1583658"/>
                </a:cubicBezTo>
                <a:cubicBezTo>
                  <a:pt x="1133587" y="1583658"/>
                  <a:pt x="1131227" y="1586017"/>
                  <a:pt x="1131227" y="1588910"/>
                </a:cubicBezTo>
                <a:cubicBezTo>
                  <a:pt x="1131227" y="1591802"/>
                  <a:pt x="1133587" y="1594162"/>
                  <a:pt x="1136479" y="1594162"/>
                </a:cubicBezTo>
                <a:cubicBezTo>
                  <a:pt x="1139372" y="1594162"/>
                  <a:pt x="1141731" y="1591802"/>
                  <a:pt x="1141731" y="1588910"/>
                </a:cubicBezTo>
                <a:moveTo>
                  <a:pt x="985390" y="1658022"/>
                </a:moveTo>
                <a:cubicBezTo>
                  <a:pt x="985390" y="1655663"/>
                  <a:pt x="983487" y="1653836"/>
                  <a:pt x="981204" y="1653836"/>
                </a:cubicBezTo>
                <a:cubicBezTo>
                  <a:pt x="978844" y="1653836"/>
                  <a:pt x="977018" y="1655739"/>
                  <a:pt x="977018" y="1658022"/>
                </a:cubicBezTo>
                <a:cubicBezTo>
                  <a:pt x="977018" y="1660306"/>
                  <a:pt x="978920" y="1662209"/>
                  <a:pt x="981204" y="1662209"/>
                </a:cubicBezTo>
                <a:cubicBezTo>
                  <a:pt x="983487" y="1662209"/>
                  <a:pt x="985390" y="1660382"/>
                  <a:pt x="985390" y="1658022"/>
                </a:cubicBezTo>
                <a:moveTo>
                  <a:pt x="833464" y="1736345"/>
                </a:moveTo>
                <a:cubicBezTo>
                  <a:pt x="833464" y="1734594"/>
                  <a:pt x="832018" y="1733224"/>
                  <a:pt x="830343" y="1733224"/>
                </a:cubicBezTo>
                <a:cubicBezTo>
                  <a:pt x="828592" y="1733224"/>
                  <a:pt x="827146" y="1734671"/>
                  <a:pt x="827146" y="1736345"/>
                </a:cubicBezTo>
                <a:cubicBezTo>
                  <a:pt x="827146" y="1738096"/>
                  <a:pt x="828592" y="1739466"/>
                  <a:pt x="830343" y="1739466"/>
                </a:cubicBezTo>
                <a:cubicBezTo>
                  <a:pt x="832018" y="1739466"/>
                  <a:pt x="833464" y="1738096"/>
                  <a:pt x="833464" y="1736345"/>
                </a:cubicBezTo>
                <a:moveTo>
                  <a:pt x="686409" y="1823497"/>
                </a:moveTo>
                <a:cubicBezTo>
                  <a:pt x="686409" y="1822356"/>
                  <a:pt x="685496" y="1821366"/>
                  <a:pt x="684277" y="1821366"/>
                </a:cubicBezTo>
                <a:cubicBezTo>
                  <a:pt x="683136" y="1821366"/>
                  <a:pt x="682146" y="1822279"/>
                  <a:pt x="682146" y="1823497"/>
                </a:cubicBezTo>
                <a:cubicBezTo>
                  <a:pt x="682146" y="1824639"/>
                  <a:pt x="683060" y="1825629"/>
                  <a:pt x="684277" y="1825629"/>
                </a:cubicBezTo>
                <a:cubicBezTo>
                  <a:pt x="685496" y="1825629"/>
                  <a:pt x="686409" y="1824715"/>
                  <a:pt x="686409" y="1823497"/>
                </a:cubicBezTo>
                <a:moveTo>
                  <a:pt x="544910" y="1919327"/>
                </a:moveTo>
                <a:cubicBezTo>
                  <a:pt x="544910" y="1918718"/>
                  <a:pt x="544453" y="1918261"/>
                  <a:pt x="543844" y="1918261"/>
                </a:cubicBezTo>
                <a:cubicBezTo>
                  <a:pt x="543236" y="1918261"/>
                  <a:pt x="542779" y="1918718"/>
                  <a:pt x="542779" y="1919327"/>
                </a:cubicBezTo>
                <a:cubicBezTo>
                  <a:pt x="542779" y="1919936"/>
                  <a:pt x="543236" y="1920392"/>
                  <a:pt x="543844" y="1920392"/>
                </a:cubicBezTo>
                <a:cubicBezTo>
                  <a:pt x="544453" y="1920316"/>
                  <a:pt x="544910" y="1919860"/>
                  <a:pt x="544910" y="1919327"/>
                </a:cubicBezTo>
                <a:moveTo>
                  <a:pt x="410414" y="2023300"/>
                </a:moveTo>
                <a:cubicBezTo>
                  <a:pt x="410414" y="2022691"/>
                  <a:pt x="409958" y="2022235"/>
                  <a:pt x="409349" y="2022235"/>
                </a:cubicBezTo>
                <a:cubicBezTo>
                  <a:pt x="408739" y="2022235"/>
                  <a:pt x="408283" y="2022691"/>
                  <a:pt x="408283" y="2023300"/>
                </a:cubicBezTo>
                <a:cubicBezTo>
                  <a:pt x="408283" y="2023909"/>
                  <a:pt x="408739" y="2024366"/>
                  <a:pt x="409349" y="2024366"/>
                </a:cubicBezTo>
                <a:cubicBezTo>
                  <a:pt x="409958" y="2024366"/>
                  <a:pt x="410414" y="2023909"/>
                  <a:pt x="410414" y="2023300"/>
                </a:cubicBezTo>
                <a:moveTo>
                  <a:pt x="281931" y="2135114"/>
                </a:moveTo>
                <a:cubicBezTo>
                  <a:pt x="281931" y="2134810"/>
                  <a:pt x="281703" y="2134581"/>
                  <a:pt x="281399" y="2134581"/>
                </a:cubicBezTo>
                <a:cubicBezTo>
                  <a:pt x="281094" y="2134581"/>
                  <a:pt x="280866" y="2134810"/>
                  <a:pt x="280866" y="2135114"/>
                </a:cubicBezTo>
                <a:cubicBezTo>
                  <a:pt x="280866" y="2135418"/>
                  <a:pt x="281094" y="2135647"/>
                  <a:pt x="281399" y="2135647"/>
                </a:cubicBezTo>
                <a:cubicBezTo>
                  <a:pt x="281627" y="2135647"/>
                  <a:pt x="281931" y="2135418"/>
                  <a:pt x="281931" y="2135114"/>
                </a:cubicBezTo>
                <a:moveTo>
                  <a:pt x="4474445" y="6237660"/>
                </a:moveTo>
                <a:cubicBezTo>
                  <a:pt x="4474445" y="6237355"/>
                  <a:pt x="4474217" y="6237127"/>
                  <a:pt x="4473912" y="6237127"/>
                </a:cubicBezTo>
                <a:cubicBezTo>
                  <a:pt x="4473608" y="6237127"/>
                  <a:pt x="4473380" y="6237355"/>
                  <a:pt x="4473380" y="6237660"/>
                </a:cubicBezTo>
                <a:cubicBezTo>
                  <a:pt x="4473380" y="6237964"/>
                  <a:pt x="4473608" y="6238192"/>
                  <a:pt x="4473912" y="6238192"/>
                </a:cubicBezTo>
                <a:cubicBezTo>
                  <a:pt x="4474217" y="6238192"/>
                  <a:pt x="4474445" y="6237888"/>
                  <a:pt x="4474445" y="6237660"/>
                </a:cubicBezTo>
                <a:moveTo>
                  <a:pt x="4584661" y="6107731"/>
                </a:moveTo>
                <a:cubicBezTo>
                  <a:pt x="4584661" y="6107121"/>
                  <a:pt x="4584204" y="6106665"/>
                  <a:pt x="4583595" y="6106665"/>
                </a:cubicBezTo>
                <a:cubicBezTo>
                  <a:pt x="4582986" y="6106665"/>
                  <a:pt x="4582529" y="6107121"/>
                  <a:pt x="4582529" y="6107731"/>
                </a:cubicBezTo>
                <a:cubicBezTo>
                  <a:pt x="4582529" y="6108340"/>
                  <a:pt x="4582986" y="6108796"/>
                  <a:pt x="4583595" y="6108796"/>
                </a:cubicBezTo>
                <a:cubicBezTo>
                  <a:pt x="4584204" y="6108796"/>
                  <a:pt x="4584661" y="6108340"/>
                  <a:pt x="4584661" y="6107731"/>
                </a:cubicBezTo>
                <a:moveTo>
                  <a:pt x="4687417" y="5971940"/>
                </a:moveTo>
                <a:cubicBezTo>
                  <a:pt x="4687417" y="5971103"/>
                  <a:pt x="4686731" y="5970342"/>
                  <a:pt x="4685818" y="5970342"/>
                </a:cubicBezTo>
                <a:cubicBezTo>
                  <a:pt x="4684980" y="5970342"/>
                  <a:pt x="4684219" y="5971027"/>
                  <a:pt x="4684219" y="5971940"/>
                </a:cubicBezTo>
                <a:cubicBezTo>
                  <a:pt x="4684219" y="5972778"/>
                  <a:pt x="4684904" y="5973539"/>
                  <a:pt x="4685818" y="5973539"/>
                </a:cubicBezTo>
                <a:cubicBezTo>
                  <a:pt x="4686731" y="5973463"/>
                  <a:pt x="4687417" y="5972778"/>
                  <a:pt x="4687417" y="5971940"/>
                </a:cubicBezTo>
                <a:moveTo>
                  <a:pt x="4782941" y="5830518"/>
                </a:moveTo>
                <a:cubicBezTo>
                  <a:pt x="4782941" y="5829072"/>
                  <a:pt x="4781724" y="5827854"/>
                  <a:pt x="4780277" y="5827854"/>
                </a:cubicBezTo>
                <a:cubicBezTo>
                  <a:pt x="4778831" y="5827854"/>
                  <a:pt x="4777689" y="5828996"/>
                  <a:pt x="4777689" y="5830518"/>
                </a:cubicBezTo>
                <a:cubicBezTo>
                  <a:pt x="4777689" y="5831964"/>
                  <a:pt x="4778831" y="5833106"/>
                  <a:pt x="4780277" y="5833106"/>
                </a:cubicBezTo>
                <a:cubicBezTo>
                  <a:pt x="4781724" y="5833106"/>
                  <a:pt x="4782941" y="5831964"/>
                  <a:pt x="4782941" y="5830518"/>
                </a:cubicBezTo>
                <a:moveTo>
                  <a:pt x="4869789" y="5684148"/>
                </a:moveTo>
                <a:cubicBezTo>
                  <a:pt x="4869789" y="5682397"/>
                  <a:pt x="4868418" y="5681027"/>
                  <a:pt x="4866668" y="5681027"/>
                </a:cubicBezTo>
                <a:cubicBezTo>
                  <a:pt x="4864917" y="5681027"/>
                  <a:pt x="4863472" y="5682397"/>
                  <a:pt x="4863472" y="5684148"/>
                </a:cubicBezTo>
                <a:cubicBezTo>
                  <a:pt x="4863472" y="5685899"/>
                  <a:pt x="4864917" y="5687269"/>
                  <a:pt x="4866668" y="5687269"/>
                </a:cubicBezTo>
                <a:cubicBezTo>
                  <a:pt x="4868418" y="5687269"/>
                  <a:pt x="4869789" y="5685823"/>
                  <a:pt x="4869789" y="5684148"/>
                </a:cubicBezTo>
                <a:moveTo>
                  <a:pt x="4948873" y="5533059"/>
                </a:moveTo>
                <a:cubicBezTo>
                  <a:pt x="4948873" y="5530776"/>
                  <a:pt x="4946970" y="5528873"/>
                  <a:pt x="4944686" y="5528873"/>
                </a:cubicBezTo>
                <a:cubicBezTo>
                  <a:pt x="4942403" y="5528873"/>
                  <a:pt x="4940500" y="5530776"/>
                  <a:pt x="4940500" y="5533059"/>
                </a:cubicBezTo>
                <a:cubicBezTo>
                  <a:pt x="4940500" y="5535342"/>
                  <a:pt x="4942403" y="5537245"/>
                  <a:pt x="4944686" y="5537245"/>
                </a:cubicBezTo>
                <a:cubicBezTo>
                  <a:pt x="4947046" y="5537245"/>
                  <a:pt x="4948873" y="5535419"/>
                  <a:pt x="4948873" y="5533059"/>
                </a:cubicBezTo>
                <a:moveTo>
                  <a:pt x="5019888" y="5377860"/>
                </a:moveTo>
                <a:cubicBezTo>
                  <a:pt x="5019888" y="5374663"/>
                  <a:pt x="5017301" y="5372075"/>
                  <a:pt x="5014103" y="5372075"/>
                </a:cubicBezTo>
                <a:cubicBezTo>
                  <a:pt x="5010907" y="5372075"/>
                  <a:pt x="5008319" y="5374663"/>
                  <a:pt x="5008319" y="5377860"/>
                </a:cubicBezTo>
                <a:cubicBezTo>
                  <a:pt x="5008319" y="5381056"/>
                  <a:pt x="5010907" y="5383644"/>
                  <a:pt x="5014103" y="5383644"/>
                </a:cubicBezTo>
                <a:cubicBezTo>
                  <a:pt x="5017301" y="5383644"/>
                  <a:pt x="5019888" y="5381056"/>
                  <a:pt x="5019888" y="5377860"/>
                </a:cubicBezTo>
                <a:moveTo>
                  <a:pt x="5081618" y="5219083"/>
                </a:moveTo>
                <a:cubicBezTo>
                  <a:pt x="5081618" y="5215353"/>
                  <a:pt x="5078574" y="5212232"/>
                  <a:pt x="5074768" y="5212232"/>
                </a:cubicBezTo>
                <a:cubicBezTo>
                  <a:pt x="5070962" y="5212232"/>
                  <a:pt x="5067918" y="5215277"/>
                  <a:pt x="5067918" y="5219083"/>
                </a:cubicBezTo>
                <a:cubicBezTo>
                  <a:pt x="5067918" y="5222889"/>
                  <a:pt x="5070962" y="5225933"/>
                  <a:pt x="5074768" y="5225933"/>
                </a:cubicBezTo>
                <a:cubicBezTo>
                  <a:pt x="5078574" y="5225933"/>
                  <a:pt x="5081618" y="5222812"/>
                  <a:pt x="5081618" y="5219083"/>
                </a:cubicBezTo>
                <a:moveTo>
                  <a:pt x="5134290" y="5057109"/>
                </a:moveTo>
                <a:cubicBezTo>
                  <a:pt x="5134290" y="5052771"/>
                  <a:pt x="5130789" y="5049193"/>
                  <a:pt x="5126450" y="5049193"/>
                </a:cubicBezTo>
                <a:cubicBezTo>
                  <a:pt x="5122112" y="5049193"/>
                  <a:pt x="5118534" y="5052695"/>
                  <a:pt x="5118534" y="5057109"/>
                </a:cubicBezTo>
                <a:cubicBezTo>
                  <a:pt x="5118534" y="5061448"/>
                  <a:pt x="5122035" y="5064949"/>
                  <a:pt x="5126450" y="5064949"/>
                </a:cubicBezTo>
                <a:cubicBezTo>
                  <a:pt x="5130713" y="5064949"/>
                  <a:pt x="5134290" y="5061448"/>
                  <a:pt x="5134290" y="5057109"/>
                </a:cubicBezTo>
                <a:moveTo>
                  <a:pt x="5178285" y="4892472"/>
                </a:moveTo>
                <a:cubicBezTo>
                  <a:pt x="5178285" y="4887220"/>
                  <a:pt x="5174022" y="4883033"/>
                  <a:pt x="5168847" y="4883033"/>
                </a:cubicBezTo>
                <a:cubicBezTo>
                  <a:pt x="5163594" y="4883033"/>
                  <a:pt x="5159408" y="4887296"/>
                  <a:pt x="5159408" y="4892472"/>
                </a:cubicBezTo>
                <a:cubicBezTo>
                  <a:pt x="5159408" y="4897723"/>
                  <a:pt x="5163670" y="4901910"/>
                  <a:pt x="5168847" y="4901910"/>
                </a:cubicBezTo>
                <a:cubicBezTo>
                  <a:pt x="5174098" y="4901910"/>
                  <a:pt x="5178285" y="4897723"/>
                  <a:pt x="5178285" y="4892472"/>
                </a:cubicBezTo>
                <a:moveTo>
                  <a:pt x="5213069" y="4725703"/>
                </a:moveTo>
                <a:cubicBezTo>
                  <a:pt x="5213069" y="4719613"/>
                  <a:pt x="5208122" y="4714666"/>
                  <a:pt x="5202033" y="4714666"/>
                </a:cubicBezTo>
                <a:cubicBezTo>
                  <a:pt x="5195943" y="4714666"/>
                  <a:pt x="5190996" y="4719613"/>
                  <a:pt x="5190996" y="4725703"/>
                </a:cubicBezTo>
                <a:cubicBezTo>
                  <a:pt x="5190996" y="4731792"/>
                  <a:pt x="5195943" y="4736739"/>
                  <a:pt x="5202033" y="4736739"/>
                </a:cubicBezTo>
                <a:cubicBezTo>
                  <a:pt x="5208122" y="4736739"/>
                  <a:pt x="5213069" y="4731792"/>
                  <a:pt x="5213069" y="4725703"/>
                </a:cubicBezTo>
                <a:moveTo>
                  <a:pt x="5238416" y="4557412"/>
                </a:moveTo>
                <a:cubicBezTo>
                  <a:pt x="5238416" y="4550485"/>
                  <a:pt x="5232783" y="4544776"/>
                  <a:pt x="5225781" y="4544776"/>
                </a:cubicBezTo>
                <a:cubicBezTo>
                  <a:pt x="5218778" y="4544776"/>
                  <a:pt x="5213145" y="4550409"/>
                  <a:pt x="5213145" y="4557412"/>
                </a:cubicBezTo>
                <a:cubicBezTo>
                  <a:pt x="5213145" y="4564338"/>
                  <a:pt x="5218778" y="4570046"/>
                  <a:pt x="5225781" y="4570046"/>
                </a:cubicBezTo>
                <a:cubicBezTo>
                  <a:pt x="5232783" y="4570046"/>
                  <a:pt x="5238416" y="4564338"/>
                  <a:pt x="5238416" y="4557412"/>
                </a:cubicBezTo>
                <a:moveTo>
                  <a:pt x="5254248" y="4387979"/>
                </a:moveTo>
                <a:cubicBezTo>
                  <a:pt x="5254248" y="4380138"/>
                  <a:pt x="5247931" y="4373821"/>
                  <a:pt x="5240091" y="4373821"/>
                </a:cubicBezTo>
                <a:cubicBezTo>
                  <a:pt x="5232250" y="4373821"/>
                  <a:pt x="5225933" y="4380138"/>
                  <a:pt x="5225933" y="4387979"/>
                </a:cubicBezTo>
                <a:cubicBezTo>
                  <a:pt x="5225933" y="4395819"/>
                  <a:pt x="5232250" y="4402136"/>
                  <a:pt x="5240091" y="4402136"/>
                </a:cubicBezTo>
                <a:cubicBezTo>
                  <a:pt x="5247931" y="4402136"/>
                  <a:pt x="5254248" y="4395819"/>
                  <a:pt x="5254248" y="4387979"/>
                </a:cubicBezTo>
                <a:moveTo>
                  <a:pt x="5260641" y="4218013"/>
                </a:moveTo>
                <a:cubicBezTo>
                  <a:pt x="5260641" y="4209336"/>
                  <a:pt x="5253563" y="4202257"/>
                  <a:pt x="5244886" y="4202257"/>
                </a:cubicBezTo>
                <a:cubicBezTo>
                  <a:pt x="5236209" y="4202257"/>
                  <a:pt x="5229129" y="4209336"/>
                  <a:pt x="5229129" y="4218013"/>
                </a:cubicBezTo>
                <a:cubicBezTo>
                  <a:pt x="5229129" y="4226690"/>
                  <a:pt x="5236209" y="4233769"/>
                  <a:pt x="5244886" y="4233769"/>
                </a:cubicBezTo>
                <a:cubicBezTo>
                  <a:pt x="5253563" y="4233769"/>
                  <a:pt x="5260641" y="4226766"/>
                  <a:pt x="5260641" y="4218013"/>
                </a:cubicBezTo>
                <a:moveTo>
                  <a:pt x="5257445" y="4048123"/>
                </a:moveTo>
                <a:cubicBezTo>
                  <a:pt x="5257445" y="4038533"/>
                  <a:pt x="5249681" y="4030769"/>
                  <a:pt x="5240091" y="4030769"/>
                </a:cubicBezTo>
                <a:cubicBezTo>
                  <a:pt x="5230500" y="4030769"/>
                  <a:pt x="5222736" y="4038533"/>
                  <a:pt x="5222736" y="4048123"/>
                </a:cubicBezTo>
                <a:cubicBezTo>
                  <a:pt x="5222736" y="4057713"/>
                  <a:pt x="5230500" y="4065477"/>
                  <a:pt x="5240091" y="4065477"/>
                </a:cubicBezTo>
                <a:cubicBezTo>
                  <a:pt x="5249681" y="4065477"/>
                  <a:pt x="5257445" y="4057637"/>
                  <a:pt x="5257445" y="4048123"/>
                </a:cubicBezTo>
                <a:moveTo>
                  <a:pt x="5244734" y="3878690"/>
                </a:moveTo>
                <a:cubicBezTo>
                  <a:pt x="5244734" y="3868262"/>
                  <a:pt x="5236285" y="3859813"/>
                  <a:pt x="5225781" y="3859813"/>
                </a:cubicBezTo>
                <a:cubicBezTo>
                  <a:pt x="5215353" y="3859813"/>
                  <a:pt x="5206904" y="3868262"/>
                  <a:pt x="5206904" y="3878690"/>
                </a:cubicBezTo>
                <a:cubicBezTo>
                  <a:pt x="5206904" y="3889118"/>
                  <a:pt x="5215353" y="3897567"/>
                  <a:pt x="5225781" y="3897567"/>
                </a:cubicBezTo>
                <a:cubicBezTo>
                  <a:pt x="5236209" y="3897643"/>
                  <a:pt x="5244734" y="3889118"/>
                  <a:pt x="5244734" y="3878690"/>
                </a:cubicBezTo>
                <a:moveTo>
                  <a:pt x="5222507" y="3710323"/>
                </a:moveTo>
                <a:cubicBezTo>
                  <a:pt x="5222507" y="3698982"/>
                  <a:pt x="5213298" y="3689848"/>
                  <a:pt x="5202033" y="3689848"/>
                </a:cubicBezTo>
                <a:cubicBezTo>
                  <a:pt x="5190692" y="3689848"/>
                  <a:pt x="5181557" y="3698982"/>
                  <a:pt x="5181557" y="3710323"/>
                </a:cubicBezTo>
                <a:cubicBezTo>
                  <a:pt x="5181557" y="3721664"/>
                  <a:pt x="5190768" y="3730798"/>
                  <a:pt x="5202033" y="3730798"/>
                </a:cubicBezTo>
                <a:cubicBezTo>
                  <a:pt x="5213374" y="3730874"/>
                  <a:pt x="5222507" y="3721664"/>
                  <a:pt x="5222507" y="3710323"/>
                </a:cubicBezTo>
                <a:moveTo>
                  <a:pt x="5190919" y="3543630"/>
                </a:moveTo>
                <a:cubicBezTo>
                  <a:pt x="5190919" y="3531451"/>
                  <a:pt x="5181025" y="3521557"/>
                  <a:pt x="5168847" y="3521557"/>
                </a:cubicBezTo>
                <a:cubicBezTo>
                  <a:pt x="5156667" y="3521557"/>
                  <a:pt x="5146773" y="3531451"/>
                  <a:pt x="5146773" y="3543630"/>
                </a:cubicBezTo>
                <a:cubicBezTo>
                  <a:pt x="5146773" y="3555809"/>
                  <a:pt x="5156667" y="3565703"/>
                  <a:pt x="5168847" y="3565703"/>
                </a:cubicBezTo>
                <a:cubicBezTo>
                  <a:pt x="5181025" y="3565703"/>
                  <a:pt x="5190919" y="3555809"/>
                  <a:pt x="5190919" y="3543630"/>
                </a:cubicBezTo>
                <a:moveTo>
                  <a:pt x="5150045" y="3378992"/>
                </a:moveTo>
                <a:cubicBezTo>
                  <a:pt x="5150045" y="3365900"/>
                  <a:pt x="5139466" y="3355320"/>
                  <a:pt x="5126374" y="3355320"/>
                </a:cubicBezTo>
                <a:cubicBezTo>
                  <a:pt x="5113358" y="3355320"/>
                  <a:pt x="5102778" y="3365900"/>
                  <a:pt x="5102778" y="3378992"/>
                </a:cubicBezTo>
                <a:cubicBezTo>
                  <a:pt x="5102778" y="3392084"/>
                  <a:pt x="5113358" y="3402664"/>
                  <a:pt x="5126374" y="3402664"/>
                </a:cubicBezTo>
                <a:cubicBezTo>
                  <a:pt x="5139466" y="3402664"/>
                  <a:pt x="5150045" y="3392084"/>
                  <a:pt x="5150045" y="3378992"/>
                </a:cubicBezTo>
                <a:moveTo>
                  <a:pt x="5099429" y="3217019"/>
                </a:moveTo>
                <a:cubicBezTo>
                  <a:pt x="5099429" y="3203394"/>
                  <a:pt x="5088392" y="3192357"/>
                  <a:pt x="5074768" y="3192357"/>
                </a:cubicBezTo>
                <a:cubicBezTo>
                  <a:pt x="5061143" y="3192357"/>
                  <a:pt x="5050106" y="3203394"/>
                  <a:pt x="5050106" y="3217019"/>
                </a:cubicBezTo>
                <a:cubicBezTo>
                  <a:pt x="5050106" y="3230643"/>
                  <a:pt x="5061143" y="3241680"/>
                  <a:pt x="5074768" y="3241680"/>
                </a:cubicBezTo>
                <a:cubicBezTo>
                  <a:pt x="5088392" y="3241680"/>
                  <a:pt x="5099429" y="3230643"/>
                  <a:pt x="5099429" y="3217019"/>
                </a:cubicBezTo>
                <a:moveTo>
                  <a:pt x="5039907" y="3058166"/>
                </a:moveTo>
                <a:cubicBezTo>
                  <a:pt x="5039907" y="3043932"/>
                  <a:pt x="5028413" y="3032439"/>
                  <a:pt x="5014180" y="3032439"/>
                </a:cubicBezTo>
                <a:cubicBezTo>
                  <a:pt x="4999946" y="3032439"/>
                  <a:pt x="4988453" y="3043932"/>
                  <a:pt x="4988453" y="3058166"/>
                </a:cubicBezTo>
                <a:cubicBezTo>
                  <a:pt x="4988453" y="3072399"/>
                  <a:pt x="4999946" y="3083893"/>
                  <a:pt x="5014180" y="3083893"/>
                </a:cubicBezTo>
                <a:cubicBezTo>
                  <a:pt x="5028337" y="3083969"/>
                  <a:pt x="5039907" y="3072399"/>
                  <a:pt x="5039907" y="3058166"/>
                </a:cubicBezTo>
                <a:moveTo>
                  <a:pt x="4971479" y="2903043"/>
                </a:moveTo>
                <a:cubicBezTo>
                  <a:pt x="4971479" y="2888276"/>
                  <a:pt x="4959453" y="2876250"/>
                  <a:pt x="4944686" y="2876250"/>
                </a:cubicBezTo>
                <a:cubicBezTo>
                  <a:pt x="4929920" y="2876250"/>
                  <a:pt x="4917893" y="2888276"/>
                  <a:pt x="4917893" y="2903043"/>
                </a:cubicBezTo>
                <a:cubicBezTo>
                  <a:pt x="4917893" y="2917809"/>
                  <a:pt x="4929920" y="2929835"/>
                  <a:pt x="4944686" y="2929835"/>
                </a:cubicBezTo>
                <a:cubicBezTo>
                  <a:pt x="4959529" y="2929835"/>
                  <a:pt x="4971479" y="2917809"/>
                  <a:pt x="4971479" y="2903043"/>
                </a:cubicBezTo>
                <a:moveTo>
                  <a:pt x="4894526" y="2751953"/>
                </a:moveTo>
                <a:cubicBezTo>
                  <a:pt x="4894526" y="2736578"/>
                  <a:pt x="4882043" y="2724095"/>
                  <a:pt x="4866668" y="2724095"/>
                </a:cubicBezTo>
                <a:cubicBezTo>
                  <a:pt x="4851292" y="2724095"/>
                  <a:pt x="4838810" y="2736578"/>
                  <a:pt x="4838810" y="2751953"/>
                </a:cubicBezTo>
                <a:cubicBezTo>
                  <a:pt x="4838810" y="2767329"/>
                  <a:pt x="4851292" y="2779812"/>
                  <a:pt x="4866668" y="2779812"/>
                </a:cubicBezTo>
                <a:cubicBezTo>
                  <a:pt x="4882043" y="2779812"/>
                  <a:pt x="4894526" y="2767329"/>
                  <a:pt x="4894526" y="2751953"/>
                </a:cubicBezTo>
                <a:moveTo>
                  <a:pt x="4809201" y="2605507"/>
                </a:moveTo>
                <a:cubicBezTo>
                  <a:pt x="4809201" y="2589523"/>
                  <a:pt x="4796261" y="2576583"/>
                  <a:pt x="4780277" y="2576583"/>
                </a:cubicBezTo>
                <a:cubicBezTo>
                  <a:pt x="4764293" y="2576583"/>
                  <a:pt x="4751353" y="2589523"/>
                  <a:pt x="4751353" y="2605507"/>
                </a:cubicBezTo>
                <a:cubicBezTo>
                  <a:pt x="4751353" y="2621492"/>
                  <a:pt x="4764293" y="2634431"/>
                  <a:pt x="4780277" y="2634431"/>
                </a:cubicBezTo>
                <a:cubicBezTo>
                  <a:pt x="4796261" y="2634431"/>
                  <a:pt x="4809201" y="2621492"/>
                  <a:pt x="4809201" y="2605507"/>
                </a:cubicBezTo>
                <a:moveTo>
                  <a:pt x="4715274" y="2464161"/>
                </a:moveTo>
                <a:cubicBezTo>
                  <a:pt x="4715274" y="2447948"/>
                  <a:pt x="4702106" y="2434781"/>
                  <a:pt x="4685894" y="2434781"/>
                </a:cubicBezTo>
                <a:cubicBezTo>
                  <a:pt x="4669605" y="2434781"/>
                  <a:pt x="4656513" y="2447948"/>
                  <a:pt x="4656513" y="2464161"/>
                </a:cubicBezTo>
                <a:cubicBezTo>
                  <a:pt x="4656513" y="2480450"/>
                  <a:pt x="4669681" y="2493541"/>
                  <a:pt x="4685894" y="2493541"/>
                </a:cubicBezTo>
                <a:cubicBezTo>
                  <a:pt x="4702106" y="2493618"/>
                  <a:pt x="4715274" y="2480450"/>
                  <a:pt x="4715274" y="2464161"/>
                </a:cubicBezTo>
                <a:moveTo>
                  <a:pt x="4613584" y="2328371"/>
                </a:moveTo>
                <a:cubicBezTo>
                  <a:pt x="4613584" y="2311854"/>
                  <a:pt x="4600188" y="2298458"/>
                  <a:pt x="4583671" y="2298458"/>
                </a:cubicBezTo>
                <a:cubicBezTo>
                  <a:pt x="4567154" y="2298458"/>
                  <a:pt x="4553757" y="2311854"/>
                  <a:pt x="4553757" y="2328371"/>
                </a:cubicBezTo>
                <a:cubicBezTo>
                  <a:pt x="4553757" y="2344888"/>
                  <a:pt x="4567154" y="2358284"/>
                  <a:pt x="4583671" y="2358284"/>
                </a:cubicBezTo>
                <a:cubicBezTo>
                  <a:pt x="4600188" y="2358284"/>
                  <a:pt x="4613584" y="2344888"/>
                  <a:pt x="4613584" y="2328371"/>
                </a:cubicBezTo>
                <a:moveTo>
                  <a:pt x="4503902" y="2198442"/>
                </a:moveTo>
                <a:cubicBezTo>
                  <a:pt x="4503902" y="2181925"/>
                  <a:pt x="4490506" y="2168529"/>
                  <a:pt x="4473989" y="2168529"/>
                </a:cubicBezTo>
                <a:cubicBezTo>
                  <a:pt x="4457471" y="2168529"/>
                  <a:pt x="4444075" y="2181925"/>
                  <a:pt x="4444075" y="2198442"/>
                </a:cubicBezTo>
                <a:cubicBezTo>
                  <a:pt x="4444075" y="2214959"/>
                  <a:pt x="4457471" y="2228355"/>
                  <a:pt x="4473989" y="2228355"/>
                </a:cubicBezTo>
                <a:cubicBezTo>
                  <a:pt x="4490506" y="2228431"/>
                  <a:pt x="4503902" y="2214959"/>
                  <a:pt x="4503902" y="2198442"/>
                </a:cubicBezTo>
                <a:moveTo>
                  <a:pt x="4387064" y="2074906"/>
                </a:moveTo>
                <a:cubicBezTo>
                  <a:pt x="4387064" y="2058390"/>
                  <a:pt x="4373668" y="2044993"/>
                  <a:pt x="4357152" y="2044993"/>
                </a:cubicBezTo>
                <a:cubicBezTo>
                  <a:pt x="4340634" y="2044993"/>
                  <a:pt x="4327238" y="2058390"/>
                  <a:pt x="4327238" y="2074906"/>
                </a:cubicBezTo>
                <a:cubicBezTo>
                  <a:pt x="4327238" y="2091424"/>
                  <a:pt x="4340634" y="2104820"/>
                  <a:pt x="4357152" y="2104820"/>
                </a:cubicBezTo>
                <a:cubicBezTo>
                  <a:pt x="4373668" y="2104896"/>
                  <a:pt x="4387064" y="2091424"/>
                  <a:pt x="4387064" y="2074906"/>
                </a:cubicBezTo>
                <a:moveTo>
                  <a:pt x="4263529" y="1958145"/>
                </a:moveTo>
                <a:cubicBezTo>
                  <a:pt x="4263529" y="1941629"/>
                  <a:pt x="4250133" y="1928232"/>
                  <a:pt x="4233616" y="1928232"/>
                </a:cubicBezTo>
                <a:cubicBezTo>
                  <a:pt x="4217099" y="1928232"/>
                  <a:pt x="4203703" y="1941629"/>
                  <a:pt x="4203703" y="1958145"/>
                </a:cubicBezTo>
                <a:cubicBezTo>
                  <a:pt x="4203703" y="1974663"/>
                  <a:pt x="4217099" y="1988059"/>
                  <a:pt x="4233616" y="1988059"/>
                </a:cubicBezTo>
                <a:cubicBezTo>
                  <a:pt x="4250133" y="1988059"/>
                  <a:pt x="4263529" y="1974663"/>
                  <a:pt x="4263529" y="1958145"/>
                </a:cubicBezTo>
                <a:moveTo>
                  <a:pt x="4133677" y="1848463"/>
                </a:moveTo>
                <a:cubicBezTo>
                  <a:pt x="4133677" y="1831946"/>
                  <a:pt x="4120280" y="1818550"/>
                  <a:pt x="4103763" y="1818550"/>
                </a:cubicBezTo>
                <a:cubicBezTo>
                  <a:pt x="4087246" y="1818550"/>
                  <a:pt x="4073850" y="1831946"/>
                  <a:pt x="4073850" y="1848463"/>
                </a:cubicBezTo>
                <a:cubicBezTo>
                  <a:pt x="4073850" y="1864980"/>
                  <a:pt x="4087246" y="1878377"/>
                  <a:pt x="4103763" y="1878377"/>
                </a:cubicBezTo>
                <a:cubicBezTo>
                  <a:pt x="4120280" y="1878377"/>
                  <a:pt x="4133677" y="1864980"/>
                  <a:pt x="4133677" y="1848463"/>
                </a:cubicBezTo>
                <a:moveTo>
                  <a:pt x="3997278" y="1746240"/>
                </a:moveTo>
                <a:cubicBezTo>
                  <a:pt x="3997278" y="1730028"/>
                  <a:pt x="3984110" y="1716860"/>
                  <a:pt x="3967897" y="1716860"/>
                </a:cubicBezTo>
                <a:cubicBezTo>
                  <a:pt x="3951608" y="1716860"/>
                  <a:pt x="3938517" y="1730028"/>
                  <a:pt x="3938517" y="1746240"/>
                </a:cubicBezTo>
                <a:cubicBezTo>
                  <a:pt x="3938517" y="1762529"/>
                  <a:pt x="3951685" y="1775621"/>
                  <a:pt x="3967897" y="1775621"/>
                </a:cubicBezTo>
                <a:cubicBezTo>
                  <a:pt x="3984110" y="1775621"/>
                  <a:pt x="3997278" y="1762453"/>
                  <a:pt x="3997278" y="1746240"/>
                </a:cubicBezTo>
                <a:moveTo>
                  <a:pt x="3855398" y="1651781"/>
                </a:moveTo>
                <a:cubicBezTo>
                  <a:pt x="3855398" y="1635797"/>
                  <a:pt x="3842459" y="1622857"/>
                  <a:pt x="3826475" y="1622857"/>
                </a:cubicBezTo>
                <a:cubicBezTo>
                  <a:pt x="3810490" y="1622857"/>
                  <a:pt x="3797627" y="1635797"/>
                  <a:pt x="3797627" y="1651781"/>
                </a:cubicBezTo>
                <a:cubicBezTo>
                  <a:pt x="3797627" y="1667765"/>
                  <a:pt x="3810566" y="1680705"/>
                  <a:pt x="3826475" y="1680705"/>
                </a:cubicBezTo>
                <a:cubicBezTo>
                  <a:pt x="3842459" y="1680629"/>
                  <a:pt x="3855398" y="1667689"/>
                  <a:pt x="3855398" y="1651781"/>
                </a:cubicBezTo>
                <a:moveTo>
                  <a:pt x="3707887" y="1565390"/>
                </a:moveTo>
                <a:cubicBezTo>
                  <a:pt x="3707887" y="1550015"/>
                  <a:pt x="3695404" y="1537532"/>
                  <a:pt x="3680028" y="1537532"/>
                </a:cubicBezTo>
                <a:cubicBezTo>
                  <a:pt x="3664654" y="1537532"/>
                  <a:pt x="3652171" y="1550015"/>
                  <a:pt x="3652171" y="1565390"/>
                </a:cubicBezTo>
                <a:cubicBezTo>
                  <a:pt x="3652171" y="1580765"/>
                  <a:pt x="3664654" y="1593248"/>
                  <a:pt x="3680028" y="1593248"/>
                </a:cubicBezTo>
                <a:cubicBezTo>
                  <a:pt x="3695480" y="1593248"/>
                  <a:pt x="3707887" y="1580765"/>
                  <a:pt x="3707887" y="1565390"/>
                </a:cubicBezTo>
                <a:moveTo>
                  <a:pt x="3555808" y="1487372"/>
                </a:moveTo>
                <a:cubicBezTo>
                  <a:pt x="3555808" y="1472605"/>
                  <a:pt x="3543782" y="1460579"/>
                  <a:pt x="3529015" y="1460579"/>
                </a:cubicBezTo>
                <a:cubicBezTo>
                  <a:pt x="3514249" y="1460579"/>
                  <a:pt x="3502223" y="1472605"/>
                  <a:pt x="3502223" y="1487372"/>
                </a:cubicBezTo>
                <a:cubicBezTo>
                  <a:pt x="3502223" y="1502138"/>
                  <a:pt x="3514249" y="1514164"/>
                  <a:pt x="3529015" y="1514164"/>
                </a:cubicBezTo>
                <a:cubicBezTo>
                  <a:pt x="3543782" y="1514164"/>
                  <a:pt x="3555808" y="1502138"/>
                  <a:pt x="3555808" y="1487372"/>
                </a:cubicBezTo>
                <a:moveTo>
                  <a:pt x="3399619" y="1417954"/>
                </a:moveTo>
                <a:cubicBezTo>
                  <a:pt x="3399619" y="1403721"/>
                  <a:pt x="3388126" y="1392227"/>
                  <a:pt x="3373892" y="1392227"/>
                </a:cubicBezTo>
                <a:cubicBezTo>
                  <a:pt x="3359659" y="1392227"/>
                  <a:pt x="3348165" y="1403721"/>
                  <a:pt x="3348165" y="1417954"/>
                </a:cubicBezTo>
                <a:cubicBezTo>
                  <a:pt x="3348165" y="1432188"/>
                  <a:pt x="3359659" y="1443681"/>
                  <a:pt x="3373892" y="1443681"/>
                </a:cubicBezTo>
                <a:cubicBezTo>
                  <a:pt x="3388049" y="1443681"/>
                  <a:pt x="3399619" y="1432112"/>
                  <a:pt x="3399619" y="1417954"/>
                </a:cubicBezTo>
                <a:moveTo>
                  <a:pt x="3239701" y="1357290"/>
                </a:moveTo>
                <a:cubicBezTo>
                  <a:pt x="3239701" y="1343666"/>
                  <a:pt x="3228664" y="1332629"/>
                  <a:pt x="3215039" y="1332629"/>
                </a:cubicBezTo>
                <a:cubicBezTo>
                  <a:pt x="3201414" y="1332629"/>
                  <a:pt x="3190378" y="1343666"/>
                  <a:pt x="3190378" y="1357290"/>
                </a:cubicBezTo>
                <a:cubicBezTo>
                  <a:pt x="3190378" y="1370915"/>
                  <a:pt x="3201414" y="1381952"/>
                  <a:pt x="3215039" y="1381952"/>
                </a:cubicBezTo>
                <a:cubicBezTo>
                  <a:pt x="3228664" y="1381952"/>
                  <a:pt x="3239701" y="1370915"/>
                  <a:pt x="3239701" y="1357290"/>
                </a:cubicBezTo>
                <a:moveTo>
                  <a:pt x="3076662" y="1305684"/>
                </a:moveTo>
                <a:cubicBezTo>
                  <a:pt x="3076662" y="1292592"/>
                  <a:pt x="3066082" y="1282012"/>
                  <a:pt x="3052989" y="1282012"/>
                </a:cubicBezTo>
                <a:cubicBezTo>
                  <a:pt x="3039898" y="1282012"/>
                  <a:pt x="3029394" y="1292592"/>
                  <a:pt x="3029394" y="1305684"/>
                </a:cubicBezTo>
                <a:cubicBezTo>
                  <a:pt x="3029394" y="1318776"/>
                  <a:pt x="3039974" y="1329356"/>
                  <a:pt x="3052989" y="1329356"/>
                </a:cubicBezTo>
                <a:cubicBezTo>
                  <a:pt x="3066082" y="1329280"/>
                  <a:pt x="3076662" y="1318700"/>
                  <a:pt x="3076662" y="1305684"/>
                </a:cubicBezTo>
                <a:moveTo>
                  <a:pt x="2910501" y="1263212"/>
                </a:moveTo>
                <a:cubicBezTo>
                  <a:pt x="2910501" y="1251033"/>
                  <a:pt x="2900607" y="1241138"/>
                  <a:pt x="2888428" y="1241138"/>
                </a:cubicBezTo>
                <a:cubicBezTo>
                  <a:pt x="2876249" y="1241138"/>
                  <a:pt x="2866355" y="1251033"/>
                  <a:pt x="2866355" y="1263212"/>
                </a:cubicBezTo>
                <a:cubicBezTo>
                  <a:pt x="2866355" y="1275390"/>
                  <a:pt x="2876249" y="1285285"/>
                  <a:pt x="2888428" y="1285285"/>
                </a:cubicBezTo>
                <a:cubicBezTo>
                  <a:pt x="2900607" y="1285285"/>
                  <a:pt x="2910501" y="1275390"/>
                  <a:pt x="2910501" y="1263212"/>
                </a:cubicBezTo>
                <a:moveTo>
                  <a:pt x="2742210" y="1230025"/>
                </a:moveTo>
                <a:cubicBezTo>
                  <a:pt x="2742210" y="1218684"/>
                  <a:pt x="2733077" y="1209550"/>
                  <a:pt x="2721736" y="1209550"/>
                </a:cubicBezTo>
                <a:cubicBezTo>
                  <a:pt x="2710394" y="1209550"/>
                  <a:pt x="2701260" y="1218684"/>
                  <a:pt x="2701260" y="1230025"/>
                </a:cubicBezTo>
                <a:cubicBezTo>
                  <a:pt x="2701260" y="1241367"/>
                  <a:pt x="2710394" y="1250500"/>
                  <a:pt x="2721736" y="1250500"/>
                </a:cubicBezTo>
                <a:cubicBezTo>
                  <a:pt x="2733077" y="1250500"/>
                  <a:pt x="2742210" y="1241367"/>
                  <a:pt x="2742210" y="1230025"/>
                </a:cubicBezTo>
                <a:moveTo>
                  <a:pt x="2572245" y="1206277"/>
                </a:moveTo>
                <a:cubicBezTo>
                  <a:pt x="2572245" y="1195850"/>
                  <a:pt x="2563796" y="1187401"/>
                  <a:pt x="2553368" y="1187401"/>
                </a:cubicBezTo>
                <a:cubicBezTo>
                  <a:pt x="2542941" y="1187401"/>
                  <a:pt x="2534416" y="1195850"/>
                  <a:pt x="2534416" y="1206277"/>
                </a:cubicBezTo>
                <a:cubicBezTo>
                  <a:pt x="2534416" y="1216705"/>
                  <a:pt x="2542864" y="1225230"/>
                  <a:pt x="2553368" y="1225230"/>
                </a:cubicBezTo>
                <a:cubicBezTo>
                  <a:pt x="2563796" y="1225154"/>
                  <a:pt x="2572245" y="1216705"/>
                  <a:pt x="2572245" y="1206277"/>
                </a:cubicBezTo>
                <a:moveTo>
                  <a:pt x="2401289" y="1191968"/>
                </a:moveTo>
                <a:cubicBezTo>
                  <a:pt x="2401289" y="1182377"/>
                  <a:pt x="2393526" y="1174613"/>
                  <a:pt x="2383935" y="1174613"/>
                </a:cubicBezTo>
                <a:cubicBezTo>
                  <a:pt x="2374345" y="1174613"/>
                  <a:pt x="2366581" y="1182377"/>
                  <a:pt x="2366581" y="1191968"/>
                </a:cubicBezTo>
                <a:cubicBezTo>
                  <a:pt x="2366581" y="1201558"/>
                  <a:pt x="2374345" y="1209322"/>
                  <a:pt x="2383935" y="1209322"/>
                </a:cubicBezTo>
                <a:cubicBezTo>
                  <a:pt x="2393526" y="1209322"/>
                  <a:pt x="2401289" y="1201558"/>
                  <a:pt x="2401289" y="1191968"/>
                </a:cubicBezTo>
                <a:moveTo>
                  <a:pt x="2229802" y="1187172"/>
                </a:moveTo>
                <a:cubicBezTo>
                  <a:pt x="2229802" y="1178495"/>
                  <a:pt x="2222722" y="1171417"/>
                  <a:pt x="2214045" y="1171417"/>
                </a:cubicBezTo>
                <a:cubicBezTo>
                  <a:pt x="2205368" y="1171417"/>
                  <a:pt x="2198290" y="1178495"/>
                  <a:pt x="2198290" y="1187172"/>
                </a:cubicBezTo>
                <a:cubicBezTo>
                  <a:pt x="2198290" y="1195850"/>
                  <a:pt x="2205368" y="1202928"/>
                  <a:pt x="2214045" y="1202928"/>
                </a:cubicBezTo>
                <a:cubicBezTo>
                  <a:pt x="2222722" y="1202928"/>
                  <a:pt x="2229802" y="1195926"/>
                  <a:pt x="2229802" y="1187172"/>
                </a:cubicBezTo>
                <a:moveTo>
                  <a:pt x="2058237" y="1191968"/>
                </a:moveTo>
                <a:cubicBezTo>
                  <a:pt x="2058237" y="1184128"/>
                  <a:pt x="2051920" y="1177810"/>
                  <a:pt x="2044080" y="1177810"/>
                </a:cubicBezTo>
                <a:cubicBezTo>
                  <a:pt x="2036240" y="1177810"/>
                  <a:pt x="2029922" y="1184128"/>
                  <a:pt x="2029922" y="1191968"/>
                </a:cubicBezTo>
                <a:cubicBezTo>
                  <a:pt x="2029922" y="1199808"/>
                  <a:pt x="2036240" y="1206125"/>
                  <a:pt x="2044080" y="1206125"/>
                </a:cubicBezTo>
                <a:cubicBezTo>
                  <a:pt x="2051920" y="1206201"/>
                  <a:pt x="2058237" y="1199808"/>
                  <a:pt x="2058237" y="1191968"/>
                </a:cubicBezTo>
                <a:moveTo>
                  <a:pt x="1887282" y="1206277"/>
                </a:moveTo>
                <a:cubicBezTo>
                  <a:pt x="1887282" y="1199351"/>
                  <a:pt x="1881649" y="1193642"/>
                  <a:pt x="1874647" y="1193642"/>
                </a:cubicBezTo>
                <a:cubicBezTo>
                  <a:pt x="1867720" y="1193642"/>
                  <a:pt x="1862011" y="1199275"/>
                  <a:pt x="1862011" y="1206277"/>
                </a:cubicBezTo>
                <a:cubicBezTo>
                  <a:pt x="1862011" y="1213204"/>
                  <a:pt x="1867644" y="1218912"/>
                  <a:pt x="1874647" y="1218912"/>
                </a:cubicBezTo>
                <a:cubicBezTo>
                  <a:pt x="1881649" y="1218836"/>
                  <a:pt x="1887282" y="1213204"/>
                  <a:pt x="1887282" y="1206277"/>
                </a:cubicBezTo>
                <a:moveTo>
                  <a:pt x="1717392" y="1230025"/>
                </a:moveTo>
                <a:cubicBezTo>
                  <a:pt x="1717392" y="1223936"/>
                  <a:pt x="1712445" y="1218989"/>
                  <a:pt x="1706356" y="1218989"/>
                </a:cubicBezTo>
                <a:cubicBezTo>
                  <a:pt x="1700266" y="1218989"/>
                  <a:pt x="1695319" y="1223936"/>
                  <a:pt x="1695319" y="1230025"/>
                </a:cubicBezTo>
                <a:cubicBezTo>
                  <a:pt x="1695319" y="1236115"/>
                  <a:pt x="1700266" y="1241062"/>
                  <a:pt x="1706356" y="1241062"/>
                </a:cubicBezTo>
                <a:cubicBezTo>
                  <a:pt x="1712445" y="1241062"/>
                  <a:pt x="1717392" y="1236115"/>
                  <a:pt x="1717392" y="1230025"/>
                </a:cubicBezTo>
                <a:moveTo>
                  <a:pt x="1549025" y="1263212"/>
                </a:moveTo>
                <a:cubicBezTo>
                  <a:pt x="1549025" y="1257960"/>
                  <a:pt x="1544762" y="1253773"/>
                  <a:pt x="1539586" y="1253773"/>
                </a:cubicBezTo>
                <a:cubicBezTo>
                  <a:pt x="1534334" y="1253773"/>
                  <a:pt x="1530148" y="1258036"/>
                  <a:pt x="1530148" y="1263212"/>
                </a:cubicBezTo>
                <a:cubicBezTo>
                  <a:pt x="1530148" y="1268464"/>
                  <a:pt x="1534411" y="1272650"/>
                  <a:pt x="1539586" y="1272650"/>
                </a:cubicBezTo>
                <a:cubicBezTo>
                  <a:pt x="1544838" y="1272650"/>
                  <a:pt x="1549025" y="1268387"/>
                  <a:pt x="1549025" y="1263212"/>
                </a:cubicBezTo>
                <a:moveTo>
                  <a:pt x="1382865" y="1305684"/>
                </a:moveTo>
                <a:cubicBezTo>
                  <a:pt x="1382865" y="1301345"/>
                  <a:pt x="1379364" y="1297768"/>
                  <a:pt x="1375025" y="1297768"/>
                </a:cubicBezTo>
                <a:cubicBezTo>
                  <a:pt x="1370686" y="1297768"/>
                  <a:pt x="1367109" y="1301269"/>
                  <a:pt x="1367109" y="1305684"/>
                </a:cubicBezTo>
                <a:cubicBezTo>
                  <a:pt x="1367109" y="1310023"/>
                  <a:pt x="1370610" y="1313524"/>
                  <a:pt x="1375025" y="1313524"/>
                </a:cubicBezTo>
                <a:cubicBezTo>
                  <a:pt x="1379287" y="1313524"/>
                  <a:pt x="1382865" y="1310023"/>
                  <a:pt x="1382865" y="1305684"/>
                </a:cubicBezTo>
                <a:moveTo>
                  <a:pt x="1219825" y="1357290"/>
                </a:moveTo>
                <a:cubicBezTo>
                  <a:pt x="1219825" y="1353485"/>
                  <a:pt x="1216781" y="1350440"/>
                  <a:pt x="1212975" y="1350440"/>
                </a:cubicBezTo>
                <a:cubicBezTo>
                  <a:pt x="1209170" y="1350440"/>
                  <a:pt x="1206125" y="1353485"/>
                  <a:pt x="1206125" y="1357290"/>
                </a:cubicBezTo>
                <a:cubicBezTo>
                  <a:pt x="1206125" y="1361096"/>
                  <a:pt x="1209170" y="1364141"/>
                  <a:pt x="1212975" y="1364141"/>
                </a:cubicBezTo>
                <a:cubicBezTo>
                  <a:pt x="1216781" y="1364141"/>
                  <a:pt x="1219825" y="1361096"/>
                  <a:pt x="1219825" y="1357290"/>
                </a:cubicBezTo>
                <a:moveTo>
                  <a:pt x="1059907" y="1417954"/>
                </a:moveTo>
                <a:cubicBezTo>
                  <a:pt x="1059907" y="1414758"/>
                  <a:pt x="1057319" y="1412170"/>
                  <a:pt x="1054123" y="1412170"/>
                </a:cubicBezTo>
                <a:cubicBezTo>
                  <a:pt x="1050925" y="1412170"/>
                  <a:pt x="1048338" y="1414758"/>
                  <a:pt x="1048338" y="1417954"/>
                </a:cubicBezTo>
                <a:cubicBezTo>
                  <a:pt x="1048338" y="1421151"/>
                  <a:pt x="1050925" y="1423739"/>
                  <a:pt x="1054123" y="1423739"/>
                </a:cubicBezTo>
                <a:cubicBezTo>
                  <a:pt x="1057319" y="1423663"/>
                  <a:pt x="1059907" y="1421075"/>
                  <a:pt x="1059907" y="1417954"/>
                </a:cubicBezTo>
                <a:moveTo>
                  <a:pt x="903185" y="1487372"/>
                </a:moveTo>
                <a:cubicBezTo>
                  <a:pt x="903185" y="1485088"/>
                  <a:pt x="901283" y="1483185"/>
                  <a:pt x="898999" y="1483185"/>
                </a:cubicBezTo>
                <a:cubicBezTo>
                  <a:pt x="896716" y="1483185"/>
                  <a:pt x="894813" y="1485088"/>
                  <a:pt x="894813" y="1487372"/>
                </a:cubicBezTo>
                <a:cubicBezTo>
                  <a:pt x="894813" y="1489731"/>
                  <a:pt x="896716" y="1491558"/>
                  <a:pt x="898999" y="1491558"/>
                </a:cubicBezTo>
                <a:cubicBezTo>
                  <a:pt x="901283" y="1491558"/>
                  <a:pt x="903185" y="1489655"/>
                  <a:pt x="903185" y="1487372"/>
                </a:cubicBezTo>
                <a:moveTo>
                  <a:pt x="751107" y="1565390"/>
                </a:moveTo>
                <a:cubicBezTo>
                  <a:pt x="751107" y="1563639"/>
                  <a:pt x="749737" y="1562269"/>
                  <a:pt x="747986" y="1562269"/>
                </a:cubicBezTo>
                <a:cubicBezTo>
                  <a:pt x="746235" y="1562269"/>
                  <a:pt x="744865" y="1563715"/>
                  <a:pt x="744865" y="1565390"/>
                </a:cubicBezTo>
                <a:cubicBezTo>
                  <a:pt x="744865" y="1567141"/>
                  <a:pt x="746312" y="1568511"/>
                  <a:pt x="747986" y="1568511"/>
                </a:cubicBezTo>
                <a:cubicBezTo>
                  <a:pt x="749661" y="1568511"/>
                  <a:pt x="751107" y="1567141"/>
                  <a:pt x="751107" y="1565390"/>
                </a:cubicBezTo>
                <a:moveTo>
                  <a:pt x="604128" y="1651781"/>
                </a:moveTo>
                <a:cubicBezTo>
                  <a:pt x="604128" y="1650335"/>
                  <a:pt x="602910" y="1649117"/>
                  <a:pt x="601464" y="1649117"/>
                </a:cubicBezTo>
                <a:cubicBezTo>
                  <a:pt x="600018" y="1649117"/>
                  <a:pt x="598876" y="1650259"/>
                  <a:pt x="598876" y="1651781"/>
                </a:cubicBezTo>
                <a:cubicBezTo>
                  <a:pt x="598876" y="1653227"/>
                  <a:pt x="600018" y="1654369"/>
                  <a:pt x="601464" y="1654369"/>
                </a:cubicBezTo>
                <a:cubicBezTo>
                  <a:pt x="602910" y="1654369"/>
                  <a:pt x="604128" y="1653227"/>
                  <a:pt x="604128" y="1651781"/>
                </a:cubicBezTo>
                <a:moveTo>
                  <a:pt x="461716" y="1746240"/>
                </a:moveTo>
                <a:cubicBezTo>
                  <a:pt x="461716" y="1745403"/>
                  <a:pt x="461031" y="1744642"/>
                  <a:pt x="460117" y="1744642"/>
                </a:cubicBezTo>
                <a:cubicBezTo>
                  <a:pt x="459204" y="1744642"/>
                  <a:pt x="458519" y="1745327"/>
                  <a:pt x="458519" y="1746240"/>
                </a:cubicBezTo>
                <a:cubicBezTo>
                  <a:pt x="458519" y="1747077"/>
                  <a:pt x="459204" y="1747839"/>
                  <a:pt x="460117" y="1747839"/>
                </a:cubicBezTo>
                <a:cubicBezTo>
                  <a:pt x="461031" y="1747839"/>
                  <a:pt x="461716" y="1747077"/>
                  <a:pt x="461716" y="1746240"/>
                </a:cubicBezTo>
                <a:moveTo>
                  <a:pt x="325393" y="1848463"/>
                </a:moveTo>
                <a:cubicBezTo>
                  <a:pt x="325393" y="1847854"/>
                  <a:pt x="324937" y="1847398"/>
                  <a:pt x="324328" y="1847398"/>
                </a:cubicBezTo>
                <a:cubicBezTo>
                  <a:pt x="323719" y="1847398"/>
                  <a:pt x="323262" y="1847854"/>
                  <a:pt x="323262" y="1848463"/>
                </a:cubicBezTo>
                <a:cubicBezTo>
                  <a:pt x="323262" y="1849072"/>
                  <a:pt x="323719" y="1849529"/>
                  <a:pt x="324328" y="1849529"/>
                </a:cubicBezTo>
                <a:cubicBezTo>
                  <a:pt x="324937" y="1849453"/>
                  <a:pt x="325393" y="1848996"/>
                  <a:pt x="325393" y="1848463"/>
                </a:cubicBezTo>
                <a:moveTo>
                  <a:pt x="194931" y="1958145"/>
                </a:moveTo>
                <a:cubicBezTo>
                  <a:pt x="194931" y="1957841"/>
                  <a:pt x="194703" y="1957613"/>
                  <a:pt x="194399" y="1957613"/>
                </a:cubicBezTo>
                <a:cubicBezTo>
                  <a:pt x="194094" y="1957613"/>
                  <a:pt x="193866" y="1957841"/>
                  <a:pt x="193866" y="1958145"/>
                </a:cubicBezTo>
                <a:cubicBezTo>
                  <a:pt x="193866" y="1958450"/>
                  <a:pt x="194094" y="1958678"/>
                  <a:pt x="194399" y="1958678"/>
                </a:cubicBezTo>
                <a:cubicBezTo>
                  <a:pt x="194703" y="1958678"/>
                  <a:pt x="194931" y="1958450"/>
                  <a:pt x="194931" y="1958145"/>
                </a:cubicBezTo>
                <a:moveTo>
                  <a:pt x="4622795" y="6355943"/>
                </a:moveTo>
                <a:cubicBezTo>
                  <a:pt x="4622795" y="6355639"/>
                  <a:pt x="4622566" y="6355410"/>
                  <a:pt x="4622261" y="6355410"/>
                </a:cubicBezTo>
                <a:cubicBezTo>
                  <a:pt x="4621957" y="6355410"/>
                  <a:pt x="4621729" y="6355639"/>
                  <a:pt x="4621729" y="6355943"/>
                </a:cubicBezTo>
                <a:cubicBezTo>
                  <a:pt x="4621729" y="6356248"/>
                  <a:pt x="4621957" y="6356476"/>
                  <a:pt x="4622261" y="6356476"/>
                </a:cubicBezTo>
                <a:cubicBezTo>
                  <a:pt x="4622566" y="6356476"/>
                  <a:pt x="4622795" y="6356171"/>
                  <a:pt x="4622795" y="6355943"/>
                </a:cubicBezTo>
                <a:moveTo>
                  <a:pt x="4732781" y="6225862"/>
                </a:moveTo>
                <a:cubicBezTo>
                  <a:pt x="4732781" y="6225253"/>
                  <a:pt x="4732324" y="6224796"/>
                  <a:pt x="4731715" y="6224796"/>
                </a:cubicBezTo>
                <a:cubicBezTo>
                  <a:pt x="4731107" y="6224796"/>
                  <a:pt x="4730650" y="6225253"/>
                  <a:pt x="4730650" y="6225862"/>
                </a:cubicBezTo>
                <a:cubicBezTo>
                  <a:pt x="4730650" y="6226470"/>
                  <a:pt x="4731107" y="6226927"/>
                  <a:pt x="4731715" y="6226927"/>
                </a:cubicBezTo>
                <a:cubicBezTo>
                  <a:pt x="4732324" y="6226927"/>
                  <a:pt x="4732781" y="6226395"/>
                  <a:pt x="4732781" y="6225862"/>
                </a:cubicBezTo>
                <a:moveTo>
                  <a:pt x="4835765" y="6090148"/>
                </a:moveTo>
                <a:cubicBezTo>
                  <a:pt x="4835765" y="6089311"/>
                  <a:pt x="4835080" y="6088549"/>
                  <a:pt x="4834166" y="6088549"/>
                </a:cubicBezTo>
                <a:cubicBezTo>
                  <a:pt x="4833253" y="6088549"/>
                  <a:pt x="4832568" y="6089235"/>
                  <a:pt x="4832568" y="6090148"/>
                </a:cubicBezTo>
                <a:cubicBezTo>
                  <a:pt x="4832568" y="6090985"/>
                  <a:pt x="4833253" y="6091746"/>
                  <a:pt x="4834166" y="6091746"/>
                </a:cubicBezTo>
                <a:cubicBezTo>
                  <a:pt x="4835080" y="6091746"/>
                  <a:pt x="4835765" y="6091061"/>
                  <a:pt x="4835765" y="6090148"/>
                </a:cubicBezTo>
                <a:moveTo>
                  <a:pt x="4931975" y="5949258"/>
                </a:moveTo>
                <a:cubicBezTo>
                  <a:pt x="4931975" y="5947812"/>
                  <a:pt x="4930757" y="5946670"/>
                  <a:pt x="4929311" y="5946670"/>
                </a:cubicBezTo>
                <a:cubicBezTo>
                  <a:pt x="4927865" y="5946670"/>
                  <a:pt x="4926723" y="5947812"/>
                  <a:pt x="4926723" y="5949258"/>
                </a:cubicBezTo>
                <a:cubicBezTo>
                  <a:pt x="4926723" y="5950704"/>
                  <a:pt x="4927865" y="5951922"/>
                  <a:pt x="4929311" y="5951922"/>
                </a:cubicBezTo>
                <a:cubicBezTo>
                  <a:pt x="4930757" y="5951922"/>
                  <a:pt x="4931975" y="5950704"/>
                  <a:pt x="4931975" y="5949258"/>
                </a:cubicBezTo>
                <a:moveTo>
                  <a:pt x="5020573" y="5803573"/>
                </a:moveTo>
                <a:cubicBezTo>
                  <a:pt x="5020573" y="5801518"/>
                  <a:pt x="5018899" y="5799920"/>
                  <a:pt x="5016920" y="5799920"/>
                </a:cubicBezTo>
                <a:cubicBezTo>
                  <a:pt x="5014864" y="5799920"/>
                  <a:pt x="5013266" y="5801594"/>
                  <a:pt x="5013266" y="5803573"/>
                </a:cubicBezTo>
                <a:cubicBezTo>
                  <a:pt x="5013266" y="5805552"/>
                  <a:pt x="5014941" y="5807227"/>
                  <a:pt x="5016920" y="5807227"/>
                </a:cubicBezTo>
                <a:cubicBezTo>
                  <a:pt x="5018899" y="5807227"/>
                  <a:pt x="5020573" y="5805628"/>
                  <a:pt x="5020573" y="5803573"/>
                </a:cubicBezTo>
                <a:moveTo>
                  <a:pt x="5101409" y="5653474"/>
                </a:moveTo>
                <a:cubicBezTo>
                  <a:pt x="5101409" y="5650886"/>
                  <a:pt x="5099277" y="5648755"/>
                  <a:pt x="5096688" y="5648755"/>
                </a:cubicBezTo>
                <a:cubicBezTo>
                  <a:pt x="5094101" y="5648755"/>
                  <a:pt x="5091969" y="5650886"/>
                  <a:pt x="5091969" y="5653474"/>
                </a:cubicBezTo>
                <a:cubicBezTo>
                  <a:pt x="5091969" y="5656061"/>
                  <a:pt x="5094101" y="5658193"/>
                  <a:pt x="5096688" y="5658193"/>
                </a:cubicBezTo>
                <a:cubicBezTo>
                  <a:pt x="5099277" y="5658193"/>
                  <a:pt x="5101409" y="5656061"/>
                  <a:pt x="5101409" y="5653474"/>
                </a:cubicBezTo>
                <a:moveTo>
                  <a:pt x="5174174" y="5499340"/>
                </a:moveTo>
                <a:cubicBezTo>
                  <a:pt x="5174174" y="5496143"/>
                  <a:pt x="5171587" y="5493555"/>
                  <a:pt x="5168390" y="5493555"/>
                </a:cubicBezTo>
                <a:cubicBezTo>
                  <a:pt x="5165192" y="5493555"/>
                  <a:pt x="5162605" y="5496143"/>
                  <a:pt x="5162605" y="5499340"/>
                </a:cubicBezTo>
                <a:cubicBezTo>
                  <a:pt x="5162605" y="5502537"/>
                  <a:pt x="5165192" y="5505125"/>
                  <a:pt x="5168390" y="5505125"/>
                </a:cubicBezTo>
                <a:cubicBezTo>
                  <a:pt x="5171587" y="5505049"/>
                  <a:pt x="5174174" y="5502460"/>
                  <a:pt x="5174174" y="5499340"/>
                </a:cubicBezTo>
                <a:moveTo>
                  <a:pt x="5238720" y="5341629"/>
                </a:moveTo>
                <a:cubicBezTo>
                  <a:pt x="5238720" y="5337899"/>
                  <a:pt x="5235675" y="5334778"/>
                  <a:pt x="5231870" y="5334778"/>
                </a:cubicBezTo>
                <a:cubicBezTo>
                  <a:pt x="5228140" y="5334778"/>
                  <a:pt x="5225020" y="5337823"/>
                  <a:pt x="5225020" y="5341629"/>
                </a:cubicBezTo>
                <a:cubicBezTo>
                  <a:pt x="5225020" y="5345434"/>
                  <a:pt x="5228064" y="5348479"/>
                  <a:pt x="5231870" y="5348479"/>
                </a:cubicBezTo>
                <a:cubicBezTo>
                  <a:pt x="5235675" y="5348403"/>
                  <a:pt x="5238720" y="5345359"/>
                  <a:pt x="5238720" y="5341629"/>
                </a:cubicBezTo>
                <a:moveTo>
                  <a:pt x="5295427" y="5180797"/>
                </a:moveTo>
                <a:cubicBezTo>
                  <a:pt x="5295427" y="5176154"/>
                  <a:pt x="5291697" y="5172424"/>
                  <a:pt x="5287053" y="5172424"/>
                </a:cubicBezTo>
                <a:cubicBezTo>
                  <a:pt x="5282410" y="5172424"/>
                  <a:pt x="5278605" y="5176154"/>
                  <a:pt x="5278605" y="5180797"/>
                </a:cubicBezTo>
                <a:cubicBezTo>
                  <a:pt x="5278605" y="5185440"/>
                  <a:pt x="5282334" y="5189170"/>
                  <a:pt x="5287053" y="5189170"/>
                </a:cubicBezTo>
                <a:cubicBezTo>
                  <a:pt x="5291621" y="5189170"/>
                  <a:pt x="5295427" y="5185440"/>
                  <a:pt x="5295427" y="5180797"/>
                </a:cubicBezTo>
                <a:moveTo>
                  <a:pt x="5343531" y="5017225"/>
                </a:moveTo>
                <a:cubicBezTo>
                  <a:pt x="5343531" y="5011745"/>
                  <a:pt x="5339041" y="5007254"/>
                  <a:pt x="5333561" y="5007254"/>
                </a:cubicBezTo>
                <a:cubicBezTo>
                  <a:pt x="5328080" y="5007254"/>
                  <a:pt x="5323589" y="5011745"/>
                  <a:pt x="5323589" y="5017225"/>
                </a:cubicBezTo>
                <a:cubicBezTo>
                  <a:pt x="5323589" y="5022705"/>
                  <a:pt x="5328080" y="5027196"/>
                  <a:pt x="5333561" y="5027196"/>
                </a:cubicBezTo>
                <a:cubicBezTo>
                  <a:pt x="5339041" y="5027196"/>
                  <a:pt x="5343531" y="5022781"/>
                  <a:pt x="5343531" y="5017225"/>
                </a:cubicBezTo>
                <a:moveTo>
                  <a:pt x="5382883" y="4851522"/>
                </a:moveTo>
                <a:cubicBezTo>
                  <a:pt x="5382883" y="4845128"/>
                  <a:pt x="5377707" y="4839952"/>
                  <a:pt x="5371314" y="4839952"/>
                </a:cubicBezTo>
                <a:cubicBezTo>
                  <a:pt x="5364920" y="4839952"/>
                  <a:pt x="5359744" y="4845128"/>
                  <a:pt x="5359744" y="4851522"/>
                </a:cubicBezTo>
                <a:cubicBezTo>
                  <a:pt x="5359744" y="4857915"/>
                  <a:pt x="5364920" y="4863091"/>
                  <a:pt x="5371314" y="4863091"/>
                </a:cubicBezTo>
                <a:cubicBezTo>
                  <a:pt x="5377707" y="4863091"/>
                  <a:pt x="5382883" y="4857839"/>
                  <a:pt x="5382883" y="4851522"/>
                </a:cubicBezTo>
                <a:moveTo>
                  <a:pt x="5413482" y="4683992"/>
                </a:moveTo>
                <a:cubicBezTo>
                  <a:pt x="5413482" y="4676760"/>
                  <a:pt x="5407621" y="4670899"/>
                  <a:pt x="5400389" y="4670899"/>
                </a:cubicBezTo>
                <a:cubicBezTo>
                  <a:pt x="5393159" y="4670899"/>
                  <a:pt x="5387221" y="4676760"/>
                  <a:pt x="5387221" y="4683992"/>
                </a:cubicBezTo>
                <a:cubicBezTo>
                  <a:pt x="5387221" y="4691223"/>
                  <a:pt x="5393082" y="4697159"/>
                  <a:pt x="5400389" y="4697159"/>
                </a:cubicBezTo>
                <a:cubicBezTo>
                  <a:pt x="5407621" y="4697083"/>
                  <a:pt x="5413482" y="4691223"/>
                  <a:pt x="5413482" y="4683992"/>
                </a:cubicBezTo>
                <a:moveTo>
                  <a:pt x="5435251" y="4515168"/>
                </a:moveTo>
                <a:cubicBezTo>
                  <a:pt x="5435251" y="4507023"/>
                  <a:pt x="5428629" y="4500477"/>
                  <a:pt x="5420560" y="4500477"/>
                </a:cubicBezTo>
                <a:cubicBezTo>
                  <a:pt x="5412416" y="4500477"/>
                  <a:pt x="5405870" y="4507099"/>
                  <a:pt x="5405870" y="4515168"/>
                </a:cubicBezTo>
                <a:cubicBezTo>
                  <a:pt x="5405870" y="4523236"/>
                  <a:pt x="5412416" y="4529858"/>
                  <a:pt x="5420560" y="4529858"/>
                </a:cubicBezTo>
                <a:cubicBezTo>
                  <a:pt x="5428629" y="4529858"/>
                  <a:pt x="5435251" y="4523312"/>
                  <a:pt x="5435251" y="4515168"/>
                </a:cubicBezTo>
                <a:moveTo>
                  <a:pt x="5448038" y="4345506"/>
                </a:moveTo>
                <a:cubicBezTo>
                  <a:pt x="5448038" y="4336524"/>
                  <a:pt x="5440731" y="4329218"/>
                  <a:pt x="5431749" y="4329218"/>
                </a:cubicBezTo>
                <a:cubicBezTo>
                  <a:pt x="5422768" y="4329218"/>
                  <a:pt x="5415460" y="4336524"/>
                  <a:pt x="5415460" y="4345506"/>
                </a:cubicBezTo>
                <a:cubicBezTo>
                  <a:pt x="5415460" y="4354488"/>
                  <a:pt x="5422768" y="4361795"/>
                  <a:pt x="5431749" y="4361795"/>
                </a:cubicBezTo>
                <a:cubicBezTo>
                  <a:pt x="5440731" y="4361795"/>
                  <a:pt x="5448038" y="4354488"/>
                  <a:pt x="5448038" y="4345506"/>
                </a:cubicBezTo>
                <a:moveTo>
                  <a:pt x="5451843" y="4175540"/>
                </a:moveTo>
                <a:cubicBezTo>
                  <a:pt x="5451843" y="4165645"/>
                  <a:pt x="5443852" y="4157653"/>
                  <a:pt x="5433956" y="4157653"/>
                </a:cubicBezTo>
                <a:cubicBezTo>
                  <a:pt x="5424061" y="4157653"/>
                  <a:pt x="5416069" y="4165645"/>
                  <a:pt x="5416069" y="4175540"/>
                </a:cubicBezTo>
                <a:cubicBezTo>
                  <a:pt x="5416069" y="4185435"/>
                  <a:pt x="5424061" y="4193427"/>
                  <a:pt x="5433956" y="4193427"/>
                </a:cubicBezTo>
                <a:cubicBezTo>
                  <a:pt x="5443852" y="4193427"/>
                  <a:pt x="5451843" y="4185435"/>
                  <a:pt x="5451843" y="4175540"/>
                </a:cubicBezTo>
                <a:moveTo>
                  <a:pt x="5447200" y="4005651"/>
                </a:moveTo>
                <a:cubicBezTo>
                  <a:pt x="5447200" y="3994614"/>
                  <a:pt x="5438295" y="3985709"/>
                  <a:pt x="5427258" y="3985709"/>
                </a:cubicBezTo>
                <a:cubicBezTo>
                  <a:pt x="5416222" y="3985709"/>
                  <a:pt x="5407316" y="3994614"/>
                  <a:pt x="5407316" y="4005651"/>
                </a:cubicBezTo>
                <a:cubicBezTo>
                  <a:pt x="5407316" y="4016687"/>
                  <a:pt x="5416222" y="4025593"/>
                  <a:pt x="5427258" y="4025593"/>
                </a:cubicBezTo>
                <a:cubicBezTo>
                  <a:pt x="5438295" y="4025593"/>
                  <a:pt x="5447200" y="4016687"/>
                  <a:pt x="5447200" y="4005651"/>
                </a:cubicBezTo>
                <a:moveTo>
                  <a:pt x="5433119" y="3836370"/>
                </a:moveTo>
                <a:cubicBezTo>
                  <a:pt x="5433119" y="3824496"/>
                  <a:pt x="5423452" y="3814829"/>
                  <a:pt x="5411579" y="3814829"/>
                </a:cubicBezTo>
                <a:cubicBezTo>
                  <a:pt x="5399704" y="3814829"/>
                  <a:pt x="5390038" y="3824496"/>
                  <a:pt x="5390038" y="3836370"/>
                </a:cubicBezTo>
                <a:cubicBezTo>
                  <a:pt x="5390038" y="3848244"/>
                  <a:pt x="5399704" y="3857910"/>
                  <a:pt x="5411579" y="3857910"/>
                </a:cubicBezTo>
                <a:cubicBezTo>
                  <a:pt x="5423452" y="3857910"/>
                  <a:pt x="5433119" y="3848244"/>
                  <a:pt x="5433119" y="3836370"/>
                </a:cubicBezTo>
                <a:moveTo>
                  <a:pt x="5410056" y="3668155"/>
                </a:moveTo>
                <a:cubicBezTo>
                  <a:pt x="5410056" y="3655367"/>
                  <a:pt x="5399704" y="3645016"/>
                  <a:pt x="5386917" y="3645016"/>
                </a:cubicBezTo>
                <a:cubicBezTo>
                  <a:pt x="5374130" y="3645016"/>
                  <a:pt x="5363778" y="3655367"/>
                  <a:pt x="5363778" y="3668155"/>
                </a:cubicBezTo>
                <a:cubicBezTo>
                  <a:pt x="5363778" y="3680942"/>
                  <a:pt x="5374130" y="3691294"/>
                  <a:pt x="5386917" y="3691294"/>
                </a:cubicBezTo>
                <a:cubicBezTo>
                  <a:pt x="5399781" y="3691294"/>
                  <a:pt x="5410056" y="3680942"/>
                  <a:pt x="5410056" y="3668155"/>
                </a:cubicBezTo>
                <a:moveTo>
                  <a:pt x="5378240" y="3501462"/>
                </a:moveTo>
                <a:cubicBezTo>
                  <a:pt x="5378240" y="3487837"/>
                  <a:pt x="5367203" y="3476801"/>
                  <a:pt x="5353578" y="3476801"/>
                </a:cubicBezTo>
                <a:cubicBezTo>
                  <a:pt x="5339954" y="3476801"/>
                  <a:pt x="5328917" y="3487837"/>
                  <a:pt x="5328917" y="3501462"/>
                </a:cubicBezTo>
                <a:cubicBezTo>
                  <a:pt x="5328917" y="3515087"/>
                  <a:pt x="5339954" y="3526123"/>
                  <a:pt x="5353578" y="3526123"/>
                </a:cubicBezTo>
                <a:cubicBezTo>
                  <a:pt x="5367203" y="3526123"/>
                  <a:pt x="5378240" y="3515087"/>
                  <a:pt x="5378240" y="3501462"/>
                </a:cubicBezTo>
                <a:moveTo>
                  <a:pt x="5337594" y="3336748"/>
                </a:moveTo>
                <a:cubicBezTo>
                  <a:pt x="5337594" y="3322210"/>
                  <a:pt x="5325797" y="3310488"/>
                  <a:pt x="5311335" y="3310488"/>
                </a:cubicBezTo>
                <a:cubicBezTo>
                  <a:pt x="5296872" y="3310488"/>
                  <a:pt x="5285074" y="3322210"/>
                  <a:pt x="5285074" y="3336748"/>
                </a:cubicBezTo>
                <a:cubicBezTo>
                  <a:pt x="5285074" y="3351286"/>
                  <a:pt x="5296872" y="3363008"/>
                  <a:pt x="5311335" y="3363008"/>
                </a:cubicBezTo>
                <a:cubicBezTo>
                  <a:pt x="5325797" y="3363008"/>
                  <a:pt x="5337594" y="3351286"/>
                  <a:pt x="5337594" y="3336748"/>
                </a:cubicBezTo>
                <a:moveTo>
                  <a:pt x="5287815" y="3174546"/>
                </a:moveTo>
                <a:cubicBezTo>
                  <a:pt x="5287815" y="3159475"/>
                  <a:pt x="5275560" y="3147221"/>
                  <a:pt x="5260489" y="3147221"/>
                </a:cubicBezTo>
                <a:cubicBezTo>
                  <a:pt x="5245418" y="3147221"/>
                  <a:pt x="5233164" y="3159475"/>
                  <a:pt x="5233164" y="3174546"/>
                </a:cubicBezTo>
                <a:cubicBezTo>
                  <a:pt x="5233164" y="3189617"/>
                  <a:pt x="5245418" y="3201872"/>
                  <a:pt x="5260489" y="3201872"/>
                </a:cubicBezTo>
                <a:cubicBezTo>
                  <a:pt x="5275560" y="3201872"/>
                  <a:pt x="5287815" y="3189617"/>
                  <a:pt x="5287815" y="3174546"/>
                </a:cubicBezTo>
                <a:moveTo>
                  <a:pt x="5230119" y="3015237"/>
                </a:moveTo>
                <a:cubicBezTo>
                  <a:pt x="5230119" y="2999252"/>
                  <a:pt x="5217180" y="2986313"/>
                  <a:pt x="5201196" y="2986313"/>
                </a:cubicBezTo>
                <a:cubicBezTo>
                  <a:pt x="5185211" y="2986313"/>
                  <a:pt x="5172271" y="2999252"/>
                  <a:pt x="5172271" y="3015237"/>
                </a:cubicBezTo>
                <a:cubicBezTo>
                  <a:pt x="5172271" y="3031221"/>
                  <a:pt x="5185211" y="3044084"/>
                  <a:pt x="5201196" y="3044084"/>
                </a:cubicBezTo>
                <a:cubicBezTo>
                  <a:pt x="5217180" y="3044084"/>
                  <a:pt x="5230119" y="3031145"/>
                  <a:pt x="5230119" y="3015237"/>
                </a:cubicBezTo>
                <a:moveTo>
                  <a:pt x="5163518" y="2859276"/>
                </a:moveTo>
                <a:cubicBezTo>
                  <a:pt x="5163518" y="2842759"/>
                  <a:pt x="5150122" y="2829363"/>
                  <a:pt x="5133605" y="2829363"/>
                </a:cubicBezTo>
                <a:cubicBezTo>
                  <a:pt x="5117088" y="2829363"/>
                  <a:pt x="5103691" y="2842759"/>
                  <a:pt x="5103691" y="2859276"/>
                </a:cubicBezTo>
                <a:cubicBezTo>
                  <a:pt x="5103691" y="2875793"/>
                  <a:pt x="5117088" y="2889189"/>
                  <a:pt x="5133605" y="2889189"/>
                </a:cubicBezTo>
                <a:cubicBezTo>
                  <a:pt x="5150122" y="2889189"/>
                  <a:pt x="5163518" y="2875793"/>
                  <a:pt x="5163518" y="2859276"/>
                </a:cubicBezTo>
                <a:moveTo>
                  <a:pt x="5088773" y="2707045"/>
                </a:moveTo>
                <a:cubicBezTo>
                  <a:pt x="5088773" y="2689919"/>
                  <a:pt x="5074920" y="2676066"/>
                  <a:pt x="5057794" y="2676066"/>
                </a:cubicBezTo>
                <a:cubicBezTo>
                  <a:pt x="5040668" y="2676066"/>
                  <a:pt x="5026815" y="2689919"/>
                  <a:pt x="5026815" y="2707045"/>
                </a:cubicBezTo>
                <a:cubicBezTo>
                  <a:pt x="5026815" y="2724171"/>
                  <a:pt x="5040668" y="2738024"/>
                  <a:pt x="5057794" y="2738024"/>
                </a:cubicBezTo>
                <a:cubicBezTo>
                  <a:pt x="5074920" y="2738024"/>
                  <a:pt x="5088773" y="2724171"/>
                  <a:pt x="5088773" y="2707045"/>
                </a:cubicBezTo>
                <a:moveTo>
                  <a:pt x="5006112" y="2559077"/>
                </a:moveTo>
                <a:cubicBezTo>
                  <a:pt x="5006112" y="2541342"/>
                  <a:pt x="4991802" y="2527032"/>
                  <a:pt x="4974067" y="2527032"/>
                </a:cubicBezTo>
                <a:cubicBezTo>
                  <a:pt x="4956408" y="2527032"/>
                  <a:pt x="4942022" y="2541342"/>
                  <a:pt x="4942022" y="2559077"/>
                </a:cubicBezTo>
                <a:cubicBezTo>
                  <a:pt x="4942022" y="2576736"/>
                  <a:pt x="4956332" y="2591121"/>
                  <a:pt x="4974067" y="2591121"/>
                </a:cubicBezTo>
                <a:cubicBezTo>
                  <a:pt x="4991802" y="2591121"/>
                  <a:pt x="5006112" y="2576812"/>
                  <a:pt x="5006112" y="2559077"/>
                </a:cubicBezTo>
                <a:moveTo>
                  <a:pt x="4915230" y="2415752"/>
                </a:moveTo>
                <a:cubicBezTo>
                  <a:pt x="4915230" y="2397788"/>
                  <a:pt x="4900616" y="2383174"/>
                  <a:pt x="4882652" y="2383174"/>
                </a:cubicBezTo>
                <a:cubicBezTo>
                  <a:pt x="4864689" y="2383174"/>
                  <a:pt x="4850075" y="2397712"/>
                  <a:pt x="4850075" y="2415752"/>
                </a:cubicBezTo>
                <a:cubicBezTo>
                  <a:pt x="4850075" y="2433715"/>
                  <a:pt x="4864689" y="2448329"/>
                  <a:pt x="4882652" y="2448329"/>
                </a:cubicBezTo>
                <a:cubicBezTo>
                  <a:pt x="4900691" y="2448329"/>
                  <a:pt x="4915230" y="2433715"/>
                  <a:pt x="4915230" y="2415752"/>
                </a:cubicBezTo>
                <a:moveTo>
                  <a:pt x="4816964" y="2277374"/>
                </a:moveTo>
                <a:cubicBezTo>
                  <a:pt x="4816964" y="2259106"/>
                  <a:pt x="4802122" y="2244263"/>
                  <a:pt x="4783854" y="2244263"/>
                </a:cubicBezTo>
                <a:cubicBezTo>
                  <a:pt x="4765586" y="2244263"/>
                  <a:pt x="4750744" y="2259106"/>
                  <a:pt x="4750744" y="2277374"/>
                </a:cubicBezTo>
                <a:cubicBezTo>
                  <a:pt x="4750744" y="2295641"/>
                  <a:pt x="4765586" y="2310484"/>
                  <a:pt x="4783854" y="2310484"/>
                </a:cubicBezTo>
                <a:cubicBezTo>
                  <a:pt x="4802122" y="2310484"/>
                  <a:pt x="4816964" y="2295717"/>
                  <a:pt x="4816964" y="2277374"/>
                </a:cubicBezTo>
                <a:moveTo>
                  <a:pt x="4711468" y="2144476"/>
                </a:moveTo>
                <a:cubicBezTo>
                  <a:pt x="4711468" y="2125904"/>
                  <a:pt x="4696398" y="2110833"/>
                  <a:pt x="4677826" y="2110833"/>
                </a:cubicBezTo>
                <a:cubicBezTo>
                  <a:pt x="4659253" y="2110833"/>
                  <a:pt x="4644183" y="2125904"/>
                  <a:pt x="4644183" y="2144476"/>
                </a:cubicBezTo>
                <a:cubicBezTo>
                  <a:pt x="4644183" y="2163048"/>
                  <a:pt x="4659253" y="2178119"/>
                  <a:pt x="4677826" y="2178119"/>
                </a:cubicBezTo>
                <a:cubicBezTo>
                  <a:pt x="4696398" y="2178119"/>
                  <a:pt x="4711468" y="2163048"/>
                  <a:pt x="4711468" y="2144476"/>
                </a:cubicBezTo>
                <a:moveTo>
                  <a:pt x="4599122" y="2017363"/>
                </a:moveTo>
                <a:cubicBezTo>
                  <a:pt x="4599122" y="1998487"/>
                  <a:pt x="4583824" y="1983264"/>
                  <a:pt x="4564946" y="1983264"/>
                </a:cubicBezTo>
                <a:cubicBezTo>
                  <a:pt x="4546070" y="1983264"/>
                  <a:pt x="4530770" y="1998563"/>
                  <a:pt x="4530770" y="2017363"/>
                </a:cubicBezTo>
                <a:cubicBezTo>
                  <a:pt x="4530770" y="2036240"/>
                  <a:pt x="4546070" y="2051539"/>
                  <a:pt x="4564946" y="2051539"/>
                </a:cubicBezTo>
                <a:cubicBezTo>
                  <a:pt x="4583824" y="2051463"/>
                  <a:pt x="4599122" y="2036164"/>
                  <a:pt x="4599122" y="2017363"/>
                </a:cubicBezTo>
                <a:moveTo>
                  <a:pt x="4479697" y="1896340"/>
                </a:moveTo>
                <a:cubicBezTo>
                  <a:pt x="4479697" y="1877463"/>
                  <a:pt x="4464398" y="1862164"/>
                  <a:pt x="4445522" y="1862164"/>
                </a:cubicBezTo>
                <a:cubicBezTo>
                  <a:pt x="4426645" y="1862164"/>
                  <a:pt x="4411346" y="1877463"/>
                  <a:pt x="4411346" y="1896340"/>
                </a:cubicBezTo>
                <a:cubicBezTo>
                  <a:pt x="4411346" y="1915216"/>
                  <a:pt x="4426645" y="1930516"/>
                  <a:pt x="4445522" y="1930516"/>
                </a:cubicBezTo>
                <a:cubicBezTo>
                  <a:pt x="4464398" y="1930516"/>
                  <a:pt x="4479697" y="1915216"/>
                  <a:pt x="4479697" y="1896340"/>
                </a:cubicBezTo>
                <a:moveTo>
                  <a:pt x="4353498" y="1781786"/>
                </a:moveTo>
                <a:cubicBezTo>
                  <a:pt x="4353498" y="1763214"/>
                  <a:pt x="4338427" y="1748143"/>
                  <a:pt x="4319855" y="1748143"/>
                </a:cubicBezTo>
                <a:cubicBezTo>
                  <a:pt x="4301282" y="1748143"/>
                  <a:pt x="4286212" y="1763214"/>
                  <a:pt x="4286212" y="1781786"/>
                </a:cubicBezTo>
                <a:cubicBezTo>
                  <a:pt x="4286212" y="1800358"/>
                  <a:pt x="4301282" y="1815429"/>
                  <a:pt x="4319855" y="1815429"/>
                </a:cubicBezTo>
                <a:cubicBezTo>
                  <a:pt x="4338503" y="1815429"/>
                  <a:pt x="4353498" y="1800358"/>
                  <a:pt x="4353498" y="1781786"/>
                </a:cubicBezTo>
                <a:moveTo>
                  <a:pt x="4222047" y="1674083"/>
                </a:moveTo>
                <a:cubicBezTo>
                  <a:pt x="4222047" y="1655511"/>
                  <a:pt x="4206976" y="1640440"/>
                  <a:pt x="4188403" y="1640440"/>
                </a:cubicBezTo>
                <a:cubicBezTo>
                  <a:pt x="4169832" y="1640440"/>
                  <a:pt x="4154760" y="1655511"/>
                  <a:pt x="4154760" y="1674083"/>
                </a:cubicBezTo>
                <a:cubicBezTo>
                  <a:pt x="4154760" y="1692655"/>
                  <a:pt x="4169832" y="1707726"/>
                  <a:pt x="4188403" y="1707726"/>
                </a:cubicBezTo>
                <a:cubicBezTo>
                  <a:pt x="4206976" y="1707726"/>
                  <a:pt x="4222047" y="1692655"/>
                  <a:pt x="4222047" y="1674083"/>
                </a:cubicBezTo>
                <a:moveTo>
                  <a:pt x="4084506" y="1573382"/>
                </a:moveTo>
                <a:cubicBezTo>
                  <a:pt x="4084506" y="1555114"/>
                  <a:pt x="4069663" y="1540272"/>
                  <a:pt x="4051396" y="1540272"/>
                </a:cubicBezTo>
                <a:cubicBezTo>
                  <a:pt x="4033128" y="1540272"/>
                  <a:pt x="4018286" y="1555114"/>
                  <a:pt x="4018286" y="1573382"/>
                </a:cubicBezTo>
                <a:cubicBezTo>
                  <a:pt x="4018286" y="1591650"/>
                  <a:pt x="4033128" y="1606492"/>
                  <a:pt x="4051396" y="1606492"/>
                </a:cubicBezTo>
                <a:cubicBezTo>
                  <a:pt x="4069663" y="1606492"/>
                  <a:pt x="4084506" y="1591650"/>
                  <a:pt x="4084506" y="1573382"/>
                </a:cubicBezTo>
                <a:moveTo>
                  <a:pt x="3941333" y="1480141"/>
                </a:moveTo>
                <a:cubicBezTo>
                  <a:pt x="3941333" y="1462482"/>
                  <a:pt x="3927023" y="1448096"/>
                  <a:pt x="3909288" y="1448096"/>
                </a:cubicBezTo>
                <a:cubicBezTo>
                  <a:pt x="3891553" y="1448096"/>
                  <a:pt x="3877243" y="1462406"/>
                  <a:pt x="3877243" y="1480141"/>
                </a:cubicBezTo>
                <a:cubicBezTo>
                  <a:pt x="3877243" y="1497876"/>
                  <a:pt x="3891553" y="1512185"/>
                  <a:pt x="3909288" y="1512185"/>
                </a:cubicBezTo>
                <a:cubicBezTo>
                  <a:pt x="3926947" y="1512185"/>
                  <a:pt x="3941333" y="1497799"/>
                  <a:pt x="3941333" y="1480141"/>
                </a:cubicBezTo>
                <a:moveTo>
                  <a:pt x="3793364" y="1394511"/>
                </a:moveTo>
                <a:cubicBezTo>
                  <a:pt x="3793364" y="1377385"/>
                  <a:pt x="3779511" y="1363532"/>
                  <a:pt x="3762385" y="1363532"/>
                </a:cubicBezTo>
                <a:cubicBezTo>
                  <a:pt x="3745260" y="1363532"/>
                  <a:pt x="3731406" y="1377385"/>
                  <a:pt x="3731406" y="1394511"/>
                </a:cubicBezTo>
                <a:cubicBezTo>
                  <a:pt x="3731406" y="1411637"/>
                  <a:pt x="3745260" y="1425490"/>
                  <a:pt x="3762385" y="1425490"/>
                </a:cubicBezTo>
                <a:cubicBezTo>
                  <a:pt x="3779511" y="1425490"/>
                  <a:pt x="3793364" y="1411561"/>
                  <a:pt x="3793364" y="1394511"/>
                </a:cubicBezTo>
                <a:moveTo>
                  <a:pt x="3641209" y="1316721"/>
                </a:moveTo>
                <a:cubicBezTo>
                  <a:pt x="3641209" y="1300204"/>
                  <a:pt x="3627813" y="1286808"/>
                  <a:pt x="3611297" y="1286808"/>
                </a:cubicBezTo>
                <a:cubicBezTo>
                  <a:pt x="3594779" y="1286808"/>
                  <a:pt x="3581383" y="1300204"/>
                  <a:pt x="3581383" y="1316721"/>
                </a:cubicBezTo>
                <a:cubicBezTo>
                  <a:pt x="3581383" y="1333238"/>
                  <a:pt x="3594779" y="1346634"/>
                  <a:pt x="3611297" y="1346634"/>
                </a:cubicBezTo>
                <a:cubicBezTo>
                  <a:pt x="3627737" y="1346634"/>
                  <a:pt x="3641209" y="1333238"/>
                  <a:pt x="3641209" y="1316721"/>
                </a:cubicBezTo>
                <a:moveTo>
                  <a:pt x="3485020" y="1246999"/>
                </a:moveTo>
                <a:cubicBezTo>
                  <a:pt x="3485020" y="1231015"/>
                  <a:pt x="3472081" y="1218075"/>
                  <a:pt x="3456097" y="1218075"/>
                </a:cubicBezTo>
                <a:cubicBezTo>
                  <a:pt x="3440113" y="1218075"/>
                  <a:pt x="3427173" y="1231015"/>
                  <a:pt x="3427173" y="1246999"/>
                </a:cubicBezTo>
                <a:cubicBezTo>
                  <a:pt x="3427173" y="1262983"/>
                  <a:pt x="3440113" y="1275923"/>
                  <a:pt x="3456097" y="1275923"/>
                </a:cubicBezTo>
                <a:cubicBezTo>
                  <a:pt x="3472081" y="1275923"/>
                  <a:pt x="3485020" y="1262983"/>
                  <a:pt x="3485020" y="1246999"/>
                </a:cubicBezTo>
                <a:moveTo>
                  <a:pt x="3325483" y="1185574"/>
                </a:moveTo>
                <a:cubicBezTo>
                  <a:pt x="3325483" y="1170199"/>
                  <a:pt x="3313000" y="1157716"/>
                  <a:pt x="3297624" y="1157716"/>
                </a:cubicBezTo>
                <a:cubicBezTo>
                  <a:pt x="3282250" y="1157716"/>
                  <a:pt x="3269767" y="1170199"/>
                  <a:pt x="3269767" y="1185574"/>
                </a:cubicBezTo>
                <a:cubicBezTo>
                  <a:pt x="3269767" y="1200949"/>
                  <a:pt x="3282250" y="1213432"/>
                  <a:pt x="3297624" y="1213432"/>
                </a:cubicBezTo>
                <a:cubicBezTo>
                  <a:pt x="3313000" y="1213432"/>
                  <a:pt x="3325483" y="1200949"/>
                  <a:pt x="3325483" y="1185574"/>
                </a:cubicBezTo>
                <a:moveTo>
                  <a:pt x="3162900" y="1132598"/>
                </a:moveTo>
                <a:cubicBezTo>
                  <a:pt x="3162900" y="1117831"/>
                  <a:pt x="3150874" y="1105805"/>
                  <a:pt x="3136108" y="1105805"/>
                </a:cubicBezTo>
                <a:cubicBezTo>
                  <a:pt x="3121342" y="1105805"/>
                  <a:pt x="3109315" y="1117831"/>
                  <a:pt x="3109315" y="1132598"/>
                </a:cubicBezTo>
                <a:cubicBezTo>
                  <a:pt x="3109315" y="1147364"/>
                  <a:pt x="3121342" y="1159390"/>
                  <a:pt x="3136108" y="1159390"/>
                </a:cubicBezTo>
                <a:cubicBezTo>
                  <a:pt x="3150874" y="1159390"/>
                  <a:pt x="3162900" y="1147440"/>
                  <a:pt x="3162900" y="1132598"/>
                </a:cubicBezTo>
                <a:moveTo>
                  <a:pt x="2997197" y="1088222"/>
                </a:moveTo>
                <a:cubicBezTo>
                  <a:pt x="2997197" y="1074293"/>
                  <a:pt x="2985932" y="1063028"/>
                  <a:pt x="2972003" y="1063028"/>
                </a:cubicBezTo>
                <a:cubicBezTo>
                  <a:pt x="2958073" y="1063028"/>
                  <a:pt x="2946809" y="1074293"/>
                  <a:pt x="2946809" y="1088222"/>
                </a:cubicBezTo>
                <a:cubicBezTo>
                  <a:pt x="2946809" y="1102151"/>
                  <a:pt x="2958073" y="1113416"/>
                  <a:pt x="2972003" y="1113416"/>
                </a:cubicBezTo>
                <a:cubicBezTo>
                  <a:pt x="2985856" y="1113493"/>
                  <a:pt x="2997197" y="1102151"/>
                  <a:pt x="2997197" y="1088222"/>
                </a:cubicBezTo>
                <a:moveTo>
                  <a:pt x="2829363" y="1052600"/>
                </a:moveTo>
                <a:cubicBezTo>
                  <a:pt x="2829363" y="1039508"/>
                  <a:pt x="2818783" y="1028928"/>
                  <a:pt x="2805690" y="1028928"/>
                </a:cubicBezTo>
                <a:cubicBezTo>
                  <a:pt x="2792599" y="1028928"/>
                  <a:pt x="2782018" y="1039508"/>
                  <a:pt x="2782018" y="1052600"/>
                </a:cubicBezTo>
                <a:cubicBezTo>
                  <a:pt x="2782018" y="1065692"/>
                  <a:pt x="2792599" y="1076272"/>
                  <a:pt x="2805690" y="1076272"/>
                </a:cubicBezTo>
                <a:cubicBezTo>
                  <a:pt x="2818783" y="1076272"/>
                  <a:pt x="2829363" y="1065692"/>
                  <a:pt x="2829363" y="1052600"/>
                </a:cubicBezTo>
                <a:moveTo>
                  <a:pt x="2659930" y="1025808"/>
                </a:moveTo>
                <a:cubicBezTo>
                  <a:pt x="2659930" y="1013629"/>
                  <a:pt x="2650035" y="1003734"/>
                  <a:pt x="2637856" y="1003734"/>
                </a:cubicBezTo>
                <a:cubicBezTo>
                  <a:pt x="2625678" y="1003734"/>
                  <a:pt x="2615783" y="1013629"/>
                  <a:pt x="2615783" y="1025808"/>
                </a:cubicBezTo>
                <a:cubicBezTo>
                  <a:pt x="2615783" y="1037986"/>
                  <a:pt x="2625678" y="1047881"/>
                  <a:pt x="2637856" y="1047881"/>
                </a:cubicBezTo>
                <a:cubicBezTo>
                  <a:pt x="2650035" y="1047881"/>
                  <a:pt x="2659930" y="1037986"/>
                  <a:pt x="2659930" y="1025808"/>
                </a:cubicBezTo>
                <a:moveTo>
                  <a:pt x="2489279" y="1007844"/>
                </a:moveTo>
                <a:cubicBezTo>
                  <a:pt x="2489279" y="996503"/>
                  <a:pt x="2480145" y="987369"/>
                  <a:pt x="2468803" y="987369"/>
                </a:cubicBezTo>
                <a:cubicBezTo>
                  <a:pt x="2457462" y="987369"/>
                  <a:pt x="2448329" y="996503"/>
                  <a:pt x="2448329" y="1007844"/>
                </a:cubicBezTo>
                <a:cubicBezTo>
                  <a:pt x="2448329" y="1019186"/>
                  <a:pt x="2457462" y="1028319"/>
                  <a:pt x="2468803" y="1028319"/>
                </a:cubicBezTo>
                <a:cubicBezTo>
                  <a:pt x="2480069" y="1028396"/>
                  <a:pt x="2489279" y="1019186"/>
                  <a:pt x="2489279" y="1007844"/>
                </a:cubicBezTo>
                <a:moveTo>
                  <a:pt x="2317411" y="998939"/>
                </a:moveTo>
                <a:cubicBezTo>
                  <a:pt x="2317411" y="988816"/>
                  <a:pt x="2309189" y="980519"/>
                  <a:pt x="2298990" y="980519"/>
                </a:cubicBezTo>
                <a:cubicBezTo>
                  <a:pt x="2288867" y="980519"/>
                  <a:pt x="2280646" y="988739"/>
                  <a:pt x="2280646" y="998939"/>
                </a:cubicBezTo>
                <a:cubicBezTo>
                  <a:pt x="2280646" y="1009062"/>
                  <a:pt x="2288867" y="1017359"/>
                  <a:pt x="2298990" y="1017359"/>
                </a:cubicBezTo>
                <a:cubicBezTo>
                  <a:pt x="2309189" y="1017283"/>
                  <a:pt x="2317411" y="1009062"/>
                  <a:pt x="2317411" y="998939"/>
                </a:cubicBezTo>
                <a:moveTo>
                  <a:pt x="2145846" y="998939"/>
                </a:moveTo>
                <a:cubicBezTo>
                  <a:pt x="2145846" y="989653"/>
                  <a:pt x="2138311" y="982117"/>
                  <a:pt x="2129025" y="982117"/>
                </a:cubicBezTo>
                <a:cubicBezTo>
                  <a:pt x="2119738" y="982117"/>
                  <a:pt x="2112203" y="989653"/>
                  <a:pt x="2112203" y="998939"/>
                </a:cubicBezTo>
                <a:cubicBezTo>
                  <a:pt x="2112203" y="1008225"/>
                  <a:pt x="2119738" y="1015760"/>
                  <a:pt x="2129025" y="1015760"/>
                </a:cubicBezTo>
                <a:cubicBezTo>
                  <a:pt x="2138311" y="1015760"/>
                  <a:pt x="2145846" y="1008149"/>
                  <a:pt x="2145846" y="998939"/>
                </a:cubicBezTo>
                <a:moveTo>
                  <a:pt x="1974434" y="1007844"/>
                </a:moveTo>
                <a:cubicBezTo>
                  <a:pt x="1974434" y="999396"/>
                  <a:pt x="1967584" y="992621"/>
                  <a:pt x="1959211" y="992621"/>
                </a:cubicBezTo>
                <a:cubicBezTo>
                  <a:pt x="1950762" y="992621"/>
                  <a:pt x="1943988" y="999472"/>
                  <a:pt x="1943988" y="1007844"/>
                </a:cubicBezTo>
                <a:cubicBezTo>
                  <a:pt x="1943988" y="1016293"/>
                  <a:pt x="1950838" y="1023067"/>
                  <a:pt x="1959211" y="1023067"/>
                </a:cubicBezTo>
                <a:cubicBezTo>
                  <a:pt x="1967660" y="1023144"/>
                  <a:pt x="1974434" y="1016293"/>
                  <a:pt x="1974434" y="1007844"/>
                </a:cubicBezTo>
                <a:moveTo>
                  <a:pt x="1803859" y="1025808"/>
                </a:moveTo>
                <a:cubicBezTo>
                  <a:pt x="1803859" y="1018272"/>
                  <a:pt x="1797770" y="1012107"/>
                  <a:pt x="1790234" y="1012107"/>
                </a:cubicBezTo>
                <a:cubicBezTo>
                  <a:pt x="1782699" y="1012107"/>
                  <a:pt x="1776610" y="1018196"/>
                  <a:pt x="1776610" y="1025808"/>
                </a:cubicBezTo>
                <a:cubicBezTo>
                  <a:pt x="1776610" y="1033343"/>
                  <a:pt x="1782699" y="1039432"/>
                  <a:pt x="1790234" y="1039432"/>
                </a:cubicBezTo>
                <a:cubicBezTo>
                  <a:pt x="1797694" y="1039432"/>
                  <a:pt x="1803859" y="1033343"/>
                  <a:pt x="1803859" y="1025808"/>
                </a:cubicBezTo>
                <a:moveTo>
                  <a:pt x="1633817" y="1052600"/>
                </a:moveTo>
                <a:cubicBezTo>
                  <a:pt x="1633817" y="1046207"/>
                  <a:pt x="1628642" y="1041031"/>
                  <a:pt x="1622248" y="1041031"/>
                </a:cubicBezTo>
                <a:cubicBezTo>
                  <a:pt x="1615854" y="1041031"/>
                  <a:pt x="1610678" y="1046207"/>
                  <a:pt x="1610678" y="1052600"/>
                </a:cubicBezTo>
                <a:cubicBezTo>
                  <a:pt x="1610678" y="1058994"/>
                  <a:pt x="1615854" y="1064170"/>
                  <a:pt x="1622248" y="1064170"/>
                </a:cubicBezTo>
                <a:cubicBezTo>
                  <a:pt x="1628642" y="1064170"/>
                  <a:pt x="1633817" y="1058994"/>
                  <a:pt x="1633817" y="1052600"/>
                </a:cubicBezTo>
                <a:moveTo>
                  <a:pt x="1466059" y="1088222"/>
                </a:moveTo>
                <a:cubicBezTo>
                  <a:pt x="1466059" y="1082742"/>
                  <a:pt x="1461568" y="1078251"/>
                  <a:pt x="1456088" y="1078251"/>
                </a:cubicBezTo>
                <a:cubicBezTo>
                  <a:pt x="1450607" y="1078251"/>
                  <a:pt x="1446117" y="1082742"/>
                  <a:pt x="1446117" y="1088222"/>
                </a:cubicBezTo>
                <a:cubicBezTo>
                  <a:pt x="1446117" y="1093703"/>
                  <a:pt x="1450607" y="1098193"/>
                  <a:pt x="1456088" y="1098193"/>
                </a:cubicBezTo>
                <a:cubicBezTo>
                  <a:pt x="1461568" y="1098270"/>
                  <a:pt x="1466059" y="1093779"/>
                  <a:pt x="1466059" y="1088222"/>
                </a:cubicBezTo>
                <a:moveTo>
                  <a:pt x="1300356" y="1132598"/>
                </a:moveTo>
                <a:cubicBezTo>
                  <a:pt x="1300356" y="1127955"/>
                  <a:pt x="1296626" y="1124225"/>
                  <a:pt x="1291983" y="1124225"/>
                </a:cubicBezTo>
                <a:cubicBezTo>
                  <a:pt x="1287340" y="1124225"/>
                  <a:pt x="1283610" y="1128031"/>
                  <a:pt x="1283610" y="1132598"/>
                </a:cubicBezTo>
                <a:cubicBezTo>
                  <a:pt x="1283610" y="1137241"/>
                  <a:pt x="1287340" y="1140970"/>
                  <a:pt x="1291983" y="1140970"/>
                </a:cubicBezTo>
                <a:cubicBezTo>
                  <a:pt x="1296550" y="1141046"/>
                  <a:pt x="1300356" y="1137241"/>
                  <a:pt x="1300356" y="1132598"/>
                </a:cubicBezTo>
                <a:moveTo>
                  <a:pt x="1137773" y="1185574"/>
                </a:moveTo>
                <a:cubicBezTo>
                  <a:pt x="1137773" y="1181540"/>
                  <a:pt x="1134500" y="1178191"/>
                  <a:pt x="1130390" y="1178191"/>
                </a:cubicBezTo>
                <a:cubicBezTo>
                  <a:pt x="1126356" y="1178191"/>
                  <a:pt x="1123007" y="1181464"/>
                  <a:pt x="1123007" y="1185574"/>
                </a:cubicBezTo>
                <a:cubicBezTo>
                  <a:pt x="1123007" y="1189608"/>
                  <a:pt x="1126280" y="1192957"/>
                  <a:pt x="1130390" y="1192957"/>
                </a:cubicBezTo>
                <a:cubicBezTo>
                  <a:pt x="1134424" y="1192957"/>
                  <a:pt x="1137773" y="1189608"/>
                  <a:pt x="1137773" y="1185574"/>
                </a:cubicBezTo>
                <a:moveTo>
                  <a:pt x="977627" y="1246999"/>
                </a:moveTo>
                <a:cubicBezTo>
                  <a:pt x="977627" y="1243802"/>
                  <a:pt x="975038" y="1241214"/>
                  <a:pt x="971842" y="1241214"/>
                </a:cubicBezTo>
                <a:cubicBezTo>
                  <a:pt x="968645" y="1241214"/>
                  <a:pt x="966057" y="1243802"/>
                  <a:pt x="966057" y="1246999"/>
                </a:cubicBezTo>
                <a:cubicBezTo>
                  <a:pt x="966057" y="1250196"/>
                  <a:pt x="968645" y="1252784"/>
                  <a:pt x="971842" y="1252784"/>
                </a:cubicBezTo>
                <a:cubicBezTo>
                  <a:pt x="975038" y="1252784"/>
                  <a:pt x="977627" y="1250196"/>
                  <a:pt x="977627" y="1246999"/>
                </a:cubicBezTo>
                <a:moveTo>
                  <a:pt x="821514" y="1316721"/>
                </a:moveTo>
                <a:cubicBezTo>
                  <a:pt x="821514" y="1314133"/>
                  <a:pt x="819382" y="1312002"/>
                  <a:pt x="816795" y="1312002"/>
                </a:cubicBezTo>
                <a:cubicBezTo>
                  <a:pt x="814207" y="1312002"/>
                  <a:pt x="812076" y="1314133"/>
                  <a:pt x="812076" y="1316721"/>
                </a:cubicBezTo>
                <a:cubicBezTo>
                  <a:pt x="812076" y="1319309"/>
                  <a:pt x="814207" y="1321440"/>
                  <a:pt x="816795" y="1321440"/>
                </a:cubicBezTo>
                <a:cubicBezTo>
                  <a:pt x="819382" y="1321440"/>
                  <a:pt x="821514" y="1319309"/>
                  <a:pt x="821514" y="1316721"/>
                </a:cubicBezTo>
                <a:moveTo>
                  <a:pt x="669283" y="1394511"/>
                </a:moveTo>
                <a:cubicBezTo>
                  <a:pt x="669283" y="1392456"/>
                  <a:pt x="667608" y="1390857"/>
                  <a:pt x="665629" y="1390857"/>
                </a:cubicBezTo>
                <a:cubicBezTo>
                  <a:pt x="663574" y="1390857"/>
                  <a:pt x="661976" y="1392532"/>
                  <a:pt x="661976" y="1394511"/>
                </a:cubicBezTo>
                <a:cubicBezTo>
                  <a:pt x="661976" y="1396566"/>
                  <a:pt x="663650" y="1398164"/>
                  <a:pt x="665629" y="1398164"/>
                </a:cubicBezTo>
                <a:cubicBezTo>
                  <a:pt x="667684" y="1398164"/>
                  <a:pt x="669283" y="1396490"/>
                  <a:pt x="669283" y="1394511"/>
                </a:cubicBezTo>
                <a:moveTo>
                  <a:pt x="521391" y="1480141"/>
                </a:moveTo>
                <a:cubicBezTo>
                  <a:pt x="521391" y="1478694"/>
                  <a:pt x="520249" y="1477553"/>
                  <a:pt x="518803" y="1477553"/>
                </a:cubicBezTo>
                <a:cubicBezTo>
                  <a:pt x="517356" y="1477553"/>
                  <a:pt x="516139" y="1478694"/>
                  <a:pt x="516139" y="1480141"/>
                </a:cubicBezTo>
                <a:cubicBezTo>
                  <a:pt x="516139" y="1481587"/>
                  <a:pt x="517280" y="1482805"/>
                  <a:pt x="518803" y="1482805"/>
                </a:cubicBezTo>
                <a:cubicBezTo>
                  <a:pt x="520249" y="1482729"/>
                  <a:pt x="521391" y="1481587"/>
                  <a:pt x="521391" y="1480141"/>
                </a:cubicBezTo>
                <a:moveTo>
                  <a:pt x="378750" y="1573382"/>
                </a:moveTo>
                <a:cubicBezTo>
                  <a:pt x="378750" y="1572240"/>
                  <a:pt x="377837" y="1571251"/>
                  <a:pt x="376619" y="1571251"/>
                </a:cubicBezTo>
                <a:cubicBezTo>
                  <a:pt x="375401" y="1571251"/>
                  <a:pt x="374488" y="1572164"/>
                  <a:pt x="374488" y="1573382"/>
                </a:cubicBezTo>
                <a:cubicBezTo>
                  <a:pt x="374488" y="1574524"/>
                  <a:pt x="375401" y="1575513"/>
                  <a:pt x="376619" y="1575513"/>
                </a:cubicBezTo>
                <a:cubicBezTo>
                  <a:pt x="377837" y="1575513"/>
                  <a:pt x="378750" y="1574600"/>
                  <a:pt x="378750" y="1573382"/>
                </a:cubicBezTo>
                <a:moveTo>
                  <a:pt x="240677" y="1674083"/>
                </a:moveTo>
                <a:cubicBezTo>
                  <a:pt x="240677" y="1673474"/>
                  <a:pt x="240220" y="1673017"/>
                  <a:pt x="239611" y="1673017"/>
                </a:cubicBezTo>
                <a:cubicBezTo>
                  <a:pt x="239002" y="1673017"/>
                  <a:pt x="238545" y="1673474"/>
                  <a:pt x="238545" y="1674083"/>
                </a:cubicBezTo>
                <a:cubicBezTo>
                  <a:pt x="238545" y="1674692"/>
                  <a:pt x="239002" y="1675148"/>
                  <a:pt x="239611" y="1675148"/>
                </a:cubicBezTo>
                <a:cubicBezTo>
                  <a:pt x="240220" y="1675148"/>
                  <a:pt x="240677" y="1674616"/>
                  <a:pt x="240677" y="1674083"/>
                </a:cubicBezTo>
                <a:moveTo>
                  <a:pt x="4880901" y="6343916"/>
                </a:moveTo>
                <a:cubicBezTo>
                  <a:pt x="4880901" y="6343308"/>
                  <a:pt x="4880445" y="6342851"/>
                  <a:pt x="4879836" y="6342851"/>
                </a:cubicBezTo>
                <a:cubicBezTo>
                  <a:pt x="4879227" y="6342851"/>
                  <a:pt x="4878771" y="6343308"/>
                  <a:pt x="4878771" y="6343916"/>
                </a:cubicBezTo>
                <a:cubicBezTo>
                  <a:pt x="4878771" y="6344525"/>
                  <a:pt x="4879227" y="6344982"/>
                  <a:pt x="4879836" y="6344982"/>
                </a:cubicBezTo>
                <a:cubicBezTo>
                  <a:pt x="4880445" y="6344982"/>
                  <a:pt x="4880901" y="6344525"/>
                  <a:pt x="4880901" y="6343916"/>
                </a:cubicBezTo>
                <a:moveTo>
                  <a:pt x="4984038" y="6208431"/>
                </a:moveTo>
                <a:cubicBezTo>
                  <a:pt x="4984038" y="6207518"/>
                  <a:pt x="4983353" y="6206833"/>
                  <a:pt x="4982440" y="6206833"/>
                </a:cubicBezTo>
                <a:cubicBezTo>
                  <a:pt x="4981602" y="6206833"/>
                  <a:pt x="4980841" y="6207518"/>
                  <a:pt x="4980841" y="6208431"/>
                </a:cubicBezTo>
                <a:cubicBezTo>
                  <a:pt x="4980841" y="6209269"/>
                  <a:pt x="4981527" y="6210030"/>
                  <a:pt x="4982440" y="6210030"/>
                </a:cubicBezTo>
                <a:cubicBezTo>
                  <a:pt x="4983353" y="6210030"/>
                  <a:pt x="4984038" y="6209269"/>
                  <a:pt x="4984038" y="6208431"/>
                </a:cubicBezTo>
                <a:moveTo>
                  <a:pt x="5080857" y="6067998"/>
                </a:moveTo>
                <a:cubicBezTo>
                  <a:pt x="5080857" y="6066552"/>
                  <a:pt x="5079715" y="6065334"/>
                  <a:pt x="5078269" y="6065334"/>
                </a:cubicBezTo>
                <a:cubicBezTo>
                  <a:pt x="5076822" y="6065334"/>
                  <a:pt x="5075681" y="6066476"/>
                  <a:pt x="5075681" y="6067998"/>
                </a:cubicBezTo>
                <a:cubicBezTo>
                  <a:pt x="5075681" y="6069444"/>
                  <a:pt x="5076822" y="6070586"/>
                  <a:pt x="5078269" y="6070586"/>
                </a:cubicBezTo>
                <a:cubicBezTo>
                  <a:pt x="5079715" y="6070586"/>
                  <a:pt x="5080857" y="6069444"/>
                  <a:pt x="5080857" y="6067998"/>
                </a:cubicBezTo>
                <a:moveTo>
                  <a:pt x="5170597" y="5922922"/>
                </a:moveTo>
                <a:cubicBezTo>
                  <a:pt x="5170597" y="5920867"/>
                  <a:pt x="5168923" y="5919269"/>
                  <a:pt x="5166944" y="5919269"/>
                </a:cubicBezTo>
                <a:cubicBezTo>
                  <a:pt x="5164889" y="5919269"/>
                  <a:pt x="5163289" y="5920943"/>
                  <a:pt x="5163289" y="5922922"/>
                </a:cubicBezTo>
                <a:cubicBezTo>
                  <a:pt x="5163289" y="5924901"/>
                  <a:pt x="5164965" y="5926576"/>
                  <a:pt x="5166944" y="5926576"/>
                </a:cubicBezTo>
                <a:cubicBezTo>
                  <a:pt x="5168923" y="5926576"/>
                  <a:pt x="5170597" y="5924901"/>
                  <a:pt x="5170597" y="5922922"/>
                </a:cubicBezTo>
                <a:moveTo>
                  <a:pt x="5252954" y="5773584"/>
                </a:moveTo>
                <a:cubicBezTo>
                  <a:pt x="5252954" y="5770996"/>
                  <a:pt x="5250822" y="5768864"/>
                  <a:pt x="5248235" y="5768864"/>
                </a:cubicBezTo>
                <a:cubicBezTo>
                  <a:pt x="5245647" y="5768864"/>
                  <a:pt x="5243515" y="5770996"/>
                  <a:pt x="5243515" y="5773584"/>
                </a:cubicBezTo>
                <a:cubicBezTo>
                  <a:pt x="5243515" y="5776172"/>
                  <a:pt x="5245647" y="5778303"/>
                  <a:pt x="5248235" y="5778303"/>
                </a:cubicBezTo>
                <a:cubicBezTo>
                  <a:pt x="5250822" y="5778303"/>
                  <a:pt x="5252954" y="5776172"/>
                  <a:pt x="5252954" y="5773584"/>
                </a:cubicBezTo>
                <a:moveTo>
                  <a:pt x="5327776" y="5620439"/>
                </a:moveTo>
                <a:cubicBezTo>
                  <a:pt x="5327776" y="5617243"/>
                  <a:pt x="5325187" y="5614655"/>
                  <a:pt x="5321991" y="5614655"/>
                </a:cubicBezTo>
                <a:cubicBezTo>
                  <a:pt x="5318794" y="5614655"/>
                  <a:pt x="5316206" y="5617243"/>
                  <a:pt x="5316206" y="5620439"/>
                </a:cubicBezTo>
                <a:cubicBezTo>
                  <a:pt x="5316206" y="5623637"/>
                  <a:pt x="5318794" y="5626224"/>
                  <a:pt x="5321991" y="5626224"/>
                </a:cubicBezTo>
                <a:cubicBezTo>
                  <a:pt x="5325187" y="5626148"/>
                  <a:pt x="5327776" y="5623637"/>
                  <a:pt x="5327776" y="5620439"/>
                </a:cubicBezTo>
                <a:moveTo>
                  <a:pt x="5395366" y="5463718"/>
                </a:moveTo>
                <a:cubicBezTo>
                  <a:pt x="5395366" y="5459684"/>
                  <a:pt x="5392093" y="5456335"/>
                  <a:pt x="5387982" y="5456335"/>
                </a:cubicBezTo>
                <a:cubicBezTo>
                  <a:pt x="5383873" y="5456335"/>
                  <a:pt x="5380599" y="5459607"/>
                  <a:pt x="5380599" y="5463718"/>
                </a:cubicBezTo>
                <a:cubicBezTo>
                  <a:pt x="5380599" y="5467752"/>
                  <a:pt x="5383873" y="5471101"/>
                  <a:pt x="5387982" y="5471101"/>
                </a:cubicBezTo>
                <a:cubicBezTo>
                  <a:pt x="5392093" y="5471101"/>
                  <a:pt x="5395366" y="5467828"/>
                  <a:pt x="5395366" y="5463718"/>
                </a:cubicBezTo>
                <a:moveTo>
                  <a:pt x="5454583" y="5303952"/>
                </a:moveTo>
                <a:cubicBezTo>
                  <a:pt x="5454583" y="5299308"/>
                  <a:pt x="5450854" y="5295579"/>
                  <a:pt x="5446211" y="5295579"/>
                </a:cubicBezTo>
                <a:cubicBezTo>
                  <a:pt x="5441568" y="5295579"/>
                  <a:pt x="5437838" y="5299308"/>
                  <a:pt x="5437838" y="5303952"/>
                </a:cubicBezTo>
                <a:cubicBezTo>
                  <a:pt x="5437838" y="5308595"/>
                  <a:pt x="5441568" y="5312324"/>
                  <a:pt x="5446211" y="5312324"/>
                </a:cubicBezTo>
                <a:cubicBezTo>
                  <a:pt x="5450854" y="5312324"/>
                  <a:pt x="5454583" y="5308595"/>
                  <a:pt x="5454583" y="5303952"/>
                </a:cubicBezTo>
                <a:moveTo>
                  <a:pt x="5506266" y="5141521"/>
                </a:moveTo>
                <a:cubicBezTo>
                  <a:pt x="5506266" y="5136041"/>
                  <a:pt x="5501775" y="5131550"/>
                  <a:pt x="5496294" y="5131550"/>
                </a:cubicBezTo>
                <a:cubicBezTo>
                  <a:pt x="5490814" y="5131550"/>
                  <a:pt x="5486324" y="5136041"/>
                  <a:pt x="5486324" y="5141521"/>
                </a:cubicBezTo>
                <a:cubicBezTo>
                  <a:pt x="5486324" y="5147001"/>
                  <a:pt x="5490814" y="5151492"/>
                  <a:pt x="5496294" y="5151492"/>
                </a:cubicBezTo>
                <a:cubicBezTo>
                  <a:pt x="5501775" y="5151492"/>
                  <a:pt x="5506266" y="5147001"/>
                  <a:pt x="5506266" y="5141521"/>
                </a:cubicBezTo>
                <a:moveTo>
                  <a:pt x="5549804" y="4976807"/>
                </a:moveTo>
                <a:cubicBezTo>
                  <a:pt x="5549804" y="4970414"/>
                  <a:pt x="5544628" y="4965238"/>
                  <a:pt x="5538234" y="4965238"/>
                </a:cubicBezTo>
                <a:cubicBezTo>
                  <a:pt x="5531841" y="4965238"/>
                  <a:pt x="5526665" y="4970414"/>
                  <a:pt x="5526665" y="4976807"/>
                </a:cubicBezTo>
                <a:cubicBezTo>
                  <a:pt x="5526665" y="4983201"/>
                  <a:pt x="5531841" y="4988377"/>
                  <a:pt x="5538234" y="4988377"/>
                </a:cubicBezTo>
                <a:cubicBezTo>
                  <a:pt x="5544628" y="4988301"/>
                  <a:pt x="5549804" y="4983125"/>
                  <a:pt x="5549804" y="4976807"/>
                </a:cubicBezTo>
                <a:moveTo>
                  <a:pt x="5585579" y="4810115"/>
                </a:moveTo>
                <a:cubicBezTo>
                  <a:pt x="5585579" y="4802579"/>
                  <a:pt x="5579489" y="4796490"/>
                  <a:pt x="5571954" y="4796490"/>
                </a:cubicBezTo>
                <a:cubicBezTo>
                  <a:pt x="5564418" y="4796490"/>
                  <a:pt x="5558329" y="4802579"/>
                  <a:pt x="5558329" y="4810115"/>
                </a:cubicBezTo>
                <a:cubicBezTo>
                  <a:pt x="5558329" y="4817650"/>
                  <a:pt x="5564418" y="4823739"/>
                  <a:pt x="5571954" y="4823739"/>
                </a:cubicBezTo>
                <a:cubicBezTo>
                  <a:pt x="5579413" y="4823816"/>
                  <a:pt x="5585579" y="4817650"/>
                  <a:pt x="5585579" y="4810115"/>
                </a:cubicBezTo>
                <a:moveTo>
                  <a:pt x="5612447" y="4642052"/>
                </a:moveTo>
                <a:cubicBezTo>
                  <a:pt x="5612447" y="4633603"/>
                  <a:pt x="5605597" y="4626829"/>
                  <a:pt x="5597224" y="4626829"/>
                </a:cubicBezTo>
                <a:cubicBezTo>
                  <a:pt x="5588775" y="4626829"/>
                  <a:pt x="5582000" y="4633679"/>
                  <a:pt x="5582000" y="4642052"/>
                </a:cubicBezTo>
                <a:cubicBezTo>
                  <a:pt x="5582000" y="4650501"/>
                  <a:pt x="5588851" y="4657275"/>
                  <a:pt x="5597224" y="4657275"/>
                </a:cubicBezTo>
                <a:cubicBezTo>
                  <a:pt x="5605673" y="4657275"/>
                  <a:pt x="5612447" y="4650424"/>
                  <a:pt x="5612447" y="4642052"/>
                </a:cubicBezTo>
                <a:moveTo>
                  <a:pt x="5630943" y="4472847"/>
                </a:moveTo>
                <a:cubicBezTo>
                  <a:pt x="5630943" y="4463561"/>
                  <a:pt x="5623408" y="4456026"/>
                  <a:pt x="5614122" y="4456026"/>
                </a:cubicBezTo>
                <a:cubicBezTo>
                  <a:pt x="5604835" y="4456026"/>
                  <a:pt x="5597300" y="4463561"/>
                  <a:pt x="5597300" y="4472847"/>
                </a:cubicBezTo>
                <a:cubicBezTo>
                  <a:pt x="5597300" y="4482133"/>
                  <a:pt x="5604835" y="4489669"/>
                  <a:pt x="5614122" y="4489669"/>
                </a:cubicBezTo>
                <a:cubicBezTo>
                  <a:pt x="5623484" y="4489669"/>
                  <a:pt x="5630943" y="4482133"/>
                  <a:pt x="5630943" y="4472847"/>
                </a:cubicBezTo>
                <a:moveTo>
                  <a:pt x="5641523" y="4303034"/>
                </a:moveTo>
                <a:cubicBezTo>
                  <a:pt x="5641523" y="4292606"/>
                  <a:pt x="5633075" y="4284157"/>
                  <a:pt x="5622571" y="4284157"/>
                </a:cubicBezTo>
                <a:cubicBezTo>
                  <a:pt x="5612143" y="4284157"/>
                  <a:pt x="5603694" y="4292606"/>
                  <a:pt x="5603694" y="4303034"/>
                </a:cubicBezTo>
                <a:cubicBezTo>
                  <a:pt x="5603694" y="4313462"/>
                  <a:pt x="5612143" y="4321987"/>
                  <a:pt x="5622571" y="4321987"/>
                </a:cubicBezTo>
                <a:cubicBezTo>
                  <a:pt x="5633075" y="4321987"/>
                  <a:pt x="5641523" y="4313462"/>
                  <a:pt x="5641523" y="4303034"/>
                </a:cubicBezTo>
                <a:moveTo>
                  <a:pt x="5643121" y="4133068"/>
                </a:moveTo>
                <a:cubicBezTo>
                  <a:pt x="5643121" y="4121727"/>
                  <a:pt x="5633988" y="4112593"/>
                  <a:pt x="5622647" y="4112593"/>
                </a:cubicBezTo>
                <a:cubicBezTo>
                  <a:pt x="5611306" y="4112593"/>
                  <a:pt x="5602171" y="4121727"/>
                  <a:pt x="5602171" y="4133068"/>
                </a:cubicBezTo>
                <a:cubicBezTo>
                  <a:pt x="5602171" y="4144409"/>
                  <a:pt x="5611306" y="4153543"/>
                  <a:pt x="5622647" y="4153543"/>
                </a:cubicBezTo>
                <a:cubicBezTo>
                  <a:pt x="5633988" y="4153543"/>
                  <a:pt x="5643121" y="4144333"/>
                  <a:pt x="5643121" y="4133068"/>
                </a:cubicBezTo>
                <a:moveTo>
                  <a:pt x="5636195" y="3963254"/>
                </a:moveTo>
                <a:cubicBezTo>
                  <a:pt x="5636195" y="3951076"/>
                  <a:pt x="5626300" y="3941181"/>
                  <a:pt x="5614122" y="3941181"/>
                </a:cubicBezTo>
                <a:cubicBezTo>
                  <a:pt x="5601943" y="3941181"/>
                  <a:pt x="5592048" y="3951076"/>
                  <a:pt x="5592048" y="3963254"/>
                </a:cubicBezTo>
                <a:cubicBezTo>
                  <a:pt x="5592048" y="3975433"/>
                  <a:pt x="5601943" y="3985328"/>
                  <a:pt x="5614122" y="3985328"/>
                </a:cubicBezTo>
                <a:cubicBezTo>
                  <a:pt x="5626300" y="3985328"/>
                  <a:pt x="5636195" y="3975433"/>
                  <a:pt x="5636195" y="3963254"/>
                </a:cubicBezTo>
                <a:moveTo>
                  <a:pt x="5621429" y="3794050"/>
                </a:moveTo>
                <a:cubicBezTo>
                  <a:pt x="5621429" y="3780730"/>
                  <a:pt x="5610620" y="3769921"/>
                  <a:pt x="5597300" y="3769921"/>
                </a:cubicBezTo>
                <a:cubicBezTo>
                  <a:pt x="5583980" y="3769921"/>
                  <a:pt x="5573096" y="3780730"/>
                  <a:pt x="5573096" y="3794050"/>
                </a:cubicBezTo>
                <a:cubicBezTo>
                  <a:pt x="5573096" y="3807370"/>
                  <a:pt x="5583903" y="3818178"/>
                  <a:pt x="5597300" y="3818178"/>
                </a:cubicBezTo>
                <a:cubicBezTo>
                  <a:pt x="5610620" y="3818254"/>
                  <a:pt x="5621429" y="3807446"/>
                  <a:pt x="5621429" y="3794050"/>
                </a:cubicBezTo>
                <a:moveTo>
                  <a:pt x="5597605" y="3625987"/>
                </a:moveTo>
                <a:cubicBezTo>
                  <a:pt x="5597605" y="3611753"/>
                  <a:pt x="5586111" y="3600260"/>
                  <a:pt x="5571877" y="3600260"/>
                </a:cubicBezTo>
                <a:cubicBezTo>
                  <a:pt x="5557644" y="3600260"/>
                  <a:pt x="5546150" y="3611753"/>
                  <a:pt x="5546150" y="3625987"/>
                </a:cubicBezTo>
                <a:cubicBezTo>
                  <a:pt x="5546150" y="3640221"/>
                  <a:pt x="5557644" y="3651714"/>
                  <a:pt x="5571877" y="3651714"/>
                </a:cubicBezTo>
                <a:cubicBezTo>
                  <a:pt x="5586111" y="3651714"/>
                  <a:pt x="5597605" y="3640144"/>
                  <a:pt x="5597605" y="3625987"/>
                </a:cubicBezTo>
                <a:moveTo>
                  <a:pt x="5565560" y="3459294"/>
                </a:moveTo>
                <a:cubicBezTo>
                  <a:pt x="5565560" y="3444223"/>
                  <a:pt x="5553306" y="3431969"/>
                  <a:pt x="5538234" y="3431969"/>
                </a:cubicBezTo>
                <a:cubicBezTo>
                  <a:pt x="5523163" y="3431969"/>
                  <a:pt x="5510909" y="3444223"/>
                  <a:pt x="5510909" y="3459294"/>
                </a:cubicBezTo>
                <a:cubicBezTo>
                  <a:pt x="5510909" y="3474365"/>
                  <a:pt x="5523163" y="3486619"/>
                  <a:pt x="5538234" y="3486619"/>
                </a:cubicBezTo>
                <a:cubicBezTo>
                  <a:pt x="5553306" y="3486619"/>
                  <a:pt x="5565560" y="3474441"/>
                  <a:pt x="5565560" y="3459294"/>
                </a:cubicBezTo>
                <a:moveTo>
                  <a:pt x="5525142" y="3294580"/>
                </a:moveTo>
                <a:cubicBezTo>
                  <a:pt x="5525142" y="3278596"/>
                  <a:pt x="5512203" y="3265656"/>
                  <a:pt x="5496219" y="3265656"/>
                </a:cubicBezTo>
                <a:cubicBezTo>
                  <a:pt x="5480234" y="3265656"/>
                  <a:pt x="5467295" y="3278596"/>
                  <a:pt x="5467295" y="3294580"/>
                </a:cubicBezTo>
                <a:cubicBezTo>
                  <a:pt x="5467295" y="3310565"/>
                  <a:pt x="5480234" y="3323504"/>
                  <a:pt x="5496219" y="3323504"/>
                </a:cubicBezTo>
                <a:cubicBezTo>
                  <a:pt x="5512203" y="3323428"/>
                  <a:pt x="5525142" y="3310488"/>
                  <a:pt x="5525142" y="3294580"/>
                </a:cubicBezTo>
                <a:moveTo>
                  <a:pt x="5476581" y="3132074"/>
                </a:moveTo>
                <a:cubicBezTo>
                  <a:pt x="5476581" y="3115252"/>
                  <a:pt x="5462957" y="3101628"/>
                  <a:pt x="5446135" y="3101628"/>
                </a:cubicBezTo>
                <a:cubicBezTo>
                  <a:pt x="5429313" y="3101628"/>
                  <a:pt x="5415688" y="3115252"/>
                  <a:pt x="5415688" y="3132074"/>
                </a:cubicBezTo>
                <a:cubicBezTo>
                  <a:pt x="5415688" y="3148895"/>
                  <a:pt x="5429313" y="3162520"/>
                  <a:pt x="5446135" y="3162520"/>
                </a:cubicBezTo>
                <a:cubicBezTo>
                  <a:pt x="5462957" y="3162596"/>
                  <a:pt x="5476581" y="3148895"/>
                  <a:pt x="5476581" y="3132074"/>
                </a:cubicBezTo>
                <a:moveTo>
                  <a:pt x="5420028" y="2972384"/>
                </a:moveTo>
                <a:cubicBezTo>
                  <a:pt x="5420028" y="2954649"/>
                  <a:pt x="5405718" y="2940339"/>
                  <a:pt x="5387982" y="2940339"/>
                </a:cubicBezTo>
                <a:cubicBezTo>
                  <a:pt x="5370324" y="2940339"/>
                  <a:pt x="5355938" y="2954649"/>
                  <a:pt x="5355938" y="2972384"/>
                </a:cubicBezTo>
                <a:cubicBezTo>
                  <a:pt x="5355938" y="2990119"/>
                  <a:pt x="5370324" y="3004428"/>
                  <a:pt x="5387982" y="3004428"/>
                </a:cubicBezTo>
                <a:cubicBezTo>
                  <a:pt x="5405718" y="3004352"/>
                  <a:pt x="5420028" y="2990042"/>
                  <a:pt x="5420028" y="2972384"/>
                </a:cubicBezTo>
                <a:moveTo>
                  <a:pt x="5355025" y="2815662"/>
                </a:moveTo>
                <a:cubicBezTo>
                  <a:pt x="5355025" y="2797394"/>
                  <a:pt x="5340183" y="2782552"/>
                  <a:pt x="5321915" y="2782552"/>
                </a:cubicBezTo>
                <a:cubicBezTo>
                  <a:pt x="5303647" y="2782552"/>
                  <a:pt x="5288805" y="2797394"/>
                  <a:pt x="5288805" y="2815662"/>
                </a:cubicBezTo>
                <a:cubicBezTo>
                  <a:pt x="5288805" y="2833930"/>
                  <a:pt x="5303647" y="2848772"/>
                  <a:pt x="5321915" y="2848772"/>
                </a:cubicBezTo>
                <a:cubicBezTo>
                  <a:pt x="5340258" y="2848772"/>
                  <a:pt x="5355025" y="2833930"/>
                  <a:pt x="5355025" y="2815662"/>
                </a:cubicBezTo>
                <a:moveTo>
                  <a:pt x="5282867" y="2662518"/>
                </a:moveTo>
                <a:cubicBezTo>
                  <a:pt x="5282867" y="2643413"/>
                  <a:pt x="5267340" y="2627885"/>
                  <a:pt x="5248235" y="2627885"/>
                </a:cubicBezTo>
                <a:cubicBezTo>
                  <a:pt x="5229053" y="2627885"/>
                  <a:pt x="5213526" y="2643413"/>
                  <a:pt x="5213526" y="2662518"/>
                </a:cubicBezTo>
                <a:cubicBezTo>
                  <a:pt x="5213526" y="2681699"/>
                  <a:pt x="5229053" y="2697150"/>
                  <a:pt x="5248235" y="2697150"/>
                </a:cubicBezTo>
                <a:cubicBezTo>
                  <a:pt x="5267340" y="2697150"/>
                  <a:pt x="5282867" y="2681623"/>
                  <a:pt x="5282867" y="2662518"/>
                </a:cubicBezTo>
                <a:moveTo>
                  <a:pt x="5202109" y="2513179"/>
                </a:moveTo>
                <a:cubicBezTo>
                  <a:pt x="5202109" y="2493770"/>
                  <a:pt x="5186353" y="2478014"/>
                  <a:pt x="5166944" y="2478014"/>
                </a:cubicBezTo>
                <a:cubicBezTo>
                  <a:pt x="5147534" y="2478014"/>
                  <a:pt x="5131778" y="2493770"/>
                  <a:pt x="5131778" y="2513179"/>
                </a:cubicBezTo>
                <a:cubicBezTo>
                  <a:pt x="5131778" y="2532589"/>
                  <a:pt x="5147534" y="2548345"/>
                  <a:pt x="5166944" y="2548345"/>
                </a:cubicBezTo>
                <a:cubicBezTo>
                  <a:pt x="5186353" y="2548421"/>
                  <a:pt x="5202109" y="2532665"/>
                  <a:pt x="5202109" y="2513179"/>
                </a:cubicBezTo>
                <a:moveTo>
                  <a:pt x="5114500" y="2368103"/>
                </a:moveTo>
                <a:cubicBezTo>
                  <a:pt x="5114500" y="2348085"/>
                  <a:pt x="5098288" y="2331872"/>
                  <a:pt x="5078269" y="2331872"/>
                </a:cubicBezTo>
                <a:cubicBezTo>
                  <a:pt x="5058251" y="2331872"/>
                  <a:pt x="5042038" y="2348085"/>
                  <a:pt x="5042038" y="2368103"/>
                </a:cubicBezTo>
                <a:cubicBezTo>
                  <a:pt x="5042038" y="2388122"/>
                  <a:pt x="5058251" y="2404334"/>
                  <a:pt x="5078269" y="2404334"/>
                </a:cubicBezTo>
                <a:cubicBezTo>
                  <a:pt x="5098288" y="2404334"/>
                  <a:pt x="5114500" y="2388122"/>
                  <a:pt x="5114500" y="2368103"/>
                </a:cubicBezTo>
                <a:moveTo>
                  <a:pt x="5019203" y="2227670"/>
                </a:moveTo>
                <a:cubicBezTo>
                  <a:pt x="5019203" y="2207348"/>
                  <a:pt x="5002762" y="2190907"/>
                  <a:pt x="4982440" y="2190907"/>
                </a:cubicBezTo>
                <a:cubicBezTo>
                  <a:pt x="4962117" y="2190907"/>
                  <a:pt x="4945676" y="2207348"/>
                  <a:pt x="4945676" y="2227670"/>
                </a:cubicBezTo>
                <a:cubicBezTo>
                  <a:pt x="4945676" y="2247993"/>
                  <a:pt x="4962117" y="2264434"/>
                  <a:pt x="4982440" y="2264434"/>
                </a:cubicBezTo>
                <a:cubicBezTo>
                  <a:pt x="5002762" y="2264434"/>
                  <a:pt x="5019203" y="2247993"/>
                  <a:pt x="5019203" y="2227670"/>
                </a:cubicBezTo>
                <a:moveTo>
                  <a:pt x="4917132" y="2092109"/>
                </a:moveTo>
                <a:cubicBezTo>
                  <a:pt x="4917132" y="2071481"/>
                  <a:pt x="4900464" y="2054812"/>
                  <a:pt x="4879836" y="2054812"/>
                </a:cubicBezTo>
                <a:cubicBezTo>
                  <a:pt x="4859209" y="2054812"/>
                  <a:pt x="4842540" y="2071481"/>
                  <a:pt x="4842540" y="2092109"/>
                </a:cubicBezTo>
                <a:cubicBezTo>
                  <a:pt x="4842540" y="2112736"/>
                  <a:pt x="4859209" y="2129405"/>
                  <a:pt x="4879836" y="2129405"/>
                </a:cubicBezTo>
                <a:cubicBezTo>
                  <a:pt x="4900387" y="2129405"/>
                  <a:pt x="4917132" y="2112736"/>
                  <a:pt x="4917132" y="2092109"/>
                </a:cubicBezTo>
                <a:moveTo>
                  <a:pt x="4808364" y="1961875"/>
                </a:moveTo>
                <a:cubicBezTo>
                  <a:pt x="4808364" y="1941019"/>
                  <a:pt x="4791390" y="1924046"/>
                  <a:pt x="4770534" y="1924046"/>
                </a:cubicBezTo>
                <a:cubicBezTo>
                  <a:pt x="4749678" y="1924046"/>
                  <a:pt x="4732705" y="1941019"/>
                  <a:pt x="4732705" y="1961875"/>
                </a:cubicBezTo>
                <a:cubicBezTo>
                  <a:pt x="4732705" y="1982731"/>
                  <a:pt x="4749602" y="1999705"/>
                  <a:pt x="4770534" y="1999705"/>
                </a:cubicBezTo>
                <a:cubicBezTo>
                  <a:pt x="4791390" y="1999705"/>
                  <a:pt x="4808364" y="1982807"/>
                  <a:pt x="4808364" y="1961875"/>
                </a:cubicBezTo>
                <a:moveTo>
                  <a:pt x="4692744" y="1837274"/>
                </a:moveTo>
                <a:cubicBezTo>
                  <a:pt x="4692744" y="1816419"/>
                  <a:pt x="4675771" y="1799445"/>
                  <a:pt x="4654915" y="1799445"/>
                </a:cubicBezTo>
                <a:cubicBezTo>
                  <a:pt x="4634060" y="1799445"/>
                  <a:pt x="4617086" y="1816342"/>
                  <a:pt x="4617086" y="1837274"/>
                </a:cubicBezTo>
                <a:cubicBezTo>
                  <a:pt x="4617086" y="1858130"/>
                  <a:pt x="4633983" y="1875104"/>
                  <a:pt x="4654915" y="1875104"/>
                </a:cubicBezTo>
                <a:cubicBezTo>
                  <a:pt x="4675771" y="1875104"/>
                  <a:pt x="4692744" y="1858130"/>
                  <a:pt x="4692744" y="1837274"/>
                </a:cubicBezTo>
                <a:moveTo>
                  <a:pt x="4571036" y="1718534"/>
                </a:moveTo>
                <a:cubicBezTo>
                  <a:pt x="4571036" y="1697679"/>
                  <a:pt x="4554062" y="1680705"/>
                  <a:pt x="4533207" y="1680705"/>
                </a:cubicBezTo>
                <a:cubicBezTo>
                  <a:pt x="4512351" y="1680705"/>
                  <a:pt x="4495377" y="1697679"/>
                  <a:pt x="4495377" y="1718534"/>
                </a:cubicBezTo>
                <a:cubicBezTo>
                  <a:pt x="4495377" y="1739390"/>
                  <a:pt x="4512275" y="1756364"/>
                  <a:pt x="4533207" y="1756364"/>
                </a:cubicBezTo>
                <a:cubicBezTo>
                  <a:pt x="4554138" y="1756364"/>
                  <a:pt x="4571036" y="1739466"/>
                  <a:pt x="4571036" y="1718534"/>
                </a:cubicBezTo>
                <a:moveTo>
                  <a:pt x="4443542" y="1606112"/>
                </a:moveTo>
                <a:cubicBezTo>
                  <a:pt x="4443542" y="1585256"/>
                  <a:pt x="4426569" y="1568282"/>
                  <a:pt x="4405713" y="1568282"/>
                </a:cubicBezTo>
                <a:cubicBezTo>
                  <a:pt x="4384858" y="1568282"/>
                  <a:pt x="4367883" y="1585256"/>
                  <a:pt x="4367883" y="1606112"/>
                </a:cubicBezTo>
                <a:cubicBezTo>
                  <a:pt x="4367883" y="1626967"/>
                  <a:pt x="4384782" y="1643941"/>
                  <a:pt x="4405713" y="1643941"/>
                </a:cubicBezTo>
                <a:cubicBezTo>
                  <a:pt x="4426569" y="1643865"/>
                  <a:pt x="4443542" y="1626967"/>
                  <a:pt x="4443542" y="1606112"/>
                </a:cubicBezTo>
                <a:moveTo>
                  <a:pt x="4310112" y="1500083"/>
                </a:moveTo>
                <a:cubicBezTo>
                  <a:pt x="4310112" y="1479456"/>
                  <a:pt x="4293443" y="1462786"/>
                  <a:pt x="4272815" y="1462786"/>
                </a:cubicBezTo>
                <a:cubicBezTo>
                  <a:pt x="4252188" y="1462786"/>
                  <a:pt x="4235519" y="1479456"/>
                  <a:pt x="4235519" y="1500083"/>
                </a:cubicBezTo>
                <a:cubicBezTo>
                  <a:pt x="4235519" y="1520710"/>
                  <a:pt x="4252188" y="1537380"/>
                  <a:pt x="4272815" y="1537380"/>
                </a:cubicBezTo>
                <a:cubicBezTo>
                  <a:pt x="4293367" y="1537380"/>
                  <a:pt x="4310112" y="1520634"/>
                  <a:pt x="4310112" y="1500083"/>
                </a:cubicBezTo>
                <a:moveTo>
                  <a:pt x="4171506" y="1400828"/>
                </a:moveTo>
                <a:cubicBezTo>
                  <a:pt x="4171506" y="1380506"/>
                  <a:pt x="4155065" y="1364065"/>
                  <a:pt x="4134742" y="1364065"/>
                </a:cubicBezTo>
                <a:cubicBezTo>
                  <a:pt x="4114419" y="1364065"/>
                  <a:pt x="4097978" y="1380506"/>
                  <a:pt x="4097978" y="1400828"/>
                </a:cubicBezTo>
                <a:cubicBezTo>
                  <a:pt x="4097978" y="1421151"/>
                  <a:pt x="4114419" y="1437592"/>
                  <a:pt x="4134742" y="1437592"/>
                </a:cubicBezTo>
                <a:cubicBezTo>
                  <a:pt x="4155065" y="1437592"/>
                  <a:pt x="4171506" y="1421151"/>
                  <a:pt x="4171506" y="1400828"/>
                </a:cubicBezTo>
                <a:moveTo>
                  <a:pt x="4027648" y="1308576"/>
                </a:moveTo>
                <a:cubicBezTo>
                  <a:pt x="4027648" y="1288863"/>
                  <a:pt x="4011664" y="1272878"/>
                  <a:pt x="3991950" y="1272878"/>
                </a:cubicBezTo>
                <a:cubicBezTo>
                  <a:pt x="3972235" y="1272878"/>
                  <a:pt x="3956251" y="1288863"/>
                  <a:pt x="3956251" y="1308576"/>
                </a:cubicBezTo>
                <a:cubicBezTo>
                  <a:pt x="3956251" y="1328290"/>
                  <a:pt x="3972235" y="1344275"/>
                  <a:pt x="3991950" y="1344275"/>
                </a:cubicBezTo>
                <a:cubicBezTo>
                  <a:pt x="4011664" y="1344275"/>
                  <a:pt x="4027648" y="1328290"/>
                  <a:pt x="4027648" y="1308576"/>
                </a:cubicBezTo>
                <a:moveTo>
                  <a:pt x="3879907" y="1223556"/>
                </a:moveTo>
                <a:cubicBezTo>
                  <a:pt x="3879907" y="1204146"/>
                  <a:pt x="3864152" y="1188390"/>
                  <a:pt x="3844742" y="1188390"/>
                </a:cubicBezTo>
                <a:cubicBezTo>
                  <a:pt x="3825333" y="1188390"/>
                  <a:pt x="3809577" y="1204146"/>
                  <a:pt x="3809577" y="1223556"/>
                </a:cubicBezTo>
                <a:cubicBezTo>
                  <a:pt x="3809577" y="1242965"/>
                  <a:pt x="3825333" y="1258721"/>
                  <a:pt x="3844742" y="1258721"/>
                </a:cubicBezTo>
                <a:cubicBezTo>
                  <a:pt x="3864152" y="1258797"/>
                  <a:pt x="3879907" y="1243041"/>
                  <a:pt x="3879907" y="1223556"/>
                </a:cubicBezTo>
                <a:moveTo>
                  <a:pt x="3727600" y="1145994"/>
                </a:moveTo>
                <a:cubicBezTo>
                  <a:pt x="3727600" y="1127117"/>
                  <a:pt x="3712302" y="1111818"/>
                  <a:pt x="3693424" y="1111818"/>
                </a:cubicBezTo>
                <a:cubicBezTo>
                  <a:pt x="3674548" y="1111818"/>
                  <a:pt x="3659249" y="1127117"/>
                  <a:pt x="3659249" y="1145994"/>
                </a:cubicBezTo>
                <a:cubicBezTo>
                  <a:pt x="3659249" y="1164871"/>
                  <a:pt x="3674548" y="1180170"/>
                  <a:pt x="3693424" y="1180170"/>
                </a:cubicBezTo>
                <a:cubicBezTo>
                  <a:pt x="3712302" y="1180170"/>
                  <a:pt x="3727600" y="1164871"/>
                  <a:pt x="3727600" y="1145994"/>
                </a:cubicBezTo>
                <a:moveTo>
                  <a:pt x="3571031" y="1076120"/>
                </a:moveTo>
                <a:cubicBezTo>
                  <a:pt x="3571031" y="1058157"/>
                  <a:pt x="3556417" y="1043543"/>
                  <a:pt x="3538454" y="1043543"/>
                </a:cubicBezTo>
                <a:cubicBezTo>
                  <a:pt x="3520490" y="1043543"/>
                  <a:pt x="3505876" y="1058081"/>
                  <a:pt x="3505876" y="1076120"/>
                </a:cubicBezTo>
                <a:cubicBezTo>
                  <a:pt x="3505876" y="1094083"/>
                  <a:pt x="3520490" y="1108697"/>
                  <a:pt x="3538454" y="1108697"/>
                </a:cubicBezTo>
                <a:cubicBezTo>
                  <a:pt x="3556417" y="1108697"/>
                  <a:pt x="3571031" y="1094083"/>
                  <a:pt x="3571031" y="1076120"/>
                </a:cubicBezTo>
                <a:moveTo>
                  <a:pt x="3411189" y="1014010"/>
                </a:moveTo>
                <a:cubicBezTo>
                  <a:pt x="3411189" y="996884"/>
                  <a:pt x="3397336" y="983031"/>
                  <a:pt x="3380210" y="983031"/>
                </a:cubicBezTo>
                <a:cubicBezTo>
                  <a:pt x="3363084" y="983031"/>
                  <a:pt x="3349231" y="996884"/>
                  <a:pt x="3349231" y="1014010"/>
                </a:cubicBezTo>
                <a:cubicBezTo>
                  <a:pt x="3349231" y="1031136"/>
                  <a:pt x="3363084" y="1044989"/>
                  <a:pt x="3380210" y="1044989"/>
                </a:cubicBezTo>
                <a:cubicBezTo>
                  <a:pt x="3397336" y="1044989"/>
                  <a:pt x="3411189" y="1031136"/>
                  <a:pt x="3411189" y="1014010"/>
                </a:cubicBezTo>
                <a:moveTo>
                  <a:pt x="3248986" y="959816"/>
                </a:moveTo>
                <a:cubicBezTo>
                  <a:pt x="3248986" y="943299"/>
                  <a:pt x="3235591" y="929902"/>
                  <a:pt x="3219074" y="929902"/>
                </a:cubicBezTo>
                <a:cubicBezTo>
                  <a:pt x="3202556" y="929902"/>
                  <a:pt x="3189160" y="943299"/>
                  <a:pt x="3189160" y="959816"/>
                </a:cubicBezTo>
                <a:cubicBezTo>
                  <a:pt x="3189160" y="976333"/>
                  <a:pt x="3202556" y="989729"/>
                  <a:pt x="3219074" y="989729"/>
                </a:cubicBezTo>
                <a:cubicBezTo>
                  <a:pt x="3235591" y="989805"/>
                  <a:pt x="3248986" y="976409"/>
                  <a:pt x="3248986" y="959816"/>
                </a:cubicBezTo>
                <a:moveTo>
                  <a:pt x="3083740" y="913766"/>
                </a:moveTo>
                <a:cubicBezTo>
                  <a:pt x="3083740" y="898086"/>
                  <a:pt x="3071029" y="885375"/>
                  <a:pt x="3055349" y="885375"/>
                </a:cubicBezTo>
                <a:cubicBezTo>
                  <a:pt x="3039669" y="885375"/>
                  <a:pt x="3027034" y="898086"/>
                  <a:pt x="3027034" y="913766"/>
                </a:cubicBezTo>
                <a:cubicBezTo>
                  <a:pt x="3027034" y="929446"/>
                  <a:pt x="3039745" y="942157"/>
                  <a:pt x="3055349" y="942157"/>
                </a:cubicBezTo>
                <a:cubicBezTo>
                  <a:pt x="3071029" y="942157"/>
                  <a:pt x="3083740" y="929446"/>
                  <a:pt x="3083740" y="913766"/>
                </a:cubicBezTo>
                <a:moveTo>
                  <a:pt x="2916439" y="875936"/>
                </a:moveTo>
                <a:cubicBezTo>
                  <a:pt x="2916439" y="861170"/>
                  <a:pt x="2904413" y="849144"/>
                  <a:pt x="2889646" y="849144"/>
                </a:cubicBezTo>
                <a:cubicBezTo>
                  <a:pt x="2874880" y="849144"/>
                  <a:pt x="2862853" y="861170"/>
                  <a:pt x="2862853" y="875936"/>
                </a:cubicBezTo>
                <a:cubicBezTo>
                  <a:pt x="2862853" y="890703"/>
                  <a:pt x="2874880" y="902729"/>
                  <a:pt x="2889646" y="902729"/>
                </a:cubicBezTo>
                <a:cubicBezTo>
                  <a:pt x="2904413" y="902729"/>
                  <a:pt x="2916439" y="890779"/>
                  <a:pt x="2916439" y="875936"/>
                </a:cubicBezTo>
                <a:moveTo>
                  <a:pt x="2747386" y="846480"/>
                </a:moveTo>
                <a:cubicBezTo>
                  <a:pt x="2747386" y="832551"/>
                  <a:pt x="2736122" y="821286"/>
                  <a:pt x="2722192" y="821286"/>
                </a:cubicBezTo>
                <a:cubicBezTo>
                  <a:pt x="2708263" y="821286"/>
                  <a:pt x="2696998" y="832551"/>
                  <a:pt x="2696998" y="846480"/>
                </a:cubicBezTo>
                <a:cubicBezTo>
                  <a:pt x="2696998" y="860409"/>
                  <a:pt x="2708263" y="871674"/>
                  <a:pt x="2722192" y="871674"/>
                </a:cubicBezTo>
                <a:cubicBezTo>
                  <a:pt x="2736122" y="871674"/>
                  <a:pt x="2747386" y="860333"/>
                  <a:pt x="2747386" y="846480"/>
                </a:cubicBezTo>
                <a:moveTo>
                  <a:pt x="2576583" y="825320"/>
                </a:moveTo>
                <a:cubicBezTo>
                  <a:pt x="2576583" y="812532"/>
                  <a:pt x="2566231" y="802181"/>
                  <a:pt x="2553445" y="802181"/>
                </a:cubicBezTo>
                <a:cubicBezTo>
                  <a:pt x="2540657" y="802181"/>
                  <a:pt x="2530305" y="812532"/>
                  <a:pt x="2530305" y="825320"/>
                </a:cubicBezTo>
                <a:cubicBezTo>
                  <a:pt x="2530305" y="838107"/>
                  <a:pt x="2540657" y="848459"/>
                  <a:pt x="2553445" y="848459"/>
                </a:cubicBezTo>
                <a:cubicBezTo>
                  <a:pt x="2566231" y="848383"/>
                  <a:pt x="2576583" y="838031"/>
                  <a:pt x="2576583" y="825320"/>
                </a:cubicBezTo>
                <a:moveTo>
                  <a:pt x="2405476" y="812608"/>
                </a:moveTo>
                <a:cubicBezTo>
                  <a:pt x="2405476" y="800734"/>
                  <a:pt x="2395809" y="791068"/>
                  <a:pt x="2383935" y="791068"/>
                </a:cubicBezTo>
                <a:cubicBezTo>
                  <a:pt x="2372061" y="791068"/>
                  <a:pt x="2362394" y="800734"/>
                  <a:pt x="2362394" y="812608"/>
                </a:cubicBezTo>
                <a:cubicBezTo>
                  <a:pt x="2362394" y="824482"/>
                  <a:pt x="2372061" y="834149"/>
                  <a:pt x="2383935" y="834149"/>
                </a:cubicBezTo>
                <a:cubicBezTo>
                  <a:pt x="2395885" y="834149"/>
                  <a:pt x="2405476" y="824482"/>
                  <a:pt x="2405476" y="812608"/>
                </a:cubicBezTo>
                <a:moveTo>
                  <a:pt x="2233455" y="808346"/>
                </a:moveTo>
                <a:cubicBezTo>
                  <a:pt x="2233455" y="797614"/>
                  <a:pt x="2224778" y="788936"/>
                  <a:pt x="2214045" y="788936"/>
                </a:cubicBezTo>
                <a:cubicBezTo>
                  <a:pt x="2203314" y="788936"/>
                  <a:pt x="2194636" y="797614"/>
                  <a:pt x="2194636" y="808346"/>
                </a:cubicBezTo>
                <a:cubicBezTo>
                  <a:pt x="2194636" y="819078"/>
                  <a:pt x="2203314" y="827755"/>
                  <a:pt x="2214045" y="827755"/>
                </a:cubicBezTo>
                <a:cubicBezTo>
                  <a:pt x="2224778" y="827755"/>
                  <a:pt x="2233455" y="819078"/>
                  <a:pt x="2233455" y="808346"/>
                </a:cubicBezTo>
                <a:moveTo>
                  <a:pt x="2061890" y="812608"/>
                </a:moveTo>
                <a:cubicBezTo>
                  <a:pt x="2061890" y="802713"/>
                  <a:pt x="2053899" y="794721"/>
                  <a:pt x="2044004" y="794721"/>
                </a:cubicBezTo>
                <a:cubicBezTo>
                  <a:pt x="2034109" y="794721"/>
                  <a:pt x="2026117" y="802713"/>
                  <a:pt x="2026117" y="812608"/>
                </a:cubicBezTo>
                <a:cubicBezTo>
                  <a:pt x="2026117" y="822503"/>
                  <a:pt x="2034109" y="830495"/>
                  <a:pt x="2044004" y="830495"/>
                </a:cubicBezTo>
                <a:cubicBezTo>
                  <a:pt x="2053899" y="830419"/>
                  <a:pt x="2061890" y="822427"/>
                  <a:pt x="2061890" y="812608"/>
                </a:cubicBezTo>
                <a:moveTo>
                  <a:pt x="1890250" y="825320"/>
                </a:moveTo>
                <a:cubicBezTo>
                  <a:pt x="1890250" y="816642"/>
                  <a:pt x="1883172" y="809564"/>
                  <a:pt x="1874494" y="809564"/>
                </a:cubicBezTo>
                <a:cubicBezTo>
                  <a:pt x="1865817" y="809564"/>
                  <a:pt x="1858738" y="816642"/>
                  <a:pt x="1858738" y="825320"/>
                </a:cubicBezTo>
                <a:cubicBezTo>
                  <a:pt x="1858738" y="833997"/>
                  <a:pt x="1865817" y="841076"/>
                  <a:pt x="1874494" y="841076"/>
                </a:cubicBezTo>
                <a:cubicBezTo>
                  <a:pt x="1883172" y="841076"/>
                  <a:pt x="1890250" y="833997"/>
                  <a:pt x="1890250" y="825320"/>
                </a:cubicBezTo>
                <a:moveTo>
                  <a:pt x="1719980" y="846480"/>
                </a:moveTo>
                <a:cubicBezTo>
                  <a:pt x="1719980" y="838640"/>
                  <a:pt x="1713662" y="832322"/>
                  <a:pt x="1705823" y="832322"/>
                </a:cubicBezTo>
                <a:cubicBezTo>
                  <a:pt x="1697983" y="832322"/>
                  <a:pt x="1691665" y="838640"/>
                  <a:pt x="1691665" y="846480"/>
                </a:cubicBezTo>
                <a:cubicBezTo>
                  <a:pt x="1691665" y="854320"/>
                  <a:pt x="1697983" y="860637"/>
                  <a:pt x="1705823" y="860637"/>
                </a:cubicBezTo>
                <a:cubicBezTo>
                  <a:pt x="1713662" y="860637"/>
                  <a:pt x="1719980" y="854243"/>
                  <a:pt x="1719980" y="846480"/>
                </a:cubicBezTo>
                <a:moveTo>
                  <a:pt x="1551004" y="875936"/>
                </a:moveTo>
                <a:cubicBezTo>
                  <a:pt x="1551004" y="869010"/>
                  <a:pt x="1545371" y="863301"/>
                  <a:pt x="1538369" y="863301"/>
                </a:cubicBezTo>
                <a:cubicBezTo>
                  <a:pt x="1531442" y="863301"/>
                  <a:pt x="1525733" y="868934"/>
                  <a:pt x="1525733" y="875936"/>
                </a:cubicBezTo>
                <a:cubicBezTo>
                  <a:pt x="1525733" y="882863"/>
                  <a:pt x="1531366" y="888572"/>
                  <a:pt x="1538369" y="888572"/>
                </a:cubicBezTo>
                <a:cubicBezTo>
                  <a:pt x="1545371" y="888572"/>
                  <a:pt x="1551004" y="882939"/>
                  <a:pt x="1551004" y="875936"/>
                </a:cubicBezTo>
                <a:moveTo>
                  <a:pt x="1383702" y="913766"/>
                </a:moveTo>
                <a:cubicBezTo>
                  <a:pt x="1383702" y="907677"/>
                  <a:pt x="1378755" y="902729"/>
                  <a:pt x="1372665" y="902729"/>
                </a:cubicBezTo>
                <a:cubicBezTo>
                  <a:pt x="1366576" y="902729"/>
                  <a:pt x="1361629" y="907677"/>
                  <a:pt x="1361629" y="913766"/>
                </a:cubicBezTo>
                <a:cubicBezTo>
                  <a:pt x="1361629" y="919855"/>
                  <a:pt x="1366576" y="924802"/>
                  <a:pt x="1372665" y="924802"/>
                </a:cubicBezTo>
                <a:cubicBezTo>
                  <a:pt x="1378755" y="924802"/>
                  <a:pt x="1383702" y="919855"/>
                  <a:pt x="1383702" y="913766"/>
                </a:cubicBezTo>
                <a:moveTo>
                  <a:pt x="1218455" y="959816"/>
                </a:moveTo>
                <a:cubicBezTo>
                  <a:pt x="1218455" y="954564"/>
                  <a:pt x="1214193" y="950377"/>
                  <a:pt x="1209017" y="950377"/>
                </a:cubicBezTo>
                <a:cubicBezTo>
                  <a:pt x="1203765" y="950377"/>
                  <a:pt x="1199579" y="954640"/>
                  <a:pt x="1199579" y="959816"/>
                </a:cubicBezTo>
                <a:cubicBezTo>
                  <a:pt x="1199579" y="965068"/>
                  <a:pt x="1203841" y="969254"/>
                  <a:pt x="1209017" y="969254"/>
                </a:cubicBezTo>
                <a:cubicBezTo>
                  <a:pt x="1214193" y="969330"/>
                  <a:pt x="1218455" y="965068"/>
                  <a:pt x="1218455" y="959816"/>
                </a:cubicBezTo>
                <a:moveTo>
                  <a:pt x="1055721" y="1014010"/>
                </a:moveTo>
                <a:cubicBezTo>
                  <a:pt x="1055721" y="1009671"/>
                  <a:pt x="1052220" y="1006094"/>
                  <a:pt x="1047881" y="1006094"/>
                </a:cubicBezTo>
                <a:cubicBezTo>
                  <a:pt x="1043542" y="1006094"/>
                  <a:pt x="1039965" y="1009595"/>
                  <a:pt x="1039965" y="1014010"/>
                </a:cubicBezTo>
                <a:cubicBezTo>
                  <a:pt x="1039965" y="1018348"/>
                  <a:pt x="1043466" y="1021850"/>
                  <a:pt x="1047881" y="1021850"/>
                </a:cubicBezTo>
                <a:cubicBezTo>
                  <a:pt x="1052220" y="1021850"/>
                  <a:pt x="1055721" y="1018348"/>
                  <a:pt x="1055721" y="1014010"/>
                </a:cubicBezTo>
                <a:moveTo>
                  <a:pt x="895878" y="1076120"/>
                </a:moveTo>
                <a:cubicBezTo>
                  <a:pt x="895878" y="1072619"/>
                  <a:pt x="893062" y="1069802"/>
                  <a:pt x="889561" y="1069802"/>
                </a:cubicBezTo>
                <a:cubicBezTo>
                  <a:pt x="886059" y="1069802"/>
                  <a:pt x="883243" y="1072619"/>
                  <a:pt x="883243" y="1076120"/>
                </a:cubicBezTo>
                <a:cubicBezTo>
                  <a:pt x="883243" y="1079621"/>
                  <a:pt x="886059" y="1082438"/>
                  <a:pt x="889561" y="1082438"/>
                </a:cubicBezTo>
                <a:cubicBezTo>
                  <a:pt x="893062" y="1082438"/>
                  <a:pt x="895878" y="1079545"/>
                  <a:pt x="895878" y="1076120"/>
                </a:cubicBezTo>
                <a:moveTo>
                  <a:pt x="739842" y="1145994"/>
                </a:moveTo>
                <a:cubicBezTo>
                  <a:pt x="739842" y="1143102"/>
                  <a:pt x="737482" y="1140742"/>
                  <a:pt x="734590" y="1140742"/>
                </a:cubicBezTo>
                <a:cubicBezTo>
                  <a:pt x="731697" y="1140742"/>
                  <a:pt x="729338" y="1143102"/>
                  <a:pt x="729338" y="1145994"/>
                </a:cubicBezTo>
                <a:cubicBezTo>
                  <a:pt x="729338" y="1148886"/>
                  <a:pt x="731697" y="1151246"/>
                  <a:pt x="734590" y="1151246"/>
                </a:cubicBezTo>
                <a:cubicBezTo>
                  <a:pt x="737482" y="1151246"/>
                  <a:pt x="739842" y="1148886"/>
                  <a:pt x="739842" y="1145994"/>
                </a:cubicBezTo>
                <a:moveTo>
                  <a:pt x="587535" y="1223556"/>
                </a:moveTo>
                <a:cubicBezTo>
                  <a:pt x="587535" y="1221272"/>
                  <a:pt x="585632" y="1219369"/>
                  <a:pt x="583348" y="1219369"/>
                </a:cubicBezTo>
                <a:cubicBezTo>
                  <a:pt x="580989" y="1219369"/>
                  <a:pt x="579162" y="1221272"/>
                  <a:pt x="579162" y="1223556"/>
                </a:cubicBezTo>
                <a:cubicBezTo>
                  <a:pt x="579162" y="1225839"/>
                  <a:pt x="581065" y="1227742"/>
                  <a:pt x="583348" y="1227742"/>
                </a:cubicBezTo>
                <a:cubicBezTo>
                  <a:pt x="585632" y="1227818"/>
                  <a:pt x="587535" y="1225915"/>
                  <a:pt x="587535" y="1223556"/>
                </a:cubicBezTo>
                <a:moveTo>
                  <a:pt x="439262" y="1308576"/>
                </a:moveTo>
                <a:cubicBezTo>
                  <a:pt x="439262" y="1306826"/>
                  <a:pt x="437816" y="1305456"/>
                  <a:pt x="436141" y="1305456"/>
                </a:cubicBezTo>
                <a:cubicBezTo>
                  <a:pt x="434390" y="1305456"/>
                  <a:pt x="433020" y="1306902"/>
                  <a:pt x="433020" y="1308576"/>
                </a:cubicBezTo>
                <a:cubicBezTo>
                  <a:pt x="433020" y="1310327"/>
                  <a:pt x="434467" y="1311697"/>
                  <a:pt x="436141" y="1311697"/>
                </a:cubicBezTo>
                <a:cubicBezTo>
                  <a:pt x="437816" y="1311773"/>
                  <a:pt x="439262" y="1310327"/>
                  <a:pt x="439262" y="1308576"/>
                </a:cubicBezTo>
                <a:moveTo>
                  <a:pt x="295404" y="1400828"/>
                </a:moveTo>
                <a:cubicBezTo>
                  <a:pt x="295404" y="1399687"/>
                  <a:pt x="294491" y="1398697"/>
                  <a:pt x="293273" y="1398697"/>
                </a:cubicBezTo>
                <a:cubicBezTo>
                  <a:pt x="292131" y="1398697"/>
                  <a:pt x="291142" y="1399611"/>
                  <a:pt x="291142" y="1400828"/>
                </a:cubicBezTo>
                <a:cubicBezTo>
                  <a:pt x="291142" y="1401970"/>
                  <a:pt x="292055" y="1402960"/>
                  <a:pt x="293273" y="1402960"/>
                </a:cubicBezTo>
                <a:cubicBezTo>
                  <a:pt x="294414" y="1402960"/>
                  <a:pt x="295404" y="1401970"/>
                  <a:pt x="295404" y="1400828"/>
                </a:cubicBezTo>
                <a:moveTo>
                  <a:pt x="5132843" y="6326639"/>
                </a:moveTo>
                <a:cubicBezTo>
                  <a:pt x="5132843" y="6325497"/>
                  <a:pt x="5131930" y="6324507"/>
                  <a:pt x="5130713" y="6324507"/>
                </a:cubicBezTo>
                <a:cubicBezTo>
                  <a:pt x="5129571" y="6324507"/>
                  <a:pt x="5128581" y="6325420"/>
                  <a:pt x="5128581" y="6326639"/>
                </a:cubicBezTo>
                <a:cubicBezTo>
                  <a:pt x="5128581" y="6327780"/>
                  <a:pt x="5129495" y="6328770"/>
                  <a:pt x="5130713" y="6328770"/>
                </a:cubicBezTo>
                <a:cubicBezTo>
                  <a:pt x="5131930" y="6328770"/>
                  <a:pt x="5132843" y="6327856"/>
                  <a:pt x="5132843" y="6326639"/>
                </a:cubicBezTo>
                <a:moveTo>
                  <a:pt x="5229739" y="6186586"/>
                </a:moveTo>
                <a:cubicBezTo>
                  <a:pt x="5229739" y="6185140"/>
                  <a:pt x="5228521" y="6183922"/>
                  <a:pt x="5227074" y="6183922"/>
                </a:cubicBezTo>
                <a:cubicBezTo>
                  <a:pt x="5225628" y="6183922"/>
                  <a:pt x="5224487" y="6185140"/>
                  <a:pt x="5224487" y="6186586"/>
                </a:cubicBezTo>
                <a:cubicBezTo>
                  <a:pt x="5224487" y="6188032"/>
                  <a:pt x="5225628" y="6189174"/>
                  <a:pt x="5227074" y="6189174"/>
                </a:cubicBezTo>
                <a:cubicBezTo>
                  <a:pt x="5228521" y="6189174"/>
                  <a:pt x="5229739" y="6188032"/>
                  <a:pt x="5229739" y="6186586"/>
                </a:cubicBezTo>
                <a:moveTo>
                  <a:pt x="5320316" y="6042119"/>
                </a:moveTo>
                <a:cubicBezTo>
                  <a:pt x="5320316" y="6040064"/>
                  <a:pt x="5318641" y="6038466"/>
                  <a:pt x="5316662" y="6038466"/>
                </a:cubicBezTo>
                <a:cubicBezTo>
                  <a:pt x="5314607" y="6038466"/>
                  <a:pt x="5313009" y="6040140"/>
                  <a:pt x="5313009" y="6042119"/>
                </a:cubicBezTo>
                <a:cubicBezTo>
                  <a:pt x="5313009" y="6044098"/>
                  <a:pt x="5314683" y="6045772"/>
                  <a:pt x="5316662" y="6045772"/>
                </a:cubicBezTo>
                <a:cubicBezTo>
                  <a:pt x="5318717" y="6045772"/>
                  <a:pt x="5320316" y="6044098"/>
                  <a:pt x="5320316" y="6042119"/>
                </a:cubicBezTo>
                <a:moveTo>
                  <a:pt x="5404043" y="5893542"/>
                </a:moveTo>
                <a:cubicBezTo>
                  <a:pt x="5404043" y="5890954"/>
                  <a:pt x="5401912" y="5888822"/>
                  <a:pt x="5399323" y="5888822"/>
                </a:cubicBezTo>
                <a:cubicBezTo>
                  <a:pt x="5396736" y="5888822"/>
                  <a:pt x="5394604" y="5890954"/>
                  <a:pt x="5394604" y="5893542"/>
                </a:cubicBezTo>
                <a:cubicBezTo>
                  <a:pt x="5394604" y="5896130"/>
                  <a:pt x="5396736" y="5898261"/>
                  <a:pt x="5399323" y="5898261"/>
                </a:cubicBezTo>
                <a:cubicBezTo>
                  <a:pt x="5401988" y="5898261"/>
                  <a:pt x="5404043" y="5896130"/>
                  <a:pt x="5404043" y="5893542"/>
                </a:cubicBezTo>
                <a:moveTo>
                  <a:pt x="5481224" y="5741235"/>
                </a:moveTo>
                <a:cubicBezTo>
                  <a:pt x="5481224" y="5737734"/>
                  <a:pt x="5478407" y="5734917"/>
                  <a:pt x="5474906" y="5734917"/>
                </a:cubicBezTo>
                <a:cubicBezTo>
                  <a:pt x="5471405" y="5734917"/>
                  <a:pt x="5468589" y="5737734"/>
                  <a:pt x="5468589" y="5741235"/>
                </a:cubicBezTo>
                <a:cubicBezTo>
                  <a:pt x="5468589" y="5744736"/>
                  <a:pt x="5471405" y="5747552"/>
                  <a:pt x="5474906" y="5747552"/>
                </a:cubicBezTo>
                <a:cubicBezTo>
                  <a:pt x="5478407" y="5747552"/>
                  <a:pt x="5481224" y="5744736"/>
                  <a:pt x="5481224" y="5741235"/>
                </a:cubicBezTo>
                <a:moveTo>
                  <a:pt x="5550565" y="5585579"/>
                </a:moveTo>
                <a:cubicBezTo>
                  <a:pt x="5550565" y="5581545"/>
                  <a:pt x="5547292" y="5578195"/>
                  <a:pt x="5543182" y="5578195"/>
                </a:cubicBezTo>
                <a:cubicBezTo>
                  <a:pt x="5539147" y="5578195"/>
                  <a:pt x="5535799" y="5581468"/>
                  <a:pt x="5535799" y="5585579"/>
                </a:cubicBezTo>
                <a:cubicBezTo>
                  <a:pt x="5535799" y="5589613"/>
                  <a:pt x="5539072" y="5592962"/>
                  <a:pt x="5543182" y="5592962"/>
                </a:cubicBezTo>
                <a:cubicBezTo>
                  <a:pt x="5547292" y="5592886"/>
                  <a:pt x="5550565" y="5589613"/>
                  <a:pt x="5550565" y="5585579"/>
                </a:cubicBezTo>
                <a:moveTo>
                  <a:pt x="5612980" y="5426802"/>
                </a:moveTo>
                <a:cubicBezTo>
                  <a:pt x="5612980" y="5421854"/>
                  <a:pt x="5609022" y="5417896"/>
                  <a:pt x="5604074" y="5417896"/>
                </a:cubicBezTo>
                <a:cubicBezTo>
                  <a:pt x="5599126" y="5417896"/>
                  <a:pt x="5595169" y="5421931"/>
                  <a:pt x="5595169" y="5426802"/>
                </a:cubicBezTo>
                <a:cubicBezTo>
                  <a:pt x="5595169" y="5431749"/>
                  <a:pt x="5599126" y="5435708"/>
                  <a:pt x="5604074" y="5435708"/>
                </a:cubicBezTo>
                <a:cubicBezTo>
                  <a:pt x="5609022" y="5435708"/>
                  <a:pt x="5612980" y="5431749"/>
                  <a:pt x="5612980" y="5426802"/>
                </a:cubicBezTo>
                <a:moveTo>
                  <a:pt x="5667859" y="5265361"/>
                </a:moveTo>
                <a:cubicBezTo>
                  <a:pt x="5667859" y="5259576"/>
                  <a:pt x="5663140" y="5254857"/>
                  <a:pt x="5657355" y="5254857"/>
                </a:cubicBezTo>
                <a:cubicBezTo>
                  <a:pt x="5651570" y="5254857"/>
                  <a:pt x="5646851" y="5259576"/>
                  <a:pt x="5646851" y="5265361"/>
                </a:cubicBezTo>
                <a:cubicBezTo>
                  <a:pt x="5646851" y="5271146"/>
                  <a:pt x="5651570" y="5275865"/>
                  <a:pt x="5657355" y="5275865"/>
                </a:cubicBezTo>
                <a:cubicBezTo>
                  <a:pt x="5663216" y="5275865"/>
                  <a:pt x="5667859" y="5271146"/>
                  <a:pt x="5667859" y="5265361"/>
                </a:cubicBezTo>
                <a:moveTo>
                  <a:pt x="5715051" y="5101561"/>
                </a:moveTo>
                <a:cubicBezTo>
                  <a:pt x="5715051" y="5094862"/>
                  <a:pt x="5709646" y="5089458"/>
                  <a:pt x="5702948" y="5089458"/>
                </a:cubicBezTo>
                <a:cubicBezTo>
                  <a:pt x="5696250" y="5089458"/>
                  <a:pt x="5690846" y="5094862"/>
                  <a:pt x="5690846" y="5101561"/>
                </a:cubicBezTo>
                <a:cubicBezTo>
                  <a:pt x="5690846" y="5108259"/>
                  <a:pt x="5696250" y="5113663"/>
                  <a:pt x="5702948" y="5113663"/>
                </a:cubicBezTo>
                <a:cubicBezTo>
                  <a:pt x="5709646" y="5113663"/>
                  <a:pt x="5715051" y="5108259"/>
                  <a:pt x="5715051" y="5101561"/>
                </a:cubicBezTo>
                <a:moveTo>
                  <a:pt x="5754478" y="4935857"/>
                </a:moveTo>
                <a:cubicBezTo>
                  <a:pt x="5754478" y="4928322"/>
                  <a:pt x="5748390" y="4922233"/>
                  <a:pt x="5740778" y="4922233"/>
                </a:cubicBezTo>
                <a:cubicBezTo>
                  <a:pt x="5733242" y="4922233"/>
                  <a:pt x="5727153" y="4928322"/>
                  <a:pt x="5727153" y="4935857"/>
                </a:cubicBezTo>
                <a:cubicBezTo>
                  <a:pt x="5727153" y="4943393"/>
                  <a:pt x="5733242" y="4949558"/>
                  <a:pt x="5740778" y="4949558"/>
                </a:cubicBezTo>
                <a:cubicBezTo>
                  <a:pt x="5748390" y="4949482"/>
                  <a:pt x="5754478" y="4943393"/>
                  <a:pt x="5754478" y="4935857"/>
                </a:cubicBezTo>
                <a:moveTo>
                  <a:pt x="5786523" y="4768479"/>
                </a:moveTo>
                <a:cubicBezTo>
                  <a:pt x="5786523" y="4759802"/>
                  <a:pt x="5779444" y="4752724"/>
                  <a:pt x="5770767" y="4752724"/>
                </a:cubicBezTo>
                <a:cubicBezTo>
                  <a:pt x="5762090" y="4752724"/>
                  <a:pt x="5755012" y="4759802"/>
                  <a:pt x="5755012" y="4768479"/>
                </a:cubicBezTo>
                <a:cubicBezTo>
                  <a:pt x="5755012" y="4777157"/>
                  <a:pt x="5762090" y="4784235"/>
                  <a:pt x="5770767" y="4784235"/>
                </a:cubicBezTo>
                <a:cubicBezTo>
                  <a:pt x="5779521" y="4784235"/>
                  <a:pt x="5786523" y="4777157"/>
                  <a:pt x="5786523" y="4768479"/>
                </a:cubicBezTo>
                <a:moveTo>
                  <a:pt x="5810119" y="4599884"/>
                </a:moveTo>
                <a:cubicBezTo>
                  <a:pt x="5810119" y="4590293"/>
                  <a:pt x="5802355" y="4582530"/>
                  <a:pt x="5792765" y="4582530"/>
                </a:cubicBezTo>
                <a:cubicBezTo>
                  <a:pt x="5783174" y="4582530"/>
                  <a:pt x="5775410" y="4590293"/>
                  <a:pt x="5775410" y="4599884"/>
                </a:cubicBezTo>
                <a:cubicBezTo>
                  <a:pt x="5775410" y="4609474"/>
                  <a:pt x="5783174" y="4617238"/>
                  <a:pt x="5792765" y="4617238"/>
                </a:cubicBezTo>
                <a:cubicBezTo>
                  <a:pt x="5802355" y="4617238"/>
                  <a:pt x="5810119" y="4609474"/>
                  <a:pt x="5810119" y="4599884"/>
                </a:cubicBezTo>
                <a:moveTo>
                  <a:pt x="5826256" y="4430451"/>
                </a:moveTo>
                <a:cubicBezTo>
                  <a:pt x="5826256" y="4419719"/>
                  <a:pt x="5817578" y="4411042"/>
                  <a:pt x="5806846" y="4411042"/>
                </a:cubicBezTo>
                <a:cubicBezTo>
                  <a:pt x="5796113" y="4411042"/>
                  <a:pt x="5787436" y="4419719"/>
                  <a:pt x="5787436" y="4430451"/>
                </a:cubicBezTo>
                <a:cubicBezTo>
                  <a:pt x="5787436" y="4441183"/>
                  <a:pt x="5796113" y="4449860"/>
                  <a:pt x="5806846" y="4449860"/>
                </a:cubicBezTo>
                <a:cubicBezTo>
                  <a:pt x="5817578" y="4449860"/>
                  <a:pt x="5826256" y="4441183"/>
                  <a:pt x="5826256" y="4430451"/>
                </a:cubicBezTo>
                <a:moveTo>
                  <a:pt x="5833867" y="4260561"/>
                </a:moveTo>
                <a:cubicBezTo>
                  <a:pt x="5833867" y="4248992"/>
                  <a:pt x="5824429" y="4239553"/>
                  <a:pt x="5812859" y="4239553"/>
                </a:cubicBezTo>
                <a:cubicBezTo>
                  <a:pt x="5801289" y="4239553"/>
                  <a:pt x="5791851" y="4248992"/>
                  <a:pt x="5791851" y="4260561"/>
                </a:cubicBezTo>
                <a:cubicBezTo>
                  <a:pt x="5791851" y="4272131"/>
                  <a:pt x="5801289" y="4281569"/>
                  <a:pt x="5812859" y="4281569"/>
                </a:cubicBezTo>
                <a:cubicBezTo>
                  <a:pt x="5824505" y="4281569"/>
                  <a:pt x="5833867" y="4272131"/>
                  <a:pt x="5833867" y="4260561"/>
                </a:cubicBezTo>
                <a:moveTo>
                  <a:pt x="5833943" y="4090519"/>
                </a:moveTo>
                <a:cubicBezTo>
                  <a:pt x="5833943" y="4077732"/>
                  <a:pt x="5823591" y="4067380"/>
                  <a:pt x="5810804" y="4067380"/>
                </a:cubicBezTo>
                <a:cubicBezTo>
                  <a:pt x="5798016" y="4067380"/>
                  <a:pt x="5787665" y="4077732"/>
                  <a:pt x="5787665" y="4090519"/>
                </a:cubicBezTo>
                <a:cubicBezTo>
                  <a:pt x="5787665" y="4103307"/>
                  <a:pt x="5798016" y="4113659"/>
                  <a:pt x="5810804" y="4113659"/>
                </a:cubicBezTo>
                <a:cubicBezTo>
                  <a:pt x="5823667" y="4113659"/>
                  <a:pt x="5833943" y="4103307"/>
                  <a:pt x="5833943" y="4090519"/>
                </a:cubicBezTo>
                <a:moveTo>
                  <a:pt x="5826027" y="3920858"/>
                </a:moveTo>
                <a:cubicBezTo>
                  <a:pt x="5826027" y="3906929"/>
                  <a:pt x="5814762" y="3895664"/>
                  <a:pt x="5800832" y="3895664"/>
                </a:cubicBezTo>
                <a:cubicBezTo>
                  <a:pt x="5786904" y="3895664"/>
                  <a:pt x="5775639" y="3906929"/>
                  <a:pt x="5775639" y="3920858"/>
                </a:cubicBezTo>
                <a:cubicBezTo>
                  <a:pt x="5775639" y="3934787"/>
                  <a:pt x="5786904" y="3946052"/>
                  <a:pt x="5800832" y="3946052"/>
                </a:cubicBezTo>
                <a:cubicBezTo>
                  <a:pt x="5814762" y="3946052"/>
                  <a:pt x="5826027" y="3934787"/>
                  <a:pt x="5826027" y="3920858"/>
                </a:cubicBezTo>
                <a:moveTo>
                  <a:pt x="5809586" y="3751806"/>
                </a:moveTo>
                <a:cubicBezTo>
                  <a:pt x="5809586" y="3737039"/>
                  <a:pt x="5797560" y="3725013"/>
                  <a:pt x="5782793" y="3725013"/>
                </a:cubicBezTo>
                <a:cubicBezTo>
                  <a:pt x="5768027" y="3725013"/>
                  <a:pt x="5756001" y="3737039"/>
                  <a:pt x="5756001" y="3751806"/>
                </a:cubicBezTo>
                <a:cubicBezTo>
                  <a:pt x="5756001" y="3766572"/>
                  <a:pt x="5768027" y="3778598"/>
                  <a:pt x="5782793" y="3778598"/>
                </a:cubicBezTo>
                <a:cubicBezTo>
                  <a:pt x="5797560" y="3778598"/>
                  <a:pt x="5809586" y="3766572"/>
                  <a:pt x="5809586" y="3751806"/>
                </a:cubicBezTo>
                <a:moveTo>
                  <a:pt x="5785685" y="3583743"/>
                </a:moveTo>
                <a:cubicBezTo>
                  <a:pt x="5785685" y="3567758"/>
                  <a:pt x="5772746" y="3554819"/>
                  <a:pt x="5756762" y="3554819"/>
                </a:cubicBezTo>
                <a:cubicBezTo>
                  <a:pt x="5740778" y="3554819"/>
                  <a:pt x="5727838" y="3567758"/>
                  <a:pt x="5727838" y="3583743"/>
                </a:cubicBezTo>
                <a:cubicBezTo>
                  <a:pt x="5727838" y="3599727"/>
                  <a:pt x="5740778" y="3612667"/>
                  <a:pt x="5756762" y="3612667"/>
                </a:cubicBezTo>
                <a:cubicBezTo>
                  <a:pt x="5772746" y="3612667"/>
                  <a:pt x="5785685" y="3599727"/>
                  <a:pt x="5785685" y="3583743"/>
                </a:cubicBezTo>
                <a:moveTo>
                  <a:pt x="5753336" y="3417202"/>
                </a:moveTo>
                <a:cubicBezTo>
                  <a:pt x="5753336" y="3400381"/>
                  <a:pt x="5739712" y="3386756"/>
                  <a:pt x="5722890" y="3386756"/>
                </a:cubicBezTo>
                <a:cubicBezTo>
                  <a:pt x="5706069" y="3386756"/>
                  <a:pt x="5692444" y="3400381"/>
                  <a:pt x="5692444" y="3417202"/>
                </a:cubicBezTo>
                <a:cubicBezTo>
                  <a:pt x="5692444" y="3434024"/>
                  <a:pt x="5706069" y="3447648"/>
                  <a:pt x="5722890" y="3447648"/>
                </a:cubicBezTo>
                <a:cubicBezTo>
                  <a:pt x="5739712" y="3447648"/>
                  <a:pt x="5753336" y="3434024"/>
                  <a:pt x="5753336" y="3417202"/>
                </a:cubicBezTo>
                <a:moveTo>
                  <a:pt x="5713223" y="3252336"/>
                </a:moveTo>
                <a:cubicBezTo>
                  <a:pt x="5713223" y="3234678"/>
                  <a:pt x="5698838" y="3220292"/>
                  <a:pt x="5681179" y="3220292"/>
                </a:cubicBezTo>
                <a:cubicBezTo>
                  <a:pt x="5663445" y="3220292"/>
                  <a:pt x="5649135" y="3234601"/>
                  <a:pt x="5649135" y="3252336"/>
                </a:cubicBezTo>
                <a:cubicBezTo>
                  <a:pt x="5649135" y="3270071"/>
                  <a:pt x="5663445" y="3284381"/>
                  <a:pt x="5681179" y="3284381"/>
                </a:cubicBezTo>
                <a:cubicBezTo>
                  <a:pt x="5698838" y="3284381"/>
                  <a:pt x="5713223" y="3270071"/>
                  <a:pt x="5713223" y="3252336"/>
                </a:cubicBezTo>
                <a:moveTo>
                  <a:pt x="5665271" y="3089677"/>
                </a:moveTo>
                <a:cubicBezTo>
                  <a:pt x="5665271" y="3071105"/>
                  <a:pt x="5650201" y="3056035"/>
                  <a:pt x="5631628" y="3056035"/>
                </a:cubicBezTo>
                <a:cubicBezTo>
                  <a:pt x="5613056" y="3056035"/>
                  <a:pt x="5597985" y="3071105"/>
                  <a:pt x="5597985" y="3089677"/>
                </a:cubicBezTo>
                <a:cubicBezTo>
                  <a:pt x="5597985" y="3108250"/>
                  <a:pt x="5613056" y="3123321"/>
                  <a:pt x="5631628" y="3123321"/>
                </a:cubicBezTo>
                <a:cubicBezTo>
                  <a:pt x="5650277" y="3123321"/>
                  <a:pt x="5665271" y="3108250"/>
                  <a:pt x="5665271" y="3089677"/>
                </a:cubicBezTo>
                <a:moveTo>
                  <a:pt x="5609783" y="2929531"/>
                </a:moveTo>
                <a:cubicBezTo>
                  <a:pt x="5609783" y="2910121"/>
                  <a:pt x="5594027" y="2894365"/>
                  <a:pt x="5574618" y="2894365"/>
                </a:cubicBezTo>
                <a:cubicBezTo>
                  <a:pt x="5555209" y="2894365"/>
                  <a:pt x="5539452" y="2910121"/>
                  <a:pt x="5539452" y="2929531"/>
                </a:cubicBezTo>
                <a:cubicBezTo>
                  <a:pt x="5539452" y="2948940"/>
                  <a:pt x="5555209" y="2964696"/>
                  <a:pt x="5574618" y="2964696"/>
                </a:cubicBezTo>
                <a:cubicBezTo>
                  <a:pt x="5594027" y="2964772"/>
                  <a:pt x="5609783" y="2949016"/>
                  <a:pt x="5609783" y="2929531"/>
                </a:cubicBezTo>
                <a:moveTo>
                  <a:pt x="5546759" y="2772276"/>
                </a:moveTo>
                <a:cubicBezTo>
                  <a:pt x="5546759" y="2751953"/>
                  <a:pt x="5530319" y="2735512"/>
                  <a:pt x="5509996" y="2735512"/>
                </a:cubicBezTo>
                <a:cubicBezTo>
                  <a:pt x="5489672" y="2735512"/>
                  <a:pt x="5473232" y="2751953"/>
                  <a:pt x="5473232" y="2772276"/>
                </a:cubicBezTo>
                <a:cubicBezTo>
                  <a:pt x="5473232" y="2792599"/>
                  <a:pt x="5489672" y="2809040"/>
                  <a:pt x="5509996" y="2809040"/>
                </a:cubicBezTo>
                <a:cubicBezTo>
                  <a:pt x="5530319" y="2809040"/>
                  <a:pt x="5546759" y="2792599"/>
                  <a:pt x="5546759" y="2772276"/>
                </a:cubicBezTo>
                <a:moveTo>
                  <a:pt x="5475896" y="2618295"/>
                </a:moveTo>
                <a:cubicBezTo>
                  <a:pt x="5475896" y="2597439"/>
                  <a:pt x="5458922" y="2580465"/>
                  <a:pt x="5438067" y="2580465"/>
                </a:cubicBezTo>
                <a:cubicBezTo>
                  <a:pt x="5417211" y="2580465"/>
                  <a:pt x="5400237" y="2597363"/>
                  <a:pt x="5400237" y="2618295"/>
                </a:cubicBezTo>
                <a:cubicBezTo>
                  <a:pt x="5400237" y="2639150"/>
                  <a:pt x="5417135" y="2656124"/>
                  <a:pt x="5438067" y="2656124"/>
                </a:cubicBezTo>
                <a:cubicBezTo>
                  <a:pt x="5458999" y="2656124"/>
                  <a:pt x="5475896" y="2639150"/>
                  <a:pt x="5475896" y="2618295"/>
                </a:cubicBezTo>
                <a:moveTo>
                  <a:pt x="5397725" y="2467815"/>
                </a:moveTo>
                <a:cubicBezTo>
                  <a:pt x="5397725" y="2446350"/>
                  <a:pt x="5380295" y="2428919"/>
                  <a:pt x="5358830" y="2428919"/>
                </a:cubicBezTo>
                <a:cubicBezTo>
                  <a:pt x="5337366" y="2428919"/>
                  <a:pt x="5319936" y="2446350"/>
                  <a:pt x="5319936" y="2467815"/>
                </a:cubicBezTo>
                <a:cubicBezTo>
                  <a:pt x="5319936" y="2489279"/>
                  <a:pt x="5337366" y="2506709"/>
                  <a:pt x="5358830" y="2506709"/>
                </a:cubicBezTo>
                <a:cubicBezTo>
                  <a:pt x="5380371" y="2506633"/>
                  <a:pt x="5397725" y="2489279"/>
                  <a:pt x="5397725" y="2467815"/>
                </a:cubicBezTo>
                <a:moveTo>
                  <a:pt x="5312629" y="2321216"/>
                </a:moveTo>
                <a:cubicBezTo>
                  <a:pt x="5312629" y="2299143"/>
                  <a:pt x="5294741" y="2281332"/>
                  <a:pt x="5272743" y="2281332"/>
                </a:cubicBezTo>
                <a:cubicBezTo>
                  <a:pt x="5250671" y="2281332"/>
                  <a:pt x="5232783" y="2299219"/>
                  <a:pt x="5232783" y="2321216"/>
                </a:cubicBezTo>
                <a:cubicBezTo>
                  <a:pt x="5232783" y="2343290"/>
                  <a:pt x="5250671" y="2361101"/>
                  <a:pt x="5272743" y="2361101"/>
                </a:cubicBezTo>
                <a:cubicBezTo>
                  <a:pt x="5294741" y="2361177"/>
                  <a:pt x="5312629" y="2343290"/>
                  <a:pt x="5312629" y="2321216"/>
                </a:cubicBezTo>
                <a:moveTo>
                  <a:pt x="5220148" y="2178880"/>
                </a:moveTo>
                <a:cubicBezTo>
                  <a:pt x="5220148" y="2156578"/>
                  <a:pt x="5202033" y="2138463"/>
                  <a:pt x="5179731" y="2138463"/>
                </a:cubicBezTo>
                <a:cubicBezTo>
                  <a:pt x="5157429" y="2138463"/>
                  <a:pt x="5139314" y="2156578"/>
                  <a:pt x="5139314" y="2178880"/>
                </a:cubicBezTo>
                <a:cubicBezTo>
                  <a:pt x="5139314" y="2201258"/>
                  <a:pt x="5157429" y="2219298"/>
                  <a:pt x="5179731" y="2219298"/>
                </a:cubicBezTo>
                <a:cubicBezTo>
                  <a:pt x="5202033" y="2219298"/>
                  <a:pt x="5220148" y="2201258"/>
                  <a:pt x="5220148" y="2178880"/>
                </a:cubicBezTo>
                <a:moveTo>
                  <a:pt x="5121122" y="2041111"/>
                </a:moveTo>
                <a:cubicBezTo>
                  <a:pt x="5121122" y="2018505"/>
                  <a:pt x="5102778" y="2000161"/>
                  <a:pt x="5080172" y="2000161"/>
                </a:cubicBezTo>
                <a:cubicBezTo>
                  <a:pt x="5057566" y="2000161"/>
                  <a:pt x="5039222" y="2018505"/>
                  <a:pt x="5039222" y="2041111"/>
                </a:cubicBezTo>
                <a:cubicBezTo>
                  <a:pt x="5039222" y="2063718"/>
                  <a:pt x="5057566" y="2082061"/>
                  <a:pt x="5080172" y="2082061"/>
                </a:cubicBezTo>
                <a:cubicBezTo>
                  <a:pt x="5102778" y="2082061"/>
                  <a:pt x="5121122" y="2063718"/>
                  <a:pt x="5121122" y="2041111"/>
                </a:cubicBezTo>
                <a:moveTo>
                  <a:pt x="5015626" y="1908214"/>
                </a:moveTo>
                <a:cubicBezTo>
                  <a:pt x="5015626" y="1885303"/>
                  <a:pt x="4997054" y="1866731"/>
                  <a:pt x="4974143" y="1866731"/>
                </a:cubicBezTo>
                <a:cubicBezTo>
                  <a:pt x="4951232" y="1866731"/>
                  <a:pt x="4932660" y="1885303"/>
                  <a:pt x="4932660" y="1908214"/>
                </a:cubicBezTo>
                <a:cubicBezTo>
                  <a:pt x="4932660" y="1931125"/>
                  <a:pt x="4951232" y="1949697"/>
                  <a:pt x="4974143" y="1949697"/>
                </a:cubicBezTo>
                <a:cubicBezTo>
                  <a:pt x="4997054" y="1949697"/>
                  <a:pt x="5015626" y="1931125"/>
                  <a:pt x="5015626" y="1908214"/>
                </a:cubicBezTo>
                <a:moveTo>
                  <a:pt x="4903965" y="1780416"/>
                </a:moveTo>
                <a:cubicBezTo>
                  <a:pt x="4903965" y="1757201"/>
                  <a:pt x="4885164" y="1738400"/>
                  <a:pt x="4861949" y="1738400"/>
                </a:cubicBezTo>
                <a:cubicBezTo>
                  <a:pt x="4838734" y="1738400"/>
                  <a:pt x="4819933" y="1757201"/>
                  <a:pt x="4819933" y="1780416"/>
                </a:cubicBezTo>
                <a:cubicBezTo>
                  <a:pt x="4819933" y="1803631"/>
                  <a:pt x="4838734" y="1822432"/>
                  <a:pt x="4861949" y="1822432"/>
                </a:cubicBezTo>
                <a:cubicBezTo>
                  <a:pt x="4885164" y="1822432"/>
                  <a:pt x="4903965" y="1803631"/>
                  <a:pt x="4903965" y="1780416"/>
                </a:cubicBezTo>
                <a:moveTo>
                  <a:pt x="4785910" y="1658099"/>
                </a:moveTo>
                <a:cubicBezTo>
                  <a:pt x="4785910" y="1634883"/>
                  <a:pt x="4767109" y="1616083"/>
                  <a:pt x="4743894" y="1616083"/>
                </a:cubicBezTo>
                <a:cubicBezTo>
                  <a:pt x="4720679" y="1616083"/>
                  <a:pt x="4701878" y="1634883"/>
                  <a:pt x="4701878" y="1658099"/>
                </a:cubicBezTo>
                <a:cubicBezTo>
                  <a:pt x="4701878" y="1681314"/>
                  <a:pt x="4720679" y="1700114"/>
                  <a:pt x="4743894" y="1700114"/>
                </a:cubicBezTo>
                <a:cubicBezTo>
                  <a:pt x="4767109" y="1700114"/>
                  <a:pt x="4785910" y="1681314"/>
                  <a:pt x="4785910" y="1658099"/>
                </a:cubicBezTo>
                <a:moveTo>
                  <a:pt x="4661690" y="1541490"/>
                </a:moveTo>
                <a:cubicBezTo>
                  <a:pt x="4661690" y="1518579"/>
                  <a:pt x="4643117" y="1500007"/>
                  <a:pt x="4620206" y="1500007"/>
                </a:cubicBezTo>
                <a:cubicBezTo>
                  <a:pt x="4597295" y="1500007"/>
                  <a:pt x="4578724" y="1518579"/>
                  <a:pt x="4578724" y="1541490"/>
                </a:cubicBezTo>
                <a:cubicBezTo>
                  <a:pt x="4578724" y="1564400"/>
                  <a:pt x="4597295" y="1582973"/>
                  <a:pt x="4620206" y="1582973"/>
                </a:cubicBezTo>
                <a:cubicBezTo>
                  <a:pt x="4643117" y="1582973"/>
                  <a:pt x="4661690" y="1564400"/>
                  <a:pt x="4661690" y="1541490"/>
                </a:cubicBezTo>
                <a:moveTo>
                  <a:pt x="4532597" y="1430818"/>
                </a:moveTo>
                <a:cubicBezTo>
                  <a:pt x="4532597" y="1407907"/>
                  <a:pt x="4514025" y="1389335"/>
                  <a:pt x="4491115" y="1389335"/>
                </a:cubicBezTo>
                <a:cubicBezTo>
                  <a:pt x="4468204" y="1389335"/>
                  <a:pt x="4449632" y="1407907"/>
                  <a:pt x="4449632" y="1430818"/>
                </a:cubicBezTo>
                <a:cubicBezTo>
                  <a:pt x="4449632" y="1453729"/>
                  <a:pt x="4468204" y="1472301"/>
                  <a:pt x="4491115" y="1472301"/>
                </a:cubicBezTo>
                <a:cubicBezTo>
                  <a:pt x="4514025" y="1472377"/>
                  <a:pt x="4532597" y="1453729"/>
                  <a:pt x="4532597" y="1430818"/>
                </a:cubicBezTo>
                <a:moveTo>
                  <a:pt x="4397873" y="1326388"/>
                </a:moveTo>
                <a:cubicBezTo>
                  <a:pt x="4397873" y="1303781"/>
                  <a:pt x="4379529" y="1285437"/>
                  <a:pt x="4356923" y="1285437"/>
                </a:cubicBezTo>
                <a:cubicBezTo>
                  <a:pt x="4334317" y="1285437"/>
                  <a:pt x="4315973" y="1303781"/>
                  <a:pt x="4315973" y="1326388"/>
                </a:cubicBezTo>
                <a:cubicBezTo>
                  <a:pt x="4315973" y="1348994"/>
                  <a:pt x="4334317" y="1367338"/>
                  <a:pt x="4356923" y="1367338"/>
                </a:cubicBezTo>
                <a:cubicBezTo>
                  <a:pt x="4379529" y="1367414"/>
                  <a:pt x="4397873" y="1349070"/>
                  <a:pt x="4397873" y="1326388"/>
                </a:cubicBezTo>
                <a:moveTo>
                  <a:pt x="4258430" y="1228427"/>
                </a:moveTo>
                <a:cubicBezTo>
                  <a:pt x="4258430" y="1206125"/>
                  <a:pt x="4240315" y="1188010"/>
                  <a:pt x="4218012" y="1188010"/>
                </a:cubicBezTo>
                <a:cubicBezTo>
                  <a:pt x="4195710" y="1188010"/>
                  <a:pt x="4177595" y="1206125"/>
                  <a:pt x="4177595" y="1228427"/>
                </a:cubicBezTo>
                <a:cubicBezTo>
                  <a:pt x="4177595" y="1250729"/>
                  <a:pt x="4195710" y="1268844"/>
                  <a:pt x="4218012" y="1268844"/>
                </a:cubicBezTo>
                <a:cubicBezTo>
                  <a:pt x="4240315" y="1268920"/>
                  <a:pt x="4258430" y="1250805"/>
                  <a:pt x="4258430" y="1228427"/>
                </a:cubicBezTo>
                <a:moveTo>
                  <a:pt x="4113962" y="1137165"/>
                </a:moveTo>
                <a:cubicBezTo>
                  <a:pt x="4113962" y="1115396"/>
                  <a:pt x="4096304" y="1097737"/>
                  <a:pt x="4074535" y="1097737"/>
                </a:cubicBezTo>
                <a:cubicBezTo>
                  <a:pt x="4052766" y="1097737"/>
                  <a:pt x="4035107" y="1115396"/>
                  <a:pt x="4035107" y="1137165"/>
                </a:cubicBezTo>
                <a:cubicBezTo>
                  <a:pt x="4035107" y="1158934"/>
                  <a:pt x="4052766" y="1176592"/>
                  <a:pt x="4074535" y="1176592"/>
                </a:cubicBezTo>
                <a:cubicBezTo>
                  <a:pt x="4096304" y="1176516"/>
                  <a:pt x="4113962" y="1158934"/>
                  <a:pt x="4113962" y="1137165"/>
                </a:cubicBezTo>
                <a:moveTo>
                  <a:pt x="3965842" y="1052753"/>
                </a:moveTo>
                <a:cubicBezTo>
                  <a:pt x="3965842" y="1031288"/>
                  <a:pt x="3948411" y="1013858"/>
                  <a:pt x="3926947" y="1013858"/>
                </a:cubicBezTo>
                <a:cubicBezTo>
                  <a:pt x="3905482" y="1013858"/>
                  <a:pt x="3888052" y="1031288"/>
                  <a:pt x="3888052" y="1052753"/>
                </a:cubicBezTo>
                <a:cubicBezTo>
                  <a:pt x="3888052" y="1074217"/>
                  <a:pt x="3905482" y="1091647"/>
                  <a:pt x="3926947" y="1091647"/>
                </a:cubicBezTo>
                <a:cubicBezTo>
                  <a:pt x="3948487" y="1091571"/>
                  <a:pt x="3965842" y="1074217"/>
                  <a:pt x="3965842" y="1052753"/>
                </a:cubicBezTo>
                <a:moveTo>
                  <a:pt x="3813459" y="975343"/>
                </a:moveTo>
                <a:cubicBezTo>
                  <a:pt x="3813459" y="954488"/>
                  <a:pt x="3796485" y="937514"/>
                  <a:pt x="3775629" y="937514"/>
                </a:cubicBezTo>
                <a:cubicBezTo>
                  <a:pt x="3754774" y="937514"/>
                  <a:pt x="3737800" y="954488"/>
                  <a:pt x="3737800" y="975343"/>
                </a:cubicBezTo>
                <a:cubicBezTo>
                  <a:pt x="3737800" y="996199"/>
                  <a:pt x="3754698" y="1013172"/>
                  <a:pt x="3775629" y="1013172"/>
                </a:cubicBezTo>
                <a:cubicBezTo>
                  <a:pt x="3796485" y="1013172"/>
                  <a:pt x="3813459" y="996275"/>
                  <a:pt x="3813459" y="975343"/>
                </a:cubicBezTo>
                <a:moveTo>
                  <a:pt x="3656966" y="905241"/>
                </a:moveTo>
                <a:cubicBezTo>
                  <a:pt x="3656966" y="885222"/>
                  <a:pt x="3640753" y="869010"/>
                  <a:pt x="3620735" y="869010"/>
                </a:cubicBezTo>
                <a:cubicBezTo>
                  <a:pt x="3600716" y="869010"/>
                  <a:pt x="3584504" y="885222"/>
                  <a:pt x="3584504" y="905241"/>
                </a:cubicBezTo>
                <a:cubicBezTo>
                  <a:pt x="3584504" y="925259"/>
                  <a:pt x="3600716" y="941472"/>
                  <a:pt x="3620735" y="941472"/>
                </a:cubicBezTo>
                <a:cubicBezTo>
                  <a:pt x="3640753" y="941472"/>
                  <a:pt x="3656966" y="925259"/>
                  <a:pt x="3656966" y="905241"/>
                </a:cubicBezTo>
                <a:moveTo>
                  <a:pt x="3497884" y="842522"/>
                </a:moveTo>
                <a:cubicBezTo>
                  <a:pt x="3497884" y="823112"/>
                  <a:pt x="3482128" y="807356"/>
                  <a:pt x="3462719" y="807356"/>
                </a:cubicBezTo>
                <a:cubicBezTo>
                  <a:pt x="3443309" y="807356"/>
                  <a:pt x="3427554" y="823112"/>
                  <a:pt x="3427554" y="842522"/>
                </a:cubicBezTo>
                <a:cubicBezTo>
                  <a:pt x="3427554" y="861931"/>
                  <a:pt x="3443309" y="877687"/>
                  <a:pt x="3462719" y="877687"/>
                </a:cubicBezTo>
                <a:cubicBezTo>
                  <a:pt x="3482128" y="877687"/>
                  <a:pt x="3497884" y="861931"/>
                  <a:pt x="3497884" y="842522"/>
                </a:cubicBezTo>
                <a:moveTo>
                  <a:pt x="3335531" y="787262"/>
                </a:moveTo>
                <a:cubicBezTo>
                  <a:pt x="3335531" y="768690"/>
                  <a:pt x="3320459" y="753619"/>
                  <a:pt x="3301887" y="753619"/>
                </a:cubicBezTo>
                <a:cubicBezTo>
                  <a:pt x="3283315" y="753619"/>
                  <a:pt x="3268244" y="768690"/>
                  <a:pt x="3268244" y="787262"/>
                </a:cubicBezTo>
                <a:cubicBezTo>
                  <a:pt x="3268244" y="805834"/>
                  <a:pt x="3283315" y="820905"/>
                  <a:pt x="3301887" y="820905"/>
                </a:cubicBezTo>
                <a:cubicBezTo>
                  <a:pt x="3320459" y="820905"/>
                  <a:pt x="3335531" y="805834"/>
                  <a:pt x="3335531" y="787262"/>
                </a:cubicBezTo>
                <a:moveTo>
                  <a:pt x="3170207" y="739766"/>
                </a:moveTo>
                <a:cubicBezTo>
                  <a:pt x="3170207" y="722335"/>
                  <a:pt x="3156126" y="708254"/>
                  <a:pt x="3138695" y="708254"/>
                </a:cubicBezTo>
                <a:cubicBezTo>
                  <a:pt x="3121265" y="708254"/>
                  <a:pt x="3107184" y="722335"/>
                  <a:pt x="3107184" y="739766"/>
                </a:cubicBezTo>
                <a:cubicBezTo>
                  <a:pt x="3107184" y="757196"/>
                  <a:pt x="3121265" y="771278"/>
                  <a:pt x="3138695" y="771278"/>
                </a:cubicBezTo>
                <a:cubicBezTo>
                  <a:pt x="3156126" y="771278"/>
                  <a:pt x="3170207" y="757120"/>
                  <a:pt x="3170207" y="739766"/>
                </a:cubicBezTo>
                <a:moveTo>
                  <a:pt x="3003363" y="699958"/>
                </a:moveTo>
                <a:cubicBezTo>
                  <a:pt x="3003363" y="683440"/>
                  <a:pt x="2989966" y="670044"/>
                  <a:pt x="2973449" y="670044"/>
                </a:cubicBezTo>
                <a:cubicBezTo>
                  <a:pt x="2956932" y="670044"/>
                  <a:pt x="2943536" y="683440"/>
                  <a:pt x="2943536" y="699958"/>
                </a:cubicBezTo>
                <a:cubicBezTo>
                  <a:pt x="2943536" y="716475"/>
                  <a:pt x="2956932" y="729871"/>
                  <a:pt x="2973449" y="729871"/>
                </a:cubicBezTo>
                <a:cubicBezTo>
                  <a:pt x="2989966" y="729871"/>
                  <a:pt x="3003363" y="716475"/>
                  <a:pt x="3003363" y="699958"/>
                </a:cubicBezTo>
                <a:moveTo>
                  <a:pt x="2834767" y="667989"/>
                </a:moveTo>
                <a:cubicBezTo>
                  <a:pt x="2834767" y="652309"/>
                  <a:pt x="2822055" y="639598"/>
                  <a:pt x="2806376" y="639598"/>
                </a:cubicBezTo>
                <a:cubicBezTo>
                  <a:pt x="2790696" y="639598"/>
                  <a:pt x="2777985" y="652309"/>
                  <a:pt x="2777985" y="667989"/>
                </a:cubicBezTo>
                <a:cubicBezTo>
                  <a:pt x="2777985" y="683669"/>
                  <a:pt x="2790696" y="696380"/>
                  <a:pt x="2806376" y="696380"/>
                </a:cubicBezTo>
                <a:cubicBezTo>
                  <a:pt x="2822055" y="696380"/>
                  <a:pt x="2834767" y="683669"/>
                  <a:pt x="2834767" y="667989"/>
                </a:cubicBezTo>
                <a:moveTo>
                  <a:pt x="2664344" y="644013"/>
                </a:moveTo>
                <a:cubicBezTo>
                  <a:pt x="2664344" y="629475"/>
                  <a:pt x="2652622" y="617753"/>
                  <a:pt x="2638085" y="617753"/>
                </a:cubicBezTo>
                <a:cubicBezTo>
                  <a:pt x="2623547" y="617753"/>
                  <a:pt x="2611824" y="629475"/>
                  <a:pt x="2611824" y="644013"/>
                </a:cubicBezTo>
                <a:cubicBezTo>
                  <a:pt x="2611824" y="658551"/>
                  <a:pt x="2623547" y="670272"/>
                  <a:pt x="2638085" y="670272"/>
                </a:cubicBezTo>
                <a:cubicBezTo>
                  <a:pt x="2652622" y="670272"/>
                  <a:pt x="2664344" y="658551"/>
                  <a:pt x="2664344" y="644013"/>
                </a:cubicBezTo>
                <a:moveTo>
                  <a:pt x="2493541" y="627952"/>
                </a:moveTo>
                <a:cubicBezTo>
                  <a:pt x="2493541" y="614328"/>
                  <a:pt x="2482504" y="603291"/>
                  <a:pt x="2468879" y="603291"/>
                </a:cubicBezTo>
                <a:cubicBezTo>
                  <a:pt x="2455255" y="603291"/>
                  <a:pt x="2444218" y="614328"/>
                  <a:pt x="2444218" y="627952"/>
                </a:cubicBezTo>
                <a:cubicBezTo>
                  <a:pt x="2444218" y="641577"/>
                  <a:pt x="2455255" y="652614"/>
                  <a:pt x="2468879" y="652614"/>
                </a:cubicBezTo>
                <a:cubicBezTo>
                  <a:pt x="2482504" y="652614"/>
                  <a:pt x="2493541" y="641577"/>
                  <a:pt x="2493541" y="627952"/>
                </a:cubicBezTo>
                <a:moveTo>
                  <a:pt x="2321596" y="619960"/>
                </a:moveTo>
                <a:cubicBezTo>
                  <a:pt x="2321596" y="607477"/>
                  <a:pt x="2311473" y="597354"/>
                  <a:pt x="2298990" y="597354"/>
                </a:cubicBezTo>
                <a:cubicBezTo>
                  <a:pt x="2286507" y="597354"/>
                  <a:pt x="2276384" y="607477"/>
                  <a:pt x="2276384" y="619960"/>
                </a:cubicBezTo>
                <a:cubicBezTo>
                  <a:pt x="2276384" y="632443"/>
                  <a:pt x="2286507" y="642566"/>
                  <a:pt x="2298990" y="642566"/>
                </a:cubicBezTo>
                <a:cubicBezTo>
                  <a:pt x="2311473" y="642490"/>
                  <a:pt x="2321596" y="632443"/>
                  <a:pt x="2321596" y="619960"/>
                </a:cubicBezTo>
                <a:moveTo>
                  <a:pt x="2149499" y="619960"/>
                </a:moveTo>
                <a:cubicBezTo>
                  <a:pt x="2149499" y="608619"/>
                  <a:pt x="2140290" y="599485"/>
                  <a:pt x="2129025" y="599485"/>
                </a:cubicBezTo>
                <a:cubicBezTo>
                  <a:pt x="2117684" y="599485"/>
                  <a:pt x="2108549" y="608619"/>
                  <a:pt x="2108549" y="619960"/>
                </a:cubicBezTo>
                <a:cubicBezTo>
                  <a:pt x="2108549" y="631301"/>
                  <a:pt x="2117759" y="640435"/>
                  <a:pt x="2129025" y="640435"/>
                </a:cubicBezTo>
                <a:cubicBezTo>
                  <a:pt x="2140290" y="640435"/>
                  <a:pt x="2149499" y="631225"/>
                  <a:pt x="2149499" y="619960"/>
                </a:cubicBezTo>
                <a:moveTo>
                  <a:pt x="1978087" y="627952"/>
                </a:moveTo>
                <a:cubicBezTo>
                  <a:pt x="1978087" y="617524"/>
                  <a:pt x="1969639" y="609000"/>
                  <a:pt x="1959211" y="609000"/>
                </a:cubicBezTo>
                <a:cubicBezTo>
                  <a:pt x="1948783" y="609000"/>
                  <a:pt x="1940334" y="617448"/>
                  <a:pt x="1940334" y="627952"/>
                </a:cubicBezTo>
                <a:cubicBezTo>
                  <a:pt x="1940334" y="638380"/>
                  <a:pt x="1948783" y="646829"/>
                  <a:pt x="1959211" y="646829"/>
                </a:cubicBezTo>
                <a:cubicBezTo>
                  <a:pt x="1969639" y="646905"/>
                  <a:pt x="1978087" y="638380"/>
                  <a:pt x="1978087" y="627952"/>
                </a:cubicBezTo>
                <a:moveTo>
                  <a:pt x="1806752" y="644013"/>
                </a:moveTo>
                <a:cubicBezTo>
                  <a:pt x="1806752" y="634727"/>
                  <a:pt x="1799216" y="627191"/>
                  <a:pt x="1789930" y="627191"/>
                </a:cubicBezTo>
                <a:cubicBezTo>
                  <a:pt x="1780644" y="627191"/>
                  <a:pt x="1773109" y="634727"/>
                  <a:pt x="1773109" y="644013"/>
                </a:cubicBezTo>
                <a:cubicBezTo>
                  <a:pt x="1773109" y="653299"/>
                  <a:pt x="1780644" y="660834"/>
                  <a:pt x="1789930" y="660834"/>
                </a:cubicBezTo>
                <a:cubicBezTo>
                  <a:pt x="1799216" y="660834"/>
                  <a:pt x="1806752" y="653299"/>
                  <a:pt x="1806752" y="644013"/>
                </a:cubicBezTo>
                <a:moveTo>
                  <a:pt x="1636862" y="667989"/>
                </a:moveTo>
                <a:cubicBezTo>
                  <a:pt x="1636862" y="659540"/>
                  <a:pt x="1630012" y="652766"/>
                  <a:pt x="1621639" y="652766"/>
                </a:cubicBezTo>
                <a:cubicBezTo>
                  <a:pt x="1613190" y="652766"/>
                  <a:pt x="1606416" y="659616"/>
                  <a:pt x="1606416" y="667989"/>
                </a:cubicBezTo>
                <a:cubicBezTo>
                  <a:pt x="1606416" y="676438"/>
                  <a:pt x="1613266" y="683212"/>
                  <a:pt x="1621639" y="683212"/>
                </a:cubicBezTo>
                <a:cubicBezTo>
                  <a:pt x="1630012" y="683288"/>
                  <a:pt x="1636862" y="676438"/>
                  <a:pt x="1636862" y="667989"/>
                </a:cubicBezTo>
                <a:moveTo>
                  <a:pt x="1468266" y="699958"/>
                </a:moveTo>
                <a:cubicBezTo>
                  <a:pt x="1468266" y="692422"/>
                  <a:pt x="1462177" y="686333"/>
                  <a:pt x="1454642" y="686333"/>
                </a:cubicBezTo>
                <a:cubicBezTo>
                  <a:pt x="1447106" y="686333"/>
                  <a:pt x="1441017" y="692422"/>
                  <a:pt x="1441017" y="699958"/>
                </a:cubicBezTo>
                <a:cubicBezTo>
                  <a:pt x="1441017" y="707493"/>
                  <a:pt x="1447106" y="713658"/>
                  <a:pt x="1454642" y="713658"/>
                </a:cubicBezTo>
                <a:cubicBezTo>
                  <a:pt x="1462177" y="713582"/>
                  <a:pt x="1468266" y="707493"/>
                  <a:pt x="1468266" y="699958"/>
                </a:cubicBezTo>
                <a:moveTo>
                  <a:pt x="1300889" y="739766"/>
                </a:moveTo>
                <a:cubicBezTo>
                  <a:pt x="1300889" y="733372"/>
                  <a:pt x="1295713" y="728196"/>
                  <a:pt x="1289319" y="728196"/>
                </a:cubicBezTo>
                <a:cubicBezTo>
                  <a:pt x="1282925" y="728196"/>
                  <a:pt x="1277750" y="733372"/>
                  <a:pt x="1277750" y="739766"/>
                </a:cubicBezTo>
                <a:cubicBezTo>
                  <a:pt x="1277750" y="746160"/>
                  <a:pt x="1282925" y="751335"/>
                  <a:pt x="1289319" y="751335"/>
                </a:cubicBezTo>
                <a:cubicBezTo>
                  <a:pt x="1295713" y="751259"/>
                  <a:pt x="1300889" y="746083"/>
                  <a:pt x="1300889" y="739766"/>
                </a:cubicBezTo>
                <a:moveTo>
                  <a:pt x="1136099" y="787262"/>
                </a:moveTo>
                <a:cubicBezTo>
                  <a:pt x="1136099" y="781782"/>
                  <a:pt x="1131608" y="777291"/>
                  <a:pt x="1126127" y="777291"/>
                </a:cubicBezTo>
                <a:cubicBezTo>
                  <a:pt x="1120647" y="777291"/>
                  <a:pt x="1116156" y="781782"/>
                  <a:pt x="1116156" y="787262"/>
                </a:cubicBezTo>
                <a:cubicBezTo>
                  <a:pt x="1116156" y="792742"/>
                  <a:pt x="1120647" y="797233"/>
                  <a:pt x="1126127" y="797233"/>
                </a:cubicBezTo>
                <a:cubicBezTo>
                  <a:pt x="1131608" y="797233"/>
                  <a:pt x="1136099" y="792818"/>
                  <a:pt x="1136099" y="787262"/>
                </a:cubicBezTo>
                <a:moveTo>
                  <a:pt x="973745" y="842522"/>
                </a:moveTo>
                <a:cubicBezTo>
                  <a:pt x="973745" y="837879"/>
                  <a:pt x="970015" y="834149"/>
                  <a:pt x="965372" y="834149"/>
                </a:cubicBezTo>
                <a:cubicBezTo>
                  <a:pt x="960729" y="834149"/>
                  <a:pt x="956999" y="837879"/>
                  <a:pt x="956999" y="842522"/>
                </a:cubicBezTo>
                <a:cubicBezTo>
                  <a:pt x="956999" y="847165"/>
                  <a:pt x="960729" y="850894"/>
                  <a:pt x="965372" y="850894"/>
                </a:cubicBezTo>
                <a:cubicBezTo>
                  <a:pt x="969939" y="850894"/>
                  <a:pt x="973745" y="847165"/>
                  <a:pt x="973745" y="842522"/>
                </a:cubicBezTo>
                <a:moveTo>
                  <a:pt x="814130" y="905241"/>
                </a:moveTo>
                <a:cubicBezTo>
                  <a:pt x="814130" y="901435"/>
                  <a:pt x="811086" y="898390"/>
                  <a:pt x="807280" y="898390"/>
                </a:cubicBezTo>
                <a:cubicBezTo>
                  <a:pt x="803474" y="898390"/>
                  <a:pt x="800430" y="901435"/>
                  <a:pt x="800430" y="905241"/>
                </a:cubicBezTo>
                <a:cubicBezTo>
                  <a:pt x="800430" y="909047"/>
                  <a:pt x="803474" y="912091"/>
                  <a:pt x="807280" y="912091"/>
                </a:cubicBezTo>
                <a:cubicBezTo>
                  <a:pt x="811086" y="912091"/>
                  <a:pt x="814130" y="908970"/>
                  <a:pt x="814130" y="905241"/>
                </a:cubicBezTo>
                <a:moveTo>
                  <a:pt x="658170" y="975343"/>
                </a:moveTo>
                <a:cubicBezTo>
                  <a:pt x="658170" y="972146"/>
                  <a:pt x="655582" y="969558"/>
                  <a:pt x="652385" y="969558"/>
                </a:cubicBezTo>
                <a:cubicBezTo>
                  <a:pt x="649188" y="969558"/>
                  <a:pt x="646600" y="972146"/>
                  <a:pt x="646600" y="975343"/>
                </a:cubicBezTo>
                <a:cubicBezTo>
                  <a:pt x="646600" y="978540"/>
                  <a:pt x="649188" y="981128"/>
                  <a:pt x="652385" y="981128"/>
                </a:cubicBezTo>
                <a:cubicBezTo>
                  <a:pt x="655582" y="981128"/>
                  <a:pt x="658170" y="978540"/>
                  <a:pt x="658170" y="975343"/>
                </a:cubicBezTo>
                <a:moveTo>
                  <a:pt x="505787" y="1052753"/>
                </a:moveTo>
                <a:cubicBezTo>
                  <a:pt x="505787" y="1050165"/>
                  <a:pt x="503656" y="1048033"/>
                  <a:pt x="501068" y="1048033"/>
                </a:cubicBezTo>
                <a:cubicBezTo>
                  <a:pt x="498480" y="1048033"/>
                  <a:pt x="496348" y="1050165"/>
                  <a:pt x="496348" y="1052753"/>
                </a:cubicBezTo>
                <a:cubicBezTo>
                  <a:pt x="496348" y="1055340"/>
                  <a:pt x="498480" y="1057472"/>
                  <a:pt x="501068" y="1057472"/>
                </a:cubicBezTo>
                <a:cubicBezTo>
                  <a:pt x="503656" y="1057472"/>
                  <a:pt x="505787" y="1055340"/>
                  <a:pt x="505787" y="1052753"/>
                </a:cubicBezTo>
                <a:moveTo>
                  <a:pt x="357133" y="1137165"/>
                </a:moveTo>
                <a:cubicBezTo>
                  <a:pt x="357133" y="1135109"/>
                  <a:pt x="355459" y="1133511"/>
                  <a:pt x="353480" y="1133511"/>
                </a:cubicBezTo>
                <a:cubicBezTo>
                  <a:pt x="351425" y="1133511"/>
                  <a:pt x="349826" y="1135185"/>
                  <a:pt x="349826" y="1137165"/>
                </a:cubicBezTo>
                <a:cubicBezTo>
                  <a:pt x="349826" y="1139220"/>
                  <a:pt x="351501" y="1140818"/>
                  <a:pt x="353480" y="1140818"/>
                </a:cubicBezTo>
                <a:cubicBezTo>
                  <a:pt x="355459" y="1140818"/>
                  <a:pt x="357133" y="1139144"/>
                  <a:pt x="357133" y="1137165"/>
                </a:cubicBezTo>
                <a:moveTo>
                  <a:pt x="212667" y="1228427"/>
                </a:moveTo>
                <a:cubicBezTo>
                  <a:pt x="212667" y="1226981"/>
                  <a:pt x="211448" y="1225763"/>
                  <a:pt x="210002" y="1225763"/>
                </a:cubicBezTo>
                <a:cubicBezTo>
                  <a:pt x="208556" y="1225763"/>
                  <a:pt x="207338" y="1226981"/>
                  <a:pt x="207338" y="1228427"/>
                </a:cubicBezTo>
                <a:cubicBezTo>
                  <a:pt x="207338" y="1229873"/>
                  <a:pt x="208556" y="1231015"/>
                  <a:pt x="210002" y="1231015"/>
                </a:cubicBezTo>
                <a:cubicBezTo>
                  <a:pt x="211448" y="1231015"/>
                  <a:pt x="212667" y="1229873"/>
                  <a:pt x="212667" y="1228427"/>
                </a:cubicBezTo>
                <a:moveTo>
                  <a:pt x="5379001" y="6305174"/>
                </a:moveTo>
                <a:cubicBezTo>
                  <a:pt x="5379001" y="6303423"/>
                  <a:pt x="5377631" y="6302053"/>
                  <a:pt x="5375880" y="6302053"/>
                </a:cubicBezTo>
                <a:cubicBezTo>
                  <a:pt x="5374130" y="6302053"/>
                  <a:pt x="5372683" y="6303423"/>
                  <a:pt x="5372683" y="6305174"/>
                </a:cubicBezTo>
                <a:cubicBezTo>
                  <a:pt x="5372683" y="6306924"/>
                  <a:pt x="5374130" y="6308294"/>
                  <a:pt x="5375880" y="6308294"/>
                </a:cubicBezTo>
                <a:cubicBezTo>
                  <a:pt x="5377555" y="6308294"/>
                  <a:pt x="5379001" y="6306848"/>
                  <a:pt x="5379001" y="6305174"/>
                </a:cubicBezTo>
                <a:moveTo>
                  <a:pt x="5469959" y="6161164"/>
                </a:moveTo>
                <a:cubicBezTo>
                  <a:pt x="5469959" y="6159108"/>
                  <a:pt x="5468284" y="6157510"/>
                  <a:pt x="5466305" y="6157510"/>
                </a:cubicBezTo>
                <a:cubicBezTo>
                  <a:pt x="5464250" y="6157510"/>
                  <a:pt x="5462652" y="6159185"/>
                  <a:pt x="5462652" y="6161164"/>
                </a:cubicBezTo>
                <a:cubicBezTo>
                  <a:pt x="5462652" y="6163142"/>
                  <a:pt x="5464326" y="6164817"/>
                  <a:pt x="5466305" y="6164817"/>
                </a:cubicBezTo>
                <a:cubicBezTo>
                  <a:pt x="5468284" y="6164893"/>
                  <a:pt x="5469959" y="6163218"/>
                  <a:pt x="5469959" y="6161164"/>
                </a:cubicBezTo>
                <a:moveTo>
                  <a:pt x="5555436" y="6013347"/>
                </a:moveTo>
                <a:cubicBezTo>
                  <a:pt x="5555436" y="6010455"/>
                  <a:pt x="5553077" y="6008095"/>
                  <a:pt x="5550185" y="6008095"/>
                </a:cubicBezTo>
                <a:cubicBezTo>
                  <a:pt x="5547292" y="6008095"/>
                  <a:pt x="5544932" y="6010455"/>
                  <a:pt x="5544932" y="6013347"/>
                </a:cubicBezTo>
                <a:cubicBezTo>
                  <a:pt x="5544932" y="6016240"/>
                  <a:pt x="5547292" y="6018599"/>
                  <a:pt x="5550185" y="6018599"/>
                </a:cubicBezTo>
                <a:cubicBezTo>
                  <a:pt x="5553077" y="6018599"/>
                  <a:pt x="5555436" y="6016240"/>
                  <a:pt x="5555436" y="6013347"/>
                </a:cubicBezTo>
                <a:moveTo>
                  <a:pt x="5633683" y="5861802"/>
                </a:moveTo>
                <a:cubicBezTo>
                  <a:pt x="5633683" y="5858300"/>
                  <a:pt x="5630867" y="5855484"/>
                  <a:pt x="5627366" y="5855484"/>
                </a:cubicBezTo>
                <a:cubicBezTo>
                  <a:pt x="5623864" y="5855484"/>
                  <a:pt x="5621048" y="5858300"/>
                  <a:pt x="5621048" y="5861802"/>
                </a:cubicBezTo>
                <a:cubicBezTo>
                  <a:pt x="5621048" y="5865303"/>
                  <a:pt x="5623864" y="5868119"/>
                  <a:pt x="5627366" y="5868119"/>
                </a:cubicBezTo>
                <a:cubicBezTo>
                  <a:pt x="5630867" y="5868119"/>
                  <a:pt x="5633683" y="5865303"/>
                  <a:pt x="5633683" y="5861802"/>
                </a:cubicBezTo>
                <a:moveTo>
                  <a:pt x="5705003" y="5707059"/>
                </a:moveTo>
                <a:cubicBezTo>
                  <a:pt x="5705003" y="5703025"/>
                  <a:pt x="5701731" y="5699676"/>
                  <a:pt x="5697620" y="5699676"/>
                </a:cubicBezTo>
                <a:cubicBezTo>
                  <a:pt x="5693586" y="5699676"/>
                  <a:pt x="5690237" y="5702949"/>
                  <a:pt x="5690237" y="5707059"/>
                </a:cubicBezTo>
                <a:cubicBezTo>
                  <a:pt x="5690237" y="5711093"/>
                  <a:pt x="5693510" y="5714442"/>
                  <a:pt x="5697620" y="5714442"/>
                </a:cubicBezTo>
                <a:cubicBezTo>
                  <a:pt x="5701731" y="5714366"/>
                  <a:pt x="5705003" y="5711093"/>
                  <a:pt x="5705003" y="5707059"/>
                </a:cubicBezTo>
                <a:moveTo>
                  <a:pt x="5769930" y="5549272"/>
                </a:moveTo>
                <a:cubicBezTo>
                  <a:pt x="5769930" y="5544324"/>
                  <a:pt x="5765972" y="5540366"/>
                  <a:pt x="5761024" y="5540366"/>
                </a:cubicBezTo>
                <a:cubicBezTo>
                  <a:pt x="5756076" y="5540366"/>
                  <a:pt x="5752119" y="5544400"/>
                  <a:pt x="5752119" y="5549272"/>
                </a:cubicBezTo>
                <a:cubicBezTo>
                  <a:pt x="5752119" y="5554219"/>
                  <a:pt x="5756076" y="5558177"/>
                  <a:pt x="5761024" y="5558177"/>
                </a:cubicBezTo>
                <a:cubicBezTo>
                  <a:pt x="5765896" y="5558177"/>
                  <a:pt x="5769930" y="5554143"/>
                  <a:pt x="5769930" y="5549272"/>
                </a:cubicBezTo>
                <a:moveTo>
                  <a:pt x="5827625" y="5388744"/>
                </a:moveTo>
                <a:cubicBezTo>
                  <a:pt x="5827625" y="5382959"/>
                  <a:pt x="5822906" y="5378240"/>
                  <a:pt x="5817121" y="5378240"/>
                </a:cubicBezTo>
                <a:cubicBezTo>
                  <a:pt x="5811336" y="5378240"/>
                  <a:pt x="5806617" y="5382959"/>
                  <a:pt x="5806617" y="5388744"/>
                </a:cubicBezTo>
                <a:cubicBezTo>
                  <a:pt x="5806617" y="5394529"/>
                  <a:pt x="5811336" y="5399248"/>
                  <a:pt x="5817121" y="5399248"/>
                </a:cubicBezTo>
                <a:cubicBezTo>
                  <a:pt x="5822906" y="5399248"/>
                  <a:pt x="5827625" y="5394529"/>
                  <a:pt x="5827625" y="5388744"/>
                </a:cubicBezTo>
                <a:moveTo>
                  <a:pt x="5878623" y="5225933"/>
                </a:moveTo>
                <a:cubicBezTo>
                  <a:pt x="5878623" y="5219007"/>
                  <a:pt x="5872991" y="5213298"/>
                  <a:pt x="5865988" y="5213298"/>
                </a:cubicBezTo>
                <a:cubicBezTo>
                  <a:pt x="5858985" y="5213298"/>
                  <a:pt x="5853352" y="5218931"/>
                  <a:pt x="5853352" y="5225933"/>
                </a:cubicBezTo>
                <a:cubicBezTo>
                  <a:pt x="5853352" y="5232860"/>
                  <a:pt x="5858985" y="5238568"/>
                  <a:pt x="5865988" y="5238568"/>
                </a:cubicBezTo>
                <a:cubicBezTo>
                  <a:pt x="5872991" y="5238568"/>
                  <a:pt x="5878623" y="5232860"/>
                  <a:pt x="5878623" y="5225933"/>
                </a:cubicBezTo>
                <a:moveTo>
                  <a:pt x="5921780" y="5061067"/>
                </a:moveTo>
                <a:cubicBezTo>
                  <a:pt x="5921780" y="5053228"/>
                  <a:pt x="5915463" y="5046910"/>
                  <a:pt x="5907622" y="5046910"/>
                </a:cubicBezTo>
                <a:cubicBezTo>
                  <a:pt x="5899782" y="5046910"/>
                  <a:pt x="5893465" y="5053228"/>
                  <a:pt x="5893465" y="5061067"/>
                </a:cubicBezTo>
                <a:cubicBezTo>
                  <a:pt x="5893465" y="5068907"/>
                  <a:pt x="5899782" y="5075225"/>
                  <a:pt x="5907622" y="5075225"/>
                </a:cubicBezTo>
                <a:cubicBezTo>
                  <a:pt x="5915386" y="5075225"/>
                  <a:pt x="5921780" y="5068907"/>
                  <a:pt x="5921780" y="5061067"/>
                </a:cubicBezTo>
                <a:moveTo>
                  <a:pt x="5957402" y="4894527"/>
                </a:moveTo>
                <a:cubicBezTo>
                  <a:pt x="5957402" y="4885849"/>
                  <a:pt x="5950323" y="4878771"/>
                  <a:pt x="5941646" y="4878771"/>
                </a:cubicBezTo>
                <a:cubicBezTo>
                  <a:pt x="5932970" y="4878771"/>
                  <a:pt x="5925890" y="4885849"/>
                  <a:pt x="5925890" y="4894527"/>
                </a:cubicBezTo>
                <a:cubicBezTo>
                  <a:pt x="5925890" y="4903204"/>
                  <a:pt x="5932970" y="4910283"/>
                  <a:pt x="5941646" y="4910283"/>
                </a:cubicBezTo>
                <a:cubicBezTo>
                  <a:pt x="5950399" y="4910283"/>
                  <a:pt x="5957402" y="4903204"/>
                  <a:pt x="5957402" y="4894527"/>
                </a:cubicBezTo>
                <a:moveTo>
                  <a:pt x="5986098" y="4726616"/>
                </a:moveTo>
                <a:cubicBezTo>
                  <a:pt x="5986098" y="4716721"/>
                  <a:pt x="5978105" y="4708729"/>
                  <a:pt x="5968210" y="4708729"/>
                </a:cubicBezTo>
                <a:cubicBezTo>
                  <a:pt x="5958316" y="4708729"/>
                  <a:pt x="5950323" y="4716721"/>
                  <a:pt x="5950323" y="4726616"/>
                </a:cubicBezTo>
                <a:cubicBezTo>
                  <a:pt x="5950323" y="4736511"/>
                  <a:pt x="5958316" y="4744503"/>
                  <a:pt x="5968210" y="4744503"/>
                </a:cubicBezTo>
                <a:cubicBezTo>
                  <a:pt x="5978105" y="4744503"/>
                  <a:pt x="5986098" y="4736435"/>
                  <a:pt x="5986098" y="4726616"/>
                </a:cubicBezTo>
                <a:moveTo>
                  <a:pt x="6007257" y="4557640"/>
                </a:moveTo>
                <a:cubicBezTo>
                  <a:pt x="6007257" y="4546603"/>
                  <a:pt x="5998352" y="4537697"/>
                  <a:pt x="5987315" y="4537697"/>
                </a:cubicBezTo>
                <a:cubicBezTo>
                  <a:pt x="5976279" y="4537697"/>
                  <a:pt x="5967373" y="4546603"/>
                  <a:pt x="5967373" y="4557640"/>
                </a:cubicBezTo>
                <a:cubicBezTo>
                  <a:pt x="5967373" y="4568676"/>
                  <a:pt x="5976279" y="4577582"/>
                  <a:pt x="5987315" y="4577582"/>
                </a:cubicBezTo>
                <a:cubicBezTo>
                  <a:pt x="5998352" y="4577582"/>
                  <a:pt x="6007257" y="4568676"/>
                  <a:pt x="6007257" y="4557640"/>
                </a:cubicBezTo>
                <a:moveTo>
                  <a:pt x="6020806" y="4388055"/>
                </a:moveTo>
                <a:cubicBezTo>
                  <a:pt x="6020806" y="4375876"/>
                  <a:pt x="6010912" y="4365981"/>
                  <a:pt x="5998732" y="4365981"/>
                </a:cubicBezTo>
                <a:cubicBezTo>
                  <a:pt x="5986554" y="4365981"/>
                  <a:pt x="5976660" y="4375876"/>
                  <a:pt x="5976660" y="4388055"/>
                </a:cubicBezTo>
                <a:cubicBezTo>
                  <a:pt x="5976660" y="4400233"/>
                  <a:pt x="5986554" y="4410128"/>
                  <a:pt x="5998732" y="4410128"/>
                </a:cubicBezTo>
                <a:cubicBezTo>
                  <a:pt x="6010912" y="4410128"/>
                  <a:pt x="6020806" y="4400233"/>
                  <a:pt x="6020806" y="4388055"/>
                </a:cubicBezTo>
                <a:moveTo>
                  <a:pt x="6026211" y="4218013"/>
                </a:moveTo>
                <a:cubicBezTo>
                  <a:pt x="6026211" y="4204921"/>
                  <a:pt x="6015631" y="4194341"/>
                  <a:pt x="6002538" y="4194341"/>
                </a:cubicBezTo>
                <a:cubicBezTo>
                  <a:pt x="5989523" y="4194341"/>
                  <a:pt x="5978943" y="4204921"/>
                  <a:pt x="5978943" y="4218013"/>
                </a:cubicBezTo>
                <a:cubicBezTo>
                  <a:pt x="5978943" y="4231105"/>
                  <a:pt x="5989523" y="4241685"/>
                  <a:pt x="6002538" y="4241685"/>
                </a:cubicBezTo>
                <a:cubicBezTo>
                  <a:pt x="6015631" y="4241685"/>
                  <a:pt x="6026211" y="4231105"/>
                  <a:pt x="6026211" y="4218013"/>
                </a:cubicBezTo>
                <a:moveTo>
                  <a:pt x="6024459" y="4048047"/>
                </a:moveTo>
                <a:cubicBezTo>
                  <a:pt x="6024459" y="4033813"/>
                  <a:pt x="6012966" y="4022320"/>
                  <a:pt x="5998732" y="4022320"/>
                </a:cubicBezTo>
                <a:cubicBezTo>
                  <a:pt x="5984499" y="4022320"/>
                  <a:pt x="5973005" y="4033813"/>
                  <a:pt x="5973005" y="4048047"/>
                </a:cubicBezTo>
                <a:cubicBezTo>
                  <a:pt x="5973005" y="4062281"/>
                  <a:pt x="5984499" y="4073774"/>
                  <a:pt x="5998732" y="4073774"/>
                </a:cubicBezTo>
                <a:cubicBezTo>
                  <a:pt x="6012966" y="4073774"/>
                  <a:pt x="6024459" y="4062281"/>
                  <a:pt x="6024459" y="4048047"/>
                </a:cubicBezTo>
                <a:moveTo>
                  <a:pt x="6015174" y="3878462"/>
                </a:moveTo>
                <a:cubicBezTo>
                  <a:pt x="6015174" y="3863086"/>
                  <a:pt x="6002691" y="3850603"/>
                  <a:pt x="5987315" y="3850603"/>
                </a:cubicBezTo>
                <a:cubicBezTo>
                  <a:pt x="5971941" y="3850603"/>
                  <a:pt x="5959458" y="3863086"/>
                  <a:pt x="5959458" y="3878462"/>
                </a:cubicBezTo>
                <a:cubicBezTo>
                  <a:pt x="5959458" y="3893837"/>
                  <a:pt x="5971941" y="3906320"/>
                  <a:pt x="5987315" y="3906320"/>
                </a:cubicBezTo>
                <a:cubicBezTo>
                  <a:pt x="6002691" y="3906244"/>
                  <a:pt x="6015174" y="3893837"/>
                  <a:pt x="6015174" y="3878462"/>
                </a:cubicBezTo>
                <a:moveTo>
                  <a:pt x="5998200" y="3709485"/>
                </a:moveTo>
                <a:cubicBezTo>
                  <a:pt x="5998200" y="3692968"/>
                  <a:pt x="5984804" y="3679572"/>
                  <a:pt x="5968286" y="3679572"/>
                </a:cubicBezTo>
                <a:cubicBezTo>
                  <a:pt x="5951770" y="3679572"/>
                  <a:pt x="5938373" y="3692968"/>
                  <a:pt x="5938373" y="3709485"/>
                </a:cubicBezTo>
                <a:cubicBezTo>
                  <a:pt x="5938373" y="3726003"/>
                  <a:pt x="5951770" y="3739399"/>
                  <a:pt x="5968286" y="3739399"/>
                </a:cubicBezTo>
                <a:cubicBezTo>
                  <a:pt x="5984804" y="3739399"/>
                  <a:pt x="5998200" y="3726003"/>
                  <a:pt x="5998200" y="3709485"/>
                </a:cubicBezTo>
                <a:moveTo>
                  <a:pt x="5973158" y="3541575"/>
                </a:moveTo>
                <a:cubicBezTo>
                  <a:pt x="5973158" y="3524144"/>
                  <a:pt x="5959077" y="3510063"/>
                  <a:pt x="5941646" y="3510063"/>
                </a:cubicBezTo>
                <a:cubicBezTo>
                  <a:pt x="5924216" y="3510063"/>
                  <a:pt x="5910135" y="3524144"/>
                  <a:pt x="5910135" y="3541575"/>
                </a:cubicBezTo>
                <a:cubicBezTo>
                  <a:pt x="5910135" y="3559005"/>
                  <a:pt x="5924216" y="3573087"/>
                  <a:pt x="5941646" y="3573087"/>
                </a:cubicBezTo>
                <a:cubicBezTo>
                  <a:pt x="5959077" y="3573087"/>
                  <a:pt x="5973158" y="3559005"/>
                  <a:pt x="5973158" y="3541575"/>
                </a:cubicBezTo>
                <a:moveTo>
                  <a:pt x="5941190" y="3375034"/>
                </a:moveTo>
                <a:cubicBezTo>
                  <a:pt x="5941190" y="3356462"/>
                  <a:pt x="5926119" y="3341391"/>
                  <a:pt x="5907546" y="3341391"/>
                </a:cubicBezTo>
                <a:cubicBezTo>
                  <a:pt x="5888975" y="3341391"/>
                  <a:pt x="5873904" y="3356462"/>
                  <a:pt x="5873904" y="3375034"/>
                </a:cubicBezTo>
                <a:cubicBezTo>
                  <a:pt x="5873904" y="3393606"/>
                  <a:pt x="5888975" y="3408677"/>
                  <a:pt x="5907546" y="3408677"/>
                </a:cubicBezTo>
                <a:cubicBezTo>
                  <a:pt x="5926119" y="3408601"/>
                  <a:pt x="5941190" y="3393606"/>
                  <a:pt x="5941190" y="3375034"/>
                </a:cubicBezTo>
                <a:moveTo>
                  <a:pt x="5901761" y="3210168"/>
                </a:moveTo>
                <a:cubicBezTo>
                  <a:pt x="5901761" y="3190454"/>
                  <a:pt x="5885777" y="3174470"/>
                  <a:pt x="5866064" y="3174470"/>
                </a:cubicBezTo>
                <a:cubicBezTo>
                  <a:pt x="5846350" y="3174470"/>
                  <a:pt x="5830365" y="3190454"/>
                  <a:pt x="5830365" y="3210168"/>
                </a:cubicBezTo>
                <a:cubicBezTo>
                  <a:pt x="5830365" y="3229882"/>
                  <a:pt x="5846350" y="3245866"/>
                  <a:pt x="5866064" y="3245866"/>
                </a:cubicBezTo>
                <a:cubicBezTo>
                  <a:pt x="5885777" y="3245866"/>
                  <a:pt x="5901761" y="3229882"/>
                  <a:pt x="5901761" y="3210168"/>
                </a:cubicBezTo>
                <a:moveTo>
                  <a:pt x="5854418" y="3047357"/>
                </a:moveTo>
                <a:cubicBezTo>
                  <a:pt x="5854418" y="3026730"/>
                  <a:pt x="5837749" y="3010061"/>
                  <a:pt x="5817121" y="3010061"/>
                </a:cubicBezTo>
                <a:cubicBezTo>
                  <a:pt x="5796494" y="3010061"/>
                  <a:pt x="5779824" y="3026730"/>
                  <a:pt x="5779824" y="3047357"/>
                </a:cubicBezTo>
                <a:cubicBezTo>
                  <a:pt x="5779824" y="3067985"/>
                  <a:pt x="5796494" y="3084654"/>
                  <a:pt x="5817121" y="3084654"/>
                </a:cubicBezTo>
                <a:cubicBezTo>
                  <a:pt x="5837749" y="3084578"/>
                  <a:pt x="5854418" y="3067909"/>
                  <a:pt x="5854418" y="3047357"/>
                </a:cubicBezTo>
                <a:moveTo>
                  <a:pt x="5799843" y="2886830"/>
                </a:moveTo>
                <a:cubicBezTo>
                  <a:pt x="5799843" y="2865365"/>
                  <a:pt x="5782413" y="2847935"/>
                  <a:pt x="5760948" y="2847935"/>
                </a:cubicBezTo>
                <a:cubicBezTo>
                  <a:pt x="5739484" y="2847935"/>
                  <a:pt x="5722053" y="2865365"/>
                  <a:pt x="5722053" y="2886830"/>
                </a:cubicBezTo>
                <a:cubicBezTo>
                  <a:pt x="5722053" y="2908295"/>
                  <a:pt x="5739484" y="2925725"/>
                  <a:pt x="5760948" y="2925725"/>
                </a:cubicBezTo>
                <a:cubicBezTo>
                  <a:pt x="5782413" y="2925725"/>
                  <a:pt x="5799843" y="2908295"/>
                  <a:pt x="5799843" y="2886830"/>
                </a:cubicBezTo>
                <a:moveTo>
                  <a:pt x="5737581" y="2729043"/>
                </a:moveTo>
                <a:cubicBezTo>
                  <a:pt x="5737581" y="2706969"/>
                  <a:pt x="5719694" y="2689158"/>
                  <a:pt x="5697696" y="2689158"/>
                </a:cubicBezTo>
                <a:cubicBezTo>
                  <a:pt x="5675623" y="2689158"/>
                  <a:pt x="5657736" y="2707045"/>
                  <a:pt x="5657736" y="2729043"/>
                </a:cubicBezTo>
                <a:cubicBezTo>
                  <a:pt x="5657736" y="2751116"/>
                  <a:pt x="5675623" y="2768927"/>
                  <a:pt x="5697696" y="2768927"/>
                </a:cubicBezTo>
                <a:cubicBezTo>
                  <a:pt x="5719770" y="2769003"/>
                  <a:pt x="5737581" y="2751116"/>
                  <a:pt x="5737581" y="2729043"/>
                </a:cubicBezTo>
                <a:moveTo>
                  <a:pt x="5668848" y="2574224"/>
                </a:moveTo>
                <a:cubicBezTo>
                  <a:pt x="5668848" y="2551313"/>
                  <a:pt x="5650277" y="2532741"/>
                  <a:pt x="5627366" y="2532741"/>
                </a:cubicBezTo>
                <a:cubicBezTo>
                  <a:pt x="5604455" y="2532741"/>
                  <a:pt x="5585882" y="2551313"/>
                  <a:pt x="5585882" y="2574224"/>
                </a:cubicBezTo>
                <a:cubicBezTo>
                  <a:pt x="5585882" y="2597135"/>
                  <a:pt x="5604455" y="2615707"/>
                  <a:pt x="5627366" y="2615707"/>
                </a:cubicBezTo>
                <a:cubicBezTo>
                  <a:pt x="5650277" y="2615783"/>
                  <a:pt x="5668848" y="2597211"/>
                  <a:pt x="5668848" y="2574224"/>
                </a:cubicBezTo>
                <a:moveTo>
                  <a:pt x="5592733" y="2422754"/>
                </a:moveTo>
                <a:cubicBezTo>
                  <a:pt x="5592733" y="2399235"/>
                  <a:pt x="5573704" y="2380206"/>
                  <a:pt x="5550185" y="2380206"/>
                </a:cubicBezTo>
                <a:cubicBezTo>
                  <a:pt x="5526665" y="2380206"/>
                  <a:pt x="5507636" y="2399235"/>
                  <a:pt x="5507636" y="2422754"/>
                </a:cubicBezTo>
                <a:cubicBezTo>
                  <a:pt x="5507636" y="2446274"/>
                  <a:pt x="5526665" y="2465303"/>
                  <a:pt x="5550185" y="2465303"/>
                </a:cubicBezTo>
                <a:cubicBezTo>
                  <a:pt x="5573704" y="2465303"/>
                  <a:pt x="5592733" y="2446274"/>
                  <a:pt x="5592733" y="2422754"/>
                </a:cubicBezTo>
                <a:moveTo>
                  <a:pt x="5509919" y="2274938"/>
                </a:moveTo>
                <a:cubicBezTo>
                  <a:pt x="5509919" y="2250886"/>
                  <a:pt x="5490358" y="2231324"/>
                  <a:pt x="5466305" y="2231324"/>
                </a:cubicBezTo>
                <a:cubicBezTo>
                  <a:pt x="5442253" y="2231324"/>
                  <a:pt x="5422691" y="2250886"/>
                  <a:pt x="5422691" y="2274938"/>
                </a:cubicBezTo>
                <a:cubicBezTo>
                  <a:pt x="5422691" y="2298990"/>
                  <a:pt x="5442253" y="2318552"/>
                  <a:pt x="5466305" y="2318552"/>
                </a:cubicBezTo>
                <a:cubicBezTo>
                  <a:pt x="5490358" y="2318476"/>
                  <a:pt x="5509919" y="2298990"/>
                  <a:pt x="5509919" y="2274938"/>
                </a:cubicBezTo>
                <a:moveTo>
                  <a:pt x="5419951" y="2130928"/>
                </a:moveTo>
                <a:cubicBezTo>
                  <a:pt x="5419951" y="2106571"/>
                  <a:pt x="5400237" y="2086781"/>
                  <a:pt x="5375804" y="2086781"/>
                </a:cubicBezTo>
                <a:cubicBezTo>
                  <a:pt x="5351447" y="2086781"/>
                  <a:pt x="5331658" y="2106571"/>
                  <a:pt x="5331658" y="2130928"/>
                </a:cubicBezTo>
                <a:cubicBezTo>
                  <a:pt x="5331658" y="2155285"/>
                  <a:pt x="5351371" y="2175074"/>
                  <a:pt x="5375804" y="2175074"/>
                </a:cubicBezTo>
                <a:cubicBezTo>
                  <a:pt x="5400237" y="2175074"/>
                  <a:pt x="5419951" y="2155285"/>
                  <a:pt x="5419951" y="2130928"/>
                </a:cubicBezTo>
                <a:moveTo>
                  <a:pt x="5323665" y="1991180"/>
                </a:moveTo>
                <a:cubicBezTo>
                  <a:pt x="5323665" y="1966518"/>
                  <a:pt x="5303647" y="1946576"/>
                  <a:pt x="5278985" y="1946576"/>
                </a:cubicBezTo>
                <a:cubicBezTo>
                  <a:pt x="5254324" y="1946576"/>
                  <a:pt x="5234306" y="1966594"/>
                  <a:pt x="5234306" y="1991180"/>
                </a:cubicBezTo>
                <a:cubicBezTo>
                  <a:pt x="5234306" y="2015841"/>
                  <a:pt x="5254324" y="2035859"/>
                  <a:pt x="5278985" y="2035859"/>
                </a:cubicBezTo>
                <a:cubicBezTo>
                  <a:pt x="5303647" y="2035859"/>
                  <a:pt x="5323665" y="2015841"/>
                  <a:pt x="5323665" y="1991180"/>
                </a:cubicBezTo>
                <a:moveTo>
                  <a:pt x="5221214" y="1855922"/>
                </a:moveTo>
                <a:cubicBezTo>
                  <a:pt x="5221214" y="1830957"/>
                  <a:pt x="5200967" y="1810710"/>
                  <a:pt x="5176001" y="1810710"/>
                </a:cubicBezTo>
                <a:cubicBezTo>
                  <a:pt x="5151035" y="1810710"/>
                  <a:pt x="5130865" y="1830957"/>
                  <a:pt x="5130865" y="1855922"/>
                </a:cubicBezTo>
                <a:cubicBezTo>
                  <a:pt x="5130865" y="1880888"/>
                  <a:pt x="5151111" y="1901135"/>
                  <a:pt x="5176001" y="1901135"/>
                </a:cubicBezTo>
                <a:cubicBezTo>
                  <a:pt x="5200967" y="1901135"/>
                  <a:pt x="5221214" y="1880888"/>
                  <a:pt x="5221214" y="1855922"/>
                </a:cubicBezTo>
                <a:moveTo>
                  <a:pt x="5112750" y="1725385"/>
                </a:moveTo>
                <a:cubicBezTo>
                  <a:pt x="5112750" y="1700114"/>
                  <a:pt x="5092274" y="1679715"/>
                  <a:pt x="5067080" y="1679715"/>
                </a:cubicBezTo>
                <a:cubicBezTo>
                  <a:pt x="5041810" y="1679715"/>
                  <a:pt x="5021411" y="1700190"/>
                  <a:pt x="5021411" y="1725385"/>
                </a:cubicBezTo>
                <a:cubicBezTo>
                  <a:pt x="5021411" y="1750655"/>
                  <a:pt x="5041886" y="1771054"/>
                  <a:pt x="5067080" y="1771054"/>
                </a:cubicBezTo>
                <a:cubicBezTo>
                  <a:pt x="5092274" y="1771130"/>
                  <a:pt x="5112750" y="1750655"/>
                  <a:pt x="5112750" y="1725385"/>
                </a:cubicBezTo>
                <a:moveTo>
                  <a:pt x="4998043" y="1599946"/>
                </a:moveTo>
                <a:cubicBezTo>
                  <a:pt x="4998043" y="1574676"/>
                  <a:pt x="4977569" y="1554277"/>
                  <a:pt x="4952374" y="1554277"/>
                </a:cubicBezTo>
                <a:cubicBezTo>
                  <a:pt x="4927180" y="1554277"/>
                  <a:pt x="4906705" y="1574752"/>
                  <a:pt x="4906705" y="1599946"/>
                </a:cubicBezTo>
                <a:cubicBezTo>
                  <a:pt x="4906705" y="1625217"/>
                  <a:pt x="4927180" y="1645616"/>
                  <a:pt x="4952374" y="1645616"/>
                </a:cubicBezTo>
                <a:cubicBezTo>
                  <a:pt x="4977569" y="1645616"/>
                  <a:pt x="4998043" y="1625141"/>
                  <a:pt x="4998043" y="1599946"/>
                </a:cubicBezTo>
                <a:moveTo>
                  <a:pt x="4877857" y="1479684"/>
                </a:moveTo>
                <a:cubicBezTo>
                  <a:pt x="4877857" y="1454414"/>
                  <a:pt x="4857382" y="1434015"/>
                  <a:pt x="4832187" y="1434015"/>
                </a:cubicBezTo>
                <a:cubicBezTo>
                  <a:pt x="4806917" y="1434015"/>
                  <a:pt x="4786518" y="1454490"/>
                  <a:pt x="4786518" y="1479684"/>
                </a:cubicBezTo>
                <a:cubicBezTo>
                  <a:pt x="4786518" y="1504954"/>
                  <a:pt x="4806994" y="1525353"/>
                  <a:pt x="4832187" y="1525353"/>
                </a:cubicBezTo>
                <a:cubicBezTo>
                  <a:pt x="4857382" y="1525429"/>
                  <a:pt x="4877857" y="1504954"/>
                  <a:pt x="4877857" y="1479684"/>
                </a:cubicBezTo>
                <a:moveTo>
                  <a:pt x="4752342" y="1364978"/>
                </a:moveTo>
                <a:cubicBezTo>
                  <a:pt x="4752342" y="1339708"/>
                  <a:pt x="4731868" y="1319309"/>
                  <a:pt x="4706673" y="1319309"/>
                </a:cubicBezTo>
                <a:cubicBezTo>
                  <a:pt x="4681403" y="1319309"/>
                  <a:pt x="4661004" y="1339784"/>
                  <a:pt x="4661004" y="1364978"/>
                </a:cubicBezTo>
                <a:cubicBezTo>
                  <a:pt x="4661004" y="1390248"/>
                  <a:pt x="4681479" y="1410647"/>
                  <a:pt x="4706673" y="1410647"/>
                </a:cubicBezTo>
                <a:cubicBezTo>
                  <a:pt x="4731868" y="1410723"/>
                  <a:pt x="4752342" y="1390248"/>
                  <a:pt x="4752342" y="1364978"/>
                </a:cubicBezTo>
                <a:moveTo>
                  <a:pt x="4621272" y="1256057"/>
                </a:moveTo>
                <a:cubicBezTo>
                  <a:pt x="4621272" y="1231091"/>
                  <a:pt x="4601025" y="1210844"/>
                  <a:pt x="4576060" y="1210844"/>
                </a:cubicBezTo>
                <a:cubicBezTo>
                  <a:pt x="4551094" y="1210844"/>
                  <a:pt x="4530923" y="1231091"/>
                  <a:pt x="4530923" y="1256057"/>
                </a:cubicBezTo>
                <a:cubicBezTo>
                  <a:pt x="4530923" y="1281023"/>
                  <a:pt x="4551170" y="1301269"/>
                  <a:pt x="4576060" y="1301269"/>
                </a:cubicBezTo>
                <a:cubicBezTo>
                  <a:pt x="4601101" y="1301193"/>
                  <a:pt x="4621272" y="1281023"/>
                  <a:pt x="4621272" y="1256057"/>
                </a:cubicBezTo>
                <a:moveTo>
                  <a:pt x="4485482" y="1153073"/>
                </a:moveTo>
                <a:cubicBezTo>
                  <a:pt x="4485482" y="1128411"/>
                  <a:pt x="4465464" y="1108393"/>
                  <a:pt x="4440879" y="1108393"/>
                </a:cubicBezTo>
                <a:cubicBezTo>
                  <a:pt x="4416217" y="1108393"/>
                  <a:pt x="4396199" y="1128411"/>
                  <a:pt x="4396199" y="1153073"/>
                </a:cubicBezTo>
                <a:cubicBezTo>
                  <a:pt x="4396199" y="1177734"/>
                  <a:pt x="4416217" y="1197752"/>
                  <a:pt x="4440879" y="1197752"/>
                </a:cubicBezTo>
                <a:cubicBezTo>
                  <a:pt x="4465540" y="1197676"/>
                  <a:pt x="4485482" y="1177734"/>
                  <a:pt x="4485482" y="1153073"/>
                </a:cubicBezTo>
                <a:moveTo>
                  <a:pt x="4345201" y="1056254"/>
                </a:moveTo>
                <a:cubicBezTo>
                  <a:pt x="4345201" y="1031897"/>
                  <a:pt x="4325487" y="1012107"/>
                  <a:pt x="4301055" y="1012107"/>
                </a:cubicBezTo>
                <a:cubicBezTo>
                  <a:pt x="4276697" y="1012107"/>
                  <a:pt x="4256907" y="1031821"/>
                  <a:pt x="4256907" y="1056254"/>
                </a:cubicBezTo>
                <a:cubicBezTo>
                  <a:pt x="4256907" y="1080611"/>
                  <a:pt x="4276697" y="1100401"/>
                  <a:pt x="4301055" y="1100401"/>
                </a:cubicBezTo>
                <a:cubicBezTo>
                  <a:pt x="4325487" y="1100325"/>
                  <a:pt x="4345201" y="1080611"/>
                  <a:pt x="4345201" y="1056254"/>
                </a:cubicBezTo>
                <a:moveTo>
                  <a:pt x="4200734" y="965753"/>
                </a:moveTo>
                <a:cubicBezTo>
                  <a:pt x="4200734" y="941700"/>
                  <a:pt x="4181249" y="922138"/>
                  <a:pt x="4157120" y="922138"/>
                </a:cubicBezTo>
                <a:cubicBezTo>
                  <a:pt x="4132991" y="922138"/>
                  <a:pt x="4113506" y="941700"/>
                  <a:pt x="4113506" y="965753"/>
                </a:cubicBezTo>
                <a:cubicBezTo>
                  <a:pt x="4113506" y="989805"/>
                  <a:pt x="4133067" y="1009367"/>
                  <a:pt x="4157120" y="1009367"/>
                </a:cubicBezTo>
                <a:cubicBezTo>
                  <a:pt x="4181173" y="1009367"/>
                  <a:pt x="4200734" y="989881"/>
                  <a:pt x="4200734" y="965753"/>
                </a:cubicBezTo>
                <a:moveTo>
                  <a:pt x="4051853" y="881873"/>
                </a:moveTo>
                <a:cubicBezTo>
                  <a:pt x="4051853" y="858354"/>
                  <a:pt x="4032824" y="839325"/>
                  <a:pt x="4009303" y="839325"/>
                </a:cubicBezTo>
                <a:cubicBezTo>
                  <a:pt x="3985784" y="839325"/>
                  <a:pt x="3966755" y="858354"/>
                  <a:pt x="3966755" y="881873"/>
                </a:cubicBezTo>
                <a:cubicBezTo>
                  <a:pt x="3966755" y="905393"/>
                  <a:pt x="3985784" y="924422"/>
                  <a:pt x="4009303" y="924422"/>
                </a:cubicBezTo>
                <a:cubicBezTo>
                  <a:pt x="4032748" y="924422"/>
                  <a:pt x="4051853" y="905393"/>
                  <a:pt x="4051853" y="881873"/>
                </a:cubicBezTo>
                <a:moveTo>
                  <a:pt x="3899317" y="804692"/>
                </a:moveTo>
                <a:cubicBezTo>
                  <a:pt x="3899317" y="781782"/>
                  <a:pt x="3880744" y="763209"/>
                  <a:pt x="3857835" y="763209"/>
                </a:cubicBezTo>
                <a:cubicBezTo>
                  <a:pt x="3834924" y="763209"/>
                  <a:pt x="3816351" y="781782"/>
                  <a:pt x="3816351" y="804692"/>
                </a:cubicBezTo>
                <a:cubicBezTo>
                  <a:pt x="3816351" y="827603"/>
                  <a:pt x="3834924" y="846175"/>
                  <a:pt x="3857835" y="846175"/>
                </a:cubicBezTo>
                <a:cubicBezTo>
                  <a:pt x="3880744" y="846175"/>
                  <a:pt x="3899317" y="827603"/>
                  <a:pt x="3899317" y="804692"/>
                </a:cubicBezTo>
                <a:moveTo>
                  <a:pt x="3742899" y="734362"/>
                </a:moveTo>
                <a:cubicBezTo>
                  <a:pt x="3742899" y="712288"/>
                  <a:pt x="3725013" y="694477"/>
                  <a:pt x="3703015" y="694477"/>
                </a:cubicBezTo>
                <a:cubicBezTo>
                  <a:pt x="3680941" y="694477"/>
                  <a:pt x="3663054" y="712364"/>
                  <a:pt x="3663054" y="734362"/>
                </a:cubicBezTo>
                <a:cubicBezTo>
                  <a:pt x="3663054" y="756435"/>
                  <a:pt x="3680941" y="774246"/>
                  <a:pt x="3703015" y="774246"/>
                </a:cubicBezTo>
                <a:cubicBezTo>
                  <a:pt x="3725089" y="774322"/>
                  <a:pt x="3742899" y="756435"/>
                  <a:pt x="3742899" y="734362"/>
                </a:cubicBezTo>
                <a:moveTo>
                  <a:pt x="3584047" y="671110"/>
                </a:moveTo>
                <a:cubicBezTo>
                  <a:pt x="3584047" y="649645"/>
                  <a:pt x="3566617" y="632215"/>
                  <a:pt x="3545152" y="632215"/>
                </a:cubicBezTo>
                <a:cubicBezTo>
                  <a:pt x="3523688" y="632215"/>
                  <a:pt x="3506257" y="649645"/>
                  <a:pt x="3506257" y="671110"/>
                </a:cubicBezTo>
                <a:cubicBezTo>
                  <a:pt x="3506257" y="692574"/>
                  <a:pt x="3523688" y="710005"/>
                  <a:pt x="3545152" y="710005"/>
                </a:cubicBezTo>
                <a:cubicBezTo>
                  <a:pt x="3566693" y="709929"/>
                  <a:pt x="3584047" y="692574"/>
                  <a:pt x="3584047" y="671110"/>
                </a:cubicBezTo>
                <a:moveTo>
                  <a:pt x="3421998" y="614937"/>
                </a:moveTo>
                <a:cubicBezTo>
                  <a:pt x="3421998" y="594309"/>
                  <a:pt x="3405328" y="577640"/>
                  <a:pt x="3384701" y="577640"/>
                </a:cubicBezTo>
                <a:cubicBezTo>
                  <a:pt x="3364074" y="577640"/>
                  <a:pt x="3347404" y="594309"/>
                  <a:pt x="3347404" y="614937"/>
                </a:cubicBezTo>
                <a:cubicBezTo>
                  <a:pt x="3347404" y="635564"/>
                  <a:pt x="3364074" y="652233"/>
                  <a:pt x="3384701" y="652233"/>
                </a:cubicBezTo>
                <a:cubicBezTo>
                  <a:pt x="3405328" y="652233"/>
                  <a:pt x="3421998" y="635488"/>
                  <a:pt x="3421998" y="614937"/>
                </a:cubicBezTo>
                <a:moveTo>
                  <a:pt x="3257587" y="565994"/>
                </a:moveTo>
                <a:cubicBezTo>
                  <a:pt x="3257587" y="546280"/>
                  <a:pt x="3241603" y="530296"/>
                  <a:pt x="3221890" y="530296"/>
                </a:cubicBezTo>
                <a:cubicBezTo>
                  <a:pt x="3202176" y="530296"/>
                  <a:pt x="3186191" y="546280"/>
                  <a:pt x="3186191" y="565994"/>
                </a:cubicBezTo>
                <a:cubicBezTo>
                  <a:pt x="3186191" y="585708"/>
                  <a:pt x="3202176" y="601692"/>
                  <a:pt x="3221890" y="601692"/>
                </a:cubicBezTo>
                <a:cubicBezTo>
                  <a:pt x="3241603" y="601769"/>
                  <a:pt x="3257587" y="585784"/>
                  <a:pt x="3257587" y="565994"/>
                </a:cubicBezTo>
                <a:moveTo>
                  <a:pt x="3090667" y="524511"/>
                </a:moveTo>
                <a:cubicBezTo>
                  <a:pt x="3090667" y="505939"/>
                  <a:pt x="3075596" y="490868"/>
                  <a:pt x="3057024" y="490868"/>
                </a:cubicBezTo>
                <a:cubicBezTo>
                  <a:pt x="3038452" y="490868"/>
                  <a:pt x="3023381" y="505939"/>
                  <a:pt x="3023381" y="524511"/>
                </a:cubicBezTo>
                <a:cubicBezTo>
                  <a:pt x="3023381" y="543084"/>
                  <a:pt x="3038452" y="558154"/>
                  <a:pt x="3057024" y="558154"/>
                </a:cubicBezTo>
                <a:cubicBezTo>
                  <a:pt x="3075596" y="558078"/>
                  <a:pt x="3090667" y="543084"/>
                  <a:pt x="3090667" y="524511"/>
                </a:cubicBezTo>
                <a:moveTo>
                  <a:pt x="2921995" y="490412"/>
                </a:moveTo>
                <a:cubicBezTo>
                  <a:pt x="2921995" y="472981"/>
                  <a:pt x="2907914" y="458900"/>
                  <a:pt x="2890483" y="458900"/>
                </a:cubicBezTo>
                <a:cubicBezTo>
                  <a:pt x="2873053" y="458900"/>
                  <a:pt x="2858971" y="472981"/>
                  <a:pt x="2858971" y="490412"/>
                </a:cubicBezTo>
                <a:cubicBezTo>
                  <a:pt x="2858971" y="507842"/>
                  <a:pt x="2873053" y="521924"/>
                  <a:pt x="2890483" y="521924"/>
                </a:cubicBezTo>
                <a:cubicBezTo>
                  <a:pt x="2907914" y="521924"/>
                  <a:pt x="2921995" y="507766"/>
                  <a:pt x="2921995" y="490412"/>
                </a:cubicBezTo>
                <a:moveTo>
                  <a:pt x="2752486" y="463771"/>
                </a:moveTo>
                <a:cubicBezTo>
                  <a:pt x="2752486" y="447254"/>
                  <a:pt x="2739089" y="433858"/>
                  <a:pt x="2722573" y="433858"/>
                </a:cubicBezTo>
                <a:cubicBezTo>
                  <a:pt x="2706055" y="433858"/>
                  <a:pt x="2692659" y="447254"/>
                  <a:pt x="2692659" y="463771"/>
                </a:cubicBezTo>
                <a:cubicBezTo>
                  <a:pt x="2692659" y="480288"/>
                  <a:pt x="2706055" y="493685"/>
                  <a:pt x="2722573" y="493685"/>
                </a:cubicBezTo>
                <a:cubicBezTo>
                  <a:pt x="2739089" y="493761"/>
                  <a:pt x="2752486" y="480364"/>
                  <a:pt x="2752486" y="463771"/>
                </a:cubicBezTo>
                <a:moveTo>
                  <a:pt x="2581454" y="444742"/>
                </a:moveTo>
                <a:cubicBezTo>
                  <a:pt x="2581454" y="429367"/>
                  <a:pt x="2568971" y="416884"/>
                  <a:pt x="2553596" y="416884"/>
                </a:cubicBezTo>
                <a:cubicBezTo>
                  <a:pt x="2538221" y="416884"/>
                  <a:pt x="2525738" y="429367"/>
                  <a:pt x="2525738" y="444742"/>
                </a:cubicBezTo>
                <a:cubicBezTo>
                  <a:pt x="2525738" y="460118"/>
                  <a:pt x="2538221" y="472601"/>
                  <a:pt x="2553596" y="472601"/>
                </a:cubicBezTo>
                <a:cubicBezTo>
                  <a:pt x="2568971" y="472601"/>
                  <a:pt x="2581454" y="460118"/>
                  <a:pt x="2581454" y="444742"/>
                </a:cubicBezTo>
                <a:moveTo>
                  <a:pt x="2409739" y="433325"/>
                </a:moveTo>
                <a:cubicBezTo>
                  <a:pt x="2409739" y="419092"/>
                  <a:pt x="2398245" y="407598"/>
                  <a:pt x="2384012" y="407598"/>
                </a:cubicBezTo>
                <a:cubicBezTo>
                  <a:pt x="2369778" y="407598"/>
                  <a:pt x="2358284" y="419092"/>
                  <a:pt x="2358284" y="433325"/>
                </a:cubicBezTo>
                <a:cubicBezTo>
                  <a:pt x="2358284" y="447559"/>
                  <a:pt x="2369778" y="459052"/>
                  <a:pt x="2384012" y="459052"/>
                </a:cubicBezTo>
                <a:cubicBezTo>
                  <a:pt x="2398169" y="459052"/>
                  <a:pt x="2409739" y="447559"/>
                  <a:pt x="2409739" y="433325"/>
                </a:cubicBezTo>
                <a:moveTo>
                  <a:pt x="2237641" y="429519"/>
                </a:moveTo>
                <a:cubicBezTo>
                  <a:pt x="2237641" y="416428"/>
                  <a:pt x="2227062" y="405847"/>
                  <a:pt x="2213969" y="405847"/>
                </a:cubicBezTo>
                <a:cubicBezTo>
                  <a:pt x="2200954" y="405847"/>
                  <a:pt x="2190373" y="416428"/>
                  <a:pt x="2190373" y="429519"/>
                </a:cubicBezTo>
                <a:cubicBezTo>
                  <a:pt x="2190373" y="442611"/>
                  <a:pt x="2200954" y="453191"/>
                  <a:pt x="2213969" y="453191"/>
                </a:cubicBezTo>
                <a:cubicBezTo>
                  <a:pt x="2227062" y="453115"/>
                  <a:pt x="2237641" y="442535"/>
                  <a:pt x="2237641" y="429519"/>
                </a:cubicBezTo>
                <a:moveTo>
                  <a:pt x="2066077" y="433325"/>
                </a:moveTo>
                <a:cubicBezTo>
                  <a:pt x="2066077" y="421147"/>
                  <a:pt x="2056182" y="411252"/>
                  <a:pt x="2044004" y="411252"/>
                </a:cubicBezTo>
                <a:cubicBezTo>
                  <a:pt x="2031825" y="411252"/>
                  <a:pt x="2021930" y="421147"/>
                  <a:pt x="2021930" y="433325"/>
                </a:cubicBezTo>
                <a:cubicBezTo>
                  <a:pt x="2021930" y="445504"/>
                  <a:pt x="2031825" y="455399"/>
                  <a:pt x="2044004" y="455399"/>
                </a:cubicBezTo>
                <a:cubicBezTo>
                  <a:pt x="2056258" y="455399"/>
                  <a:pt x="2066077" y="445504"/>
                  <a:pt x="2066077" y="433325"/>
                </a:cubicBezTo>
                <a:moveTo>
                  <a:pt x="1894360" y="444742"/>
                </a:moveTo>
                <a:cubicBezTo>
                  <a:pt x="1894360" y="433706"/>
                  <a:pt x="1885455" y="424800"/>
                  <a:pt x="1874418" y="424800"/>
                </a:cubicBezTo>
                <a:cubicBezTo>
                  <a:pt x="1863382" y="424800"/>
                  <a:pt x="1854476" y="433706"/>
                  <a:pt x="1854476" y="444742"/>
                </a:cubicBezTo>
                <a:cubicBezTo>
                  <a:pt x="1854476" y="455779"/>
                  <a:pt x="1863382" y="464685"/>
                  <a:pt x="1874418" y="464685"/>
                </a:cubicBezTo>
                <a:cubicBezTo>
                  <a:pt x="1885455" y="464685"/>
                  <a:pt x="1894360" y="455779"/>
                  <a:pt x="1894360" y="444742"/>
                </a:cubicBezTo>
                <a:moveTo>
                  <a:pt x="1723329" y="463771"/>
                </a:moveTo>
                <a:cubicBezTo>
                  <a:pt x="1723329" y="453876"/>
                  <a:pt x="1715337" y="445884"/>
                  <a:pt x="1705442" y="445884"/>
                </a:cubicBezTo>
                <a:cubicBezTo>
                  <a:pt x="1695547" y="445884"/>
                  <a:pt x="1687555" y="453876"/>
                  <a:pt x="1687555" y="463771"/>
                </a:cubicBezTo>
                <a:cubicBezTo>
                  <a:pt x="1687555" y="473666"/>
                  <a:pt x="1695547" y="481658"/>
                  <a:pt x="1705442" y="481658"/>
                </a:cubicBezTo>
                <a:cubicBezTo>
                  <a:pt x="1715337" y="481658"/>
                  <a:pt x="1723329" y="473666"/>
                  <a:pt x="1723329" y="463771"/>
                </a:cubicBezTo>
                <a:moveTo>
                  <a:pt x="1553287" y="490412"/>
                </a:moveTo>
                <a:cubicBezTo>
                  <a:pt x="1553287" y="481735"/>
                  <a:pt x="1546208" y="474656"/>
                  <a:pt x="1537532" y="474656"/>
                </a:cubicBezTo>
                <a:cubicBezTo>
                  <a:pt x="1528854" y="474656"/>
                  <a:pt x="1521776" y="481735"/>
                  <a:pt x="1521776" y="490412"/>
                </a:cubicBezTo>
                <a:cubicBezTo>
                  <a:pt x="1521776" y="499089"/>
                  <a:pt x="1528854" y="506168"/>
                  <a:pt x="1537532" y="506168"/>
                </a:cubicBezTo>
                <a:cubicBezTo>
                  <a:pt x="1546208" y="506168"/>
                  <a:pt x="1553287" y="499089"/>
                  <a:pt x="1553287" y="490412"/>
                </a:cubicBezTo>
                <a:moveTo>
                  <a:pt x="1385148" y="524511"/>
                </a:moveTo>
                <a:cubicBezTo>
                  <a:pt x="1385148" y="516672"/>
                  <a:pt x="1378831" y="510354"/>
                  <a:pt x="1370991" y="510354"/>
                </a:cubicBezTo>
                <a:cubicBezTo>
                  <a:pt x="1363151" y="510354"/>
                  <a:pt x="1356833" y="516672"/>
                  <a:pt x="1356833" y="524511"/>
                </a:cubicBezTo>
                <a:cubicBezTo>
                  <a:pt x="1356833" y="532351"/>
                  <a:pt x="1363151" y="538669"/>
                  <a:pt x="1370991" y="538669"/>
                </a:cubicBezTo>
                <a:cubicBezTo>
                  <a:pt x="1378831" y="538669"/>
                  <a:pt x="1385148" y="532351"/>
                  <a:pt x="1385148" y="524511"/>
                </a:cubicBezTo>
                <a:moveTo>
                  <a:pt x="1218760" y="565994"/>
                </a:moveTo>
                <a:cubicBezTo>
                  <a:pt x="1218760" y="559068"/>
                  <a:pt x="1213127" y="553359"/>
                  <a:pt x="1206125" y="553359"/>
                </a:cubicBezTo>
                <a:cubicBezTo>
                  <a:pt x="1199198" y="553359"/>
                  <a:pt x="1193490" y="558992"/>
                  <a:pt x="1193490" y="565994"/>
                </a:cubicBezTo>
                <a:cubicBezTo>
                  <a:pt x="1193490" y="572921"/>
                  <a:pt x="1199122" y="578630"/>
                  <a:pt x="1206125" y="578630"/>
                </a:cubicBezTo>
                <a:cubicBezTo>
                  <a:pt x="1213052" y="578630"/>
                  <a:pt x="1218760" y="572997"/>
                  <a:pt x="1218760" y="565994"/>
                </a:cubicBezTo>
                <a:moveTo>
                  <a:pt x="1053818" y="614937"/>
                </a:moveTo>
                <a:cubicBezTo>
                  <a:pt x="1053818" y="609152"/>
                  <a:pt x="1049099" y="604433"/>
                  <a:pt x="1043314" y="604433"/>
                </a:cubicBezTo>
                <a:cubicBezTo>
                  <a:pt x="1037529" y="604433"/>
                  <a:pt x="1032810" y="609152"/>
                  <a:pt x="1032810" y="614937"/>
                </a:cubicBezTo>
                <a:cubicBezTo>
                  <a:pt x="1032810" y="620721"/>
                  <a:pt x="1037529" y="625440"/>
                  <a:pt x="1043314" y="625440"/>
                </a:cubicBezTo>
                <a:cubicBezTo>
                  <a:pt x="1049099" y="625440"/>
                  <a:pt x="1053818" y="620721"/>
                  <a:pt x="1053818" y="614937"/>
                </a:cubicBezTo>
                <a:moveTo>
                  <a:pt x="891768" y="671110"/>
                </a:moveTo>
                <a:cubicBezTo>
                  <a:pt x="891768" y="666162"/>
                  <a:pt x="887810" y="662204"/>
                  <a:pt x="882863" y="662204"/>
                </a:cubicBezTo>
                <a:cubicBezTo>
                  <a:pt x="877915" y="662204"/>
                  <a:pt x="873957" y="666238"/>
                  <a:pt x="873957" y="671110"/>
                </a:cubicBezTo>
                <a:cubicBezTo>
                  <a:pt x="873957" y="676057"/>
                  <a:pt x="877915" y="680015"/>
                  <a:pt x="882863" y="680015"/>
                </a:cubicBezTo>
                <a:cubicBezTo>
                  <a:pt x="887734" y="680015"/>
                  <a:pt x="891768" y="675981"/>
                  <a:pt x="891768" y="671110"/>
                </a:cubicBezTo>
                <a:moveTo>
                  <a:pt x="732382" y="734362"/>
                </a:moveTo>
                <a:cubicBezTo>
                  <a:pt x="732382" y="730328"/>
                  <a:pt x="729110" y="726978"/>
                  <a:pt x="724999" y="726978"/>
                </a:cubicBezTo>
                <a:cubicBezTo>
                  <a:pt x="720965" y="726978"/>
                  <a:pt x="717616" y="730251"/>
                  <a:pt x="717616" y="734362"/>
                </a:cubicBezTo>
                <a:cubicBezTo>
                  <a:pt x="717616" y="738396"/>
                  <a:pt x="720889" y="741745"/>
                  <a:pt x="724999" y="741745"/>
                </a:cubicBezTo>
                <a:cubicBezTo>
                  <a:pt x="729110" y="741745"/>
                  <a:pt x="732382" y="738472"/>
                  <a:pt x="732382" y="734362"/>
                </a:cubicBezTo>
                <a:moveTo>
                  <a:pt x="576498" y="804692"/>
                </a:moveTo>
                <a:cubicBezTo>
                  <a:pt x="576498" y="801191"/>
                  <a:pt x="573682" y="798375"/>
                  <a:pt x="570180" y="798375"/>
                </a:cubicBezTo>
                <a:cubicBezTo>
                  <a:pt x="566679" y="798375"/>
                  <a:pt x="563863" y="801191"/>
                  <a:pt x="563863" y="804692"/>
                </a:cubicBezTo>
                <a:cubicBezTo>
                  <a:pt x="563863" y="808194"/>
                  <a:pt x="566679" y="811010"/>
                  <a:pt x="570180" y="811010"/>
                </a:cubicBezTo>
                <a:cubicBezTo>
                  <a:pt x="573682" y="811010"/>
                  <a:pt x="576498" y="808194"/>
                  <a:pt x="576498" y="804692"/>
                </a:cubicBezTo>
                <a:moveTo>
                  <a:pt x="423963" y="881873"/>
                </a:moveTo>
                <a:cubicBezTo>
                  <a:pt x="423963" y="878981"/>
                  <a:pt x="421603" y="876621"/>
                  <a:pt x="418711" y="876621"/>
                </a:cubicBezTo>
                <a:cubicBezTo>
                  <a:pt x="415818" y="876621"/>
                  <a:pt x="413459" y="878981"/>
                  <a:pt x="413459" y="881873"/>
                </a:cubicBezTo>
                <a:cubicBezTo>
                  <a:pt x="413459" y="884766"/>
                  <a:pt x="415818" y="887125"/>
                  <a:pt x="418711" y="887125"/>
                </a:cubicBezTo>
                <a:cubicBezTo>
                  <a:pt x="421603" y="887125"/>
                  <a:pt x="423963" y="884766"/>
                  <a:pt x="423963" y="881873"/>
                </a:cubicBezTo>
                <a:moveTo>
                  <a:pt x="274548" y="965753"/>
                </a:moveTo>
                <a:cubicBezTo>
                  <a:pt x="274548" y="963697"/>
                  <a:pt x="272874" y="962099"/>
                  <a:pt x="270895" y="962099"/>
                </a:cubicBezTo>
                <a:cubicBezTo>
                  <a:pt x="268839" y="962099"/>
                  <a:pt x="267241" y="963774"/>
                  <a:pt x="267241" y="965753"/>
                </a:cubicBezTo>
                <a:cubicBezTo>
                  <a:pt x="267241" y="967808"/>
                  <a:pt x="268915" y="969406"/>
                  <a:pt x="270895" y="969406"/>
                </a:cubicBezTo>
                <a:cubicBezTo>
                  <a:pt x="272874" y="969482"/>
                  <a:pt x="274548" y="967808"/>
                  <a:pt x="274548" y="965753"/>
                </a:cubicBezTo>
                <a:moveTo>
                  <a:pt x="5619982" y="6280208"/>
                </a:moveTo>
                <a:cubicBezTo>
                  <a:pt x="5619982" y="6277848"/>
                  <a:pt x="5618079" y="6276022"/>
                  <a:pt x="5615796" y="6276022"/>
                </a:cubicBezTo>
                <a:cubicBezTo>
                  <a:pt x="5613512" y="6276022"/>
                  <a:pt x="5611609" y="6277924"/>
                  <a:pt x="5611609" y="6280208"/>
                </a:cubicBezTo>
                <a:cubicBezTo>
                  <a:pt x="5611609" y="6282492"/>
                  <a:pt x="5613512" y="6284395"/>
                  <a:pt x="5615796" y="6284395"/>
                </a:cubicBezTo>
                <a:cubicBezTo>
                  <a:pt x="5618079" y="6284395"/>
                  <a:pt x="5619982" y="6282492"/>
                  <a:pt x="5619982" y="6280208"/>
                </a:cubicBezTo>
                <a:moveTo>
                  <a:pt x="5705993" y="6132925"/>
                </a:moveTo>
                <a:cubicBezTo>
                  <a:pt x="5705993" y="6130032"/>
                  <a:pt x="5703634" y="6127673"/>
                  <a:pt x="5700741" y="6127673"/>
                </a:cubicBezTo>
                <a:cubicBezTo>
                  <a:pt x="5697849" y="6127673"/>
                  <a:pt x="5695489" y="6130032"/>
                  <a:pt x="5695489" y="6132925"/>
                </a:cubicBezTo>
                <a:cubicBezTo>
                  <a:pt x="5695489" y="6135817"/>
                  <a:pt x="5697849" y="6138177"/>
                  <a:pt x="5700741" y="6138177"/>
                </a:cubicBezTo>
                <a:cubicBezTo>
                  <a:pt x="5703634" y="6138177"/>
                  <a:pt x="5705993" y="6135893"/>
                  <a:pt x="5705993" y="6132925"/>
                </a:cubicBezTo>
                <a:moveTo>
                  <a:pt x="5785685" y="5982216"/>
                </a:moveTo>
                <a:cubicBezTo>
                  <a:pt x="5785685" y="5978715"/>
                  <a:pt x="5782869" y="5975899"/>
                  <a:pt x="5779368" y="5975899"/>
                </a:cubicBezTo>
                <a:cubicBezTo>
                  <a:pt x="5775867" y="5975899"/>
                  <a:pt x="5773051" y="5978715"/>
                  <a:pt x="5773051" y="5982216"/>
                </a:cubicBezTo>
                <a:cubicBezTo>
                  <a:pt x="5773051" y="5985717"/>
                  <a:pt x="5775867" y="5988534"/>
                  <a:pt x="5779368" y="5988534"/>
                </a:cubicBezTo>
                <a:cubicBezTo>
                  <a:pt x="5782869" y="5988534"/>
                  <a:pt x="5785685" y="5985717"/>
                  <a:pt x="5785685" y="5982216"/>
                </a:cubicBezTo>
                <a:moveTo>
                  <a:pt x="5859366" y="5828234"/>
                </a:moveTo>
                <a:cubicBezTo>
                  <a:pt x="5859366" y="5823896"/>
                  <a:pt x="5855865" y="5820395"/>
                  <a:pt x="5851525" y="5820395"/>
                </a:cubicBezTo>
                <a:cubicBezTo>
                  <a:pt x="5847187" y="5820395"/>
                  <a:pt x="5843609" y="5823896"/>
                  <a:pt x="5843609" y="5828234"/>
                </a:cubicBezTo>
                <a:cubicBezTo>
                  <a:pt x="5843609" y="5832573"/>
                  <a:pt x="5847111" y="5836151"/>
                  <a:pt x="5851525" y="5836151"/>
                </a:cubicBezTo>
                <a:cubicBezTo>
                  <a:pt x="5855865" y="5836151"/>
                  <a:pt x="5859366" y="5832573"/>
                  <a:pt x="5859366" y="5828234"/>
                </a:cubicBezTo>
                <a:moveTo>
                  <a:pt x="5926423" y="5671361"/>
                </a:moveTo>
                <a:cubicBezTo>
                  <a:pt x="5926423" y="5666109"/>
                  <a:pt x="5922161" y="5661922"/>
                  <a:pt x="5916985" y="5661922"/>
                </a:cubicBezTo>
                <a:cubicBezTo>
                  <a:pt x="5911733" y="5661922"/>
                  <a:pt x="5907546" y="5666185"/>
                  <a:pt x="5907546" y="5671361"/>
                </a:cubicBezTo>
                <a:cubicBezTo>
                  <a:pt x="5907546" y="5676613"/>
                  <a:pt x="5911809" y="5680799"/>
                  <a:pt x="5916985" y="5680799"/>
                </a:cubicBezTo>
                <a:cubicBezTo>
                  <a:pt x="5922237" y="5680799"/>
                  <a:pt x="5926423" y="5676613"/>
                  <a:pt x="5926423" y="5671361"/>
                </a:cubicBezTo>
                <a:moveTo>
                  <a:pt x="5986783" y="5511823"/>
                </a:moveTo>
                <a:cubicBezTo>
                  <a:pt x="5986783" y="5505733"/>
                  <a:pt x="5981835" y="5500786"/>
                  <a:pt x="5975746" y="5500786"/>
                </a:cubicBezTo>
                <a:cubicBezTo>
                  <a:pt x="5969657" y="5500786"/>
                  <a:pt x="5964709" y="5505733"/>
                  <a:pt x="5964709" y="5511823"/>
                </a:cubicBezTo>
                <a:cubicBezTo>
                  <a:pt x="5964709" y="5517912"/>
                  <a:pt x="5969657" y="5522859"/>
                  <a:pt x="5975746" y="5522859"/>
                </a:cubicBezTo>
                <a:cubicBezTo>
                  <a:pt x="5981835" y="5522859"/>
                  <a:pt x="5986783" y="5517912"/>
                  <a:pt x="5986783" y="5511823"/>
                </a:cubicBezTo>
                <a:moveTo>
                  <a:pt x="6040140" y="5349849"/>
                </a:moveTo>
                <a:cubicBezTo>
                  <a:pt x="6040140" y="5342923"/>
                  <a:pt x="6034507" y="5337214"/>
                  <a:pt x="6027504" y="5337214"/>
                </a:cubicBezTo>
                <a:cubicBezTo>
                  <a:pt x="6020578" y="5337214"/>
                  <a:pt x="6014869" y="5342847"/>
                  <a:pt x="6014869" y="5349849"/>
                </a:cubicBezTo>
                <a:cubicBezTo>
                  <a:pt x="6014869" y="5356776"/>
                  <a:pt x="6020502" y="5362485"/>
                  <a:pt x="6027504" y="5362485"/>
                </a:cubicBezTo>
                <a:cubicBezTo>
                  <a:pt x="6034507" y="5362485"/>
                  <a:pt x="6040140" y="5356852"/>
                  <a:pt x="6040140" y="5349849"/>
                </a:cubicBezTo>
                <a:moveTo>
                  <a:pt x="6087179" y="5185897"/>
                </a:moveTo>
                <a:cubicBezTo>
                  <a:pt x="6087179" y="5177752"/>
                  <a:pt x="6080633" y="5171206"/>
                  <a:pt x="6072489" y="5171206"/>
                </a:cubicBezTo>
                <a:cubicBezTo>
                  <a:pt x="6064344" y="5171206"/>
                  <a:pt x="6057798" y="5177752"/>
                  <a:pt x="6057798" y="5185897"/>
                </a:cubicBezTo>
                <a:cubicBezTo>
                  <a:pt x="6057798" y="5194041"/>
                  <a:pt x="6064420" y="5200587"/>
                  <a:pt x="6072489" y="5200587"/>
                </a:cubicBezTo>
                <a:cubicBezTo>
                  <a:pt x="6080557" y="5200587"/>
                  <a:pt x="6087179" y="5194041"/>
                  <a:pt x="6087179" y="5185897"/>
                </a:cubicBezTo>
                <a:moveTo>
                  <a:pt x="6126531" y="5020117"/>
                </a:moveTo>
                <a:cubicBezTo>
                  <a:pt x="6126531" y="5011135"/>
                  <a:pt x="6119224" y="5003828"/>
                  <a:pt x="6110242" y="5003828"/>
                </a:cubicBezTo>
                <a:cubicBezTo>
                  <a:pt x="6101261" y="5003828"/>
                  <a:pt x="6093953" y="5011135"/>
                  <a:pt x="6093953" y="5020117"/>
                </a:cubicBezTo>
                <a:cubicBezTo>
                  <a:pt x="6093953" y="5029099"/>
                  <a:pt x="6101261" y="5036406"/>
                  <a:pt x="6110242" y="5036406"/>
                </a:cubicBezTo>
                <a:cubicBezTo>
                  <a:pt x="6119300" y="5036406"/>
                  <a:pt x="6126531" y="5029099"/>
                  <a:pt x="6126531" y="5020117"/>
                </a:cubicBezTo>
                <a:moveTo>
                  <a:pt x="6159413" y="4852892"/>
                </a:moveTo>
                <a:cubicBezTo>
                  <a:pt x="6159413" y="4842768"/>
                  <a:pt x="6151192" y="4834471"/>
                  <a:pt x="6140993" y="4834471"/>
                </a:cubicBezTo>
                <a:cubicBezTo>
                  <a:pt x="6130870" y="4834471"/>
                  <a:pt x="6122649" y="4842692"/>
                  <a:pt x="6122649" y="4852892"/>
                </a:cubicBezTo>
                <a:cubicBezTo>
                  <a:pt x="6122649" y="4863091"/>
                  <a:pt x="6130870" y="4871311"/>
                  <a:pt x="6140993" y="4871311"/>
                </a:cubicBezTo>
                <a:cubicBezTo>
                  <a:pt x="6151116" y="4871311"/>
                  <a:pt x="6159413" y="4863091"/>
                  <a:pt x="6159413" y="4852892"/>
                </a:cubicBezTo>
                <a:moveTo>
                  <a:pt x="6184988" y="4684524"/>
                </a:moveTo>
                <a:cubicBezTo>
                  <a:pt x="6184988" y="4673183"/>
                  <a:pt x="6175777" y="4664049"/>
                  <a:pt x="6164512" y="4664049"/>
                </a:cubicBezTo>
                <a:cubicBezTo>
                  <a:pt x="6153171" y="4664049"/>
                  <a:pt x="6144037" y="4673183"/>
                  <a:pt x="6144037" y="4684524"/>
                </a:cubicBezTo>
                <a:cubicBezTo>
                  <a:pt x="6144037" y="4695866"/>
                  <a:pt x="6153247" y="4704999"/>
                  <a:pt x="6164512" y="4704999"/>
                </a:cubicBezTo>
                <a:cubicBezTo>
                  <a:pt x="6175853" y="4704999"/>
                  <a:pt x="6184988" y="4695866"/>
                  <a:pt x="6184988" y="4684524"/>
                </a:cubicBezTo>
                <a:moveTo>
                  <a:pt x="6203483" y="4515319"/>
                </a:moveTo>
                <a:cubicBezTo>
                  <a:pt x="6203483" y="4502837"/>
                  <a:pt x="6193360" y="4492713"/>
                  <a:pt x="6180877" y="4492713"/>
                </a:cubicBezTo>
                <a:cubicBezTo>
                  <a:pt x="6168394" y="4492713"/>
                  <a:pt x="6158271" y="4502837"/>
                  <a:pt x="6158271" y="4515319"/>
                </a:cubicBezTo>
                <a:cubicBezTo>
                  <a:pt x="6158271" y="4527803"/>
                  <a:pt x="6168394" y="4537926"/>
                  <a:pt x="6180877" y="4537926"/>
                </a:cubicBezTo>
                <a:cubicBezTo>
                  <a:pt x="6193360" y="4537926"/>
                  <a:pt x="6203483" y="4527803"/>
                  <a:pt x="6203483" y="4515319"/>
                </a:cubicBezTo>
                <a:moveTo>
                  <a:pt x="6214597" y="4345506"/>
                </a:moveTo>
                <a:cubicBezTo>
                  <a:pt x="6214597" y="4331881"/>
                  <a:pt x="6203559" y="4320845"/>
                  <a:pt x="6189934" y="4320845"/>
                </a:cubicBezTo>
                <a:cubicBezTo>
                  <a:pt x="6176310" y="4320845"/>
                  <a:pt x="6165273" y="4331881"/>
                  <a:pt x="6165273" y="4345506"/>
                </a:cubicBezTo>
                <a:cubicBezTo>
                  <a:pt x="6165273" y="4359131"/>
                  <a:pt x="6176310" y="4370167"/>
                  <a:pt x="6189934" y="4370167"/>
                </a:cubicBezTo>
                <a:cubicBezTo>
                  <a:pt x="6203559" y="4370243"/>
                  <a:pt x="6214597" y="4359207"/>
                  <a:pt x="6214597" y="4345506"/>
                </a:cubicBezTo>
                <a:moveTo>
                  <a:pt x="6218554" y="4175540"/>
                </a:moveTo>
                <a:cubicBezTo>
                  <a:pt x="6218554" y="4160774"/>
                  <a:pt x="6206528" y="4148748"/>
                  <a:pt x="6191762" y="4148748"/>
                </a:cubicBezTo>
                <a:cubicBezTo>
                  <a:pt x="6176995" y="4148748"/>
                  <a:pt x="6164969" y="4160774"/>
                  <a:pt x="6164969" y="4175540"/>
                </a:cubicBezTo>
                <a:cubicBezTo>
                  <a:pt x="6164969" y="4190307"/>
                  <a:pt x="6176995" y="4202333"/>
                  <a:pt x="6191762" y="4202333"/>
                </a:cubicBezTo>
                <a:cubicBezTo>
                  <a:pt x="6206528" y="4202333"/>
                  <a:pt x="6218554" y="4190307"/>
                  <a:pt x="6218554" y="4175540"/>
                </a:cubicBezTo>
                <a:moveTo>
                  <a:pt x="6215205" y="4005575"/>
                </a:moveTo>
                <a:cubicBezTo>
                  <a:pt x="6215205" y="3989590"/>
                  <a:pt x="6202265" y="3976651"/>
                  <a:pt x="6186281" y="3976651"/>
                </a:cubicBezTo>
                <a:cubicBezTo>
                  <a:pt x="6170297" y="3976651"/>
                  <a:pt x="6157358" y="3989590"/>
                  <a:pt x="6157358" y="4005575"/>
                </a:cubicBezTo>
                <a:cubicBezTo>
                  <a:pt x="6157358" y="4021559"/>
                  <a:pt x="6170297" y="4034498"/>
                  <a:pt x="6186281" y="4034498"/>
                </a:cubicBezTo>
                <a:cubicBezTo>
                  <a:pt x="6202265" y="4034498"/>
                  <a:pt x="6215205" y="4021559"/>
                  <a:pt x="6215205" y="4005575"/>
                </a:cubicBezTo>
                <a:moveTo>
                  <a:pt x="6204625" y="3836065"/>
                </a:moveTo>
                <a:cubicBezTo>
                  <a:pt x="6204625" y="3818939"/>
                  <a:pt x="6190772" y="3805087"/>
                  <a:pt x="6173646" y="3805087"/>
                </a:cubicBezTo>
                <a:cubicBezTo>
                  <a:pt x="6156520" y="3805087"/>
                  <a:pt x="6142667" y="3818939"/>
                  <a:pt x="6142667" y="3836065"/>
                </a:cubicBezTo>
                <a:cubicBezTo>
                  <a:pt x="6142667" y="3853191"/>
                  <a:pt x="6156520" y="3867044"/>
                  <a:pt x="6173646" y="3867044"/>
                </a:cubicBezTo>
                <a:cubicBezTo>
                  <a:pt x="6190696" y="3867044"/>
                  <a:pt x="6204625" y="3853191"/>
                  <a:pt x="6204625" y="3836065"/>
                </a:cubicBezTo>
                <a:moveTo>
                  <a:pt x="6186738" y="3667241"/>
                </a:moveTo>
                <a:cubicBezTo>
                  <a:pt x="6186738" y="3648974"/>
                  <a:pt x="6171895" y="3634131"/>
                  <a:pt x="6153628" y="3634131"/>
                </a:cubicBezTo>
                <a:cubicBezTo>
                  <a:pt x="6135360" y="3634131"/>
                  <a:pt x="6120517" y="3648974"/>
                  <a:pt x="6120517" y="3667241"/>
                </a:cubicBezTo>
                <a:cubicBezTo>
                  <a:pt x="6120517" y="3685509"/>
                  <a:pt x="6135360" y="3700352"/>
                  <a:pt x="6153628" y="3700352"/>
                </a:cubicBezTo>
                <a:cubicBezTo>
                  <a:pt x="6171971" y="3700352"/>
                  <a:pt x="6186738" y="3685509"/>
                  <a:pt x="6186738" y="3667241"/>
                </a:cubicBezTo>
                <a:moveTo>
                  <a:pt x="6161696" y="3499407"/>
                </a:moveTo>
                <a:cubicBezTo>
                  <a:pt x="6161696" y="3479997"/>
                  <a:pt x="6145940" y="3464242"/>
                  <a:pt x="6126531" y="3464242"/>
                </a:cubicBezTo>
                <a:cubicBezTo>
                  <a:pt x="6107121" y="3464242"/>
                  <a:pt x="6091365" y="3479997"/>
                  <a:pt x="6091365" y="3499407"/>
                </a:cubicBezTo>
                <a:cubicBezTo>
                  <a:pt x="6091365" y="3518816"/>
                  <a:pt x="6107121" y="3534572"/>
                  <a:pt x="6126531" y="3534572"/>
                </a:cubicBezTo>
                <a:cubicBezTo>
                  <a:pt x="6145940" y="3534572"/>
                  <a:pt x="6161696" y="3518816"/>
                  <a:pt x="6161696" y="3499407"/>
                </a:cubicBezTo>
                <a:moveTo>
                  <a:pt x="6129042" y="3332866"/>
                </a:moveTo>
                <a:cubicBezTo>
                  <a:pt x="6129042" y="3312543"/>
                  <a:pt x="6112602" y="3296102"/>
                  <a:pt x="6092279" y="3296102"/>
                </a:cubicBezTo>
                <a:cubicBezTo>
                  <a:pt x="6071955" y="3296102"/>
                  <a:pt x="6055515" y="3312543"/>
                  <a:pt x="6055515" y="3332866"/>
                </a:cubicBezTo>
                <a:cubicBezTo>
                  <a:pt x="6055515" y="3353189"/>
                  <a:pt x="6071955" y="3369630"/>
                  <a:pt x="6092279" y="3369630"/>
                </a:cubicBezTo>
                <a:cubicBezTo>
                  <a:pt x="6112526" y="3369630"/>
                  <a:pt x="6129042" y="3353189"/>
                  <a:pt x="6129042" y="3332866"/>
                </a:cubicBezTo>
                <a:moveTo>
                  <a:pt x="6089767" y="3167924"/>
                </a:moveTo>
                <a:cubicBezTo>
                  <a:pt x="6089767" y="3146460"/>
                  <a:pt x="6072336" y="3129029"/>
                  <a:pt x="6050872" y="3129029"/>
                </a:cubicBezTo>
                <a:cubicBezTo>
                  <a:pt x="6029407" y="3129029"/>
                  <a:pt x="6011976" y="3146460"/>
                  <a:pt x="6011976" y="3167924"/>
                </a:cubicBezTo>
                <a:cubicBezTo>
                  <a:pt x="6011976" y="3189389"/>
                  <a:pt x="6029407" y="3206819"/>
                  <a:pt x="6050872" y="3206819"/>
                </a:cubicBezTo>
                <a:cubicBezTo>
                  <a:pt x="6072336" y="3206819"/>
                  <a:pt x="6089767" y="3189389"/>
                  <a:pt x="6089767" y="3167924"/>
                </a:cubicBezTo>
                <a:moveTo>
                  <a:pt x="6042956" y="3004961"/>
                </a:moveTo>
                <a:cubicBezTo>
                  <a:pt x="6042956" y="2982659"/>
                  <a:pt x="6024840" y="2964544"/>
                  <a:pt x="6002538" y="2964544"/>
                </a:cubicBezTo>
                <a:cubicBezTo>
                  <a:pt x="5980237" y="2964544"/>
                  <a:pt x="5962121" y="2982659"/>
                  <a:pt x="5962121" y="3004961"/>
                </a:cubicBezTo>
                <a:cubicBezTo>
                  <a:pt x="5962121" y="3027263"/>
                  <a:pt x="5980237" y="3045378"/>
                  <a:pt x="6002538" y="3045378"/>
                </a:cubicBezTo>
                <a:cubicBezTo>
                  <a:pt x="6024840" y="3045378"/>
                  <a:pt x="6042956" y="3027339"/>
                  <a:pt x="6042956" y="3004961"/>
                </a:cubicBezTo>
                <a:moveTo>
                  <a:pt x="5989218" y="2844205"/>
                </a:moveTo>
                <a:cubicBezTo>
                  <a:pt x="5989218" y="2820990"/>
                  <a:pt x="5970418" y="2802190"/>
                  <a:pt x="5947203" y="2802190"/>
                </a:cubicBezTo>
                <a:cubicBezTo>
                  <a:pt x="5923987" y="2802190"/>
                  <a:pt x="5905187" y="2820990"/>
                  <a:pt x="5905187" y="2844205"/>
                </a:cubicBezTo>
                <a:cubicBezTo>
                  <a:pt x="5905187" y="2867421"/>
                  <a:pt x="5923987" y="2886221"/>
                  <a:pt x="5947203" y="2886221"/>
                </a:cubicBezTo>
                <a:cubicBezTo>
                  <a:pt x="5970418" y="2886221"/>
                  <a:pt x="5989218" y="2867421"/>
                  <a:pt x="5989218" y="2844205"/>
                </a:cubicBezTo>
                <a:moveTo>
                  <a:pt x="5928707" y="2685961"/>
                </a:moveTo>
                <a:cubicBezTo>
                  <a:pt x="5928707" y="2661909"/>
                  <a:pt x="5909145" y="2642347"/>
                  <a:pt x="5885093" y="2642347"/>
                </a:cubicBezTo>
                <a:cubicBezTo>
                  <a:pt x="5861040" y="2642347"/>
                  <a:pt x="5841479" y="2661909"/>
                  <a:pt x="5841479" y="2685961"/>
                </a:cubicBezTo>
                <a:cubicBezTo>
                  <a:pt x="5841479" y="2710014"/>
                  <a:pt x="5860964" y="2729575"/>
                  <a:pt x="5885093" y="2729575"/>
                </a:cubicBezTo>
                <a:cubicBezTo>
                  <a:pt x="5909145" y="2729499"/>
                  <a:pt x="5928707" y="2710014"/>
                  <a:pt x="5928707" y="2685961"/>
                </a:cubicBezTo>
                <a:moveTo>
                  <a:pt x="5860964" y="2530457"/>
                </a:moveTo>
                <a:cubicBezTo>
                  <a:pt x="5860964" y="2505796"/>
                  <a:pt x="5840945" y="2485778"/>
                  <a:pt x="5816284" y="2485778"/>
                </a:cubicBezTo>
                <a:cubicBezTo>
                  <a:pt x="5791623" y="2485778"/>
                  <a:pt x="5771604" y="2505796"/>
                  <a:pt x="5771604" y="2530457"/>
                </a:cubicBezTo>
                <a:cubicBezTo>
                  <a:pt x="5771604" y="2555119"/>
                  <a:pt x="5791623" y="2575137"/>
                  <a:pt x="5816284" y="2575137"/>
                </a:cubicBezTo>
                <a:cubicBezTo>
                  <a:pt x="5840945" y="2575137"/>
                  <a:pt x="5860964" y="2555119"/>
                  <a:pt x="5860964" y="2530457"/>
                </a:cubicBezTo>
                <a:moveTo>
                  <a:pt x="5787132" y="2378074"/>
                </a:moveTo>
                <a:cubicBezTo>
                  <a:pt x="5787132" y="2352576"/>
                  <a:pt x="5766429" y="2331872"/>
                  <a:pt x="5740930" y="2331872"/>
                </a:cubicBezTo>
                <a:cubicBezTo>
                  <a:pt x="5715431" y="2331872"/>
                  <a:pt x="5694728" y="2352576"/>
                  <a:pt x="5694728" y="2378074"/>
                </a:cubicBezTo>
                <a:cubicBezTo>
                  <a:pt x="5694728" y="2403573"/>
                  <a:pt x="5715431" y="2424277"/>
                  <a:pt x="5740930" y="2424277"/>
                </a:cubicBezTo>
                <a:cubicBezTo>
                  <a:pt x="5766429" y="2424277"/>
                  <a:pt x="5787132" y="2403649"/>
                  <a:pt x="5787132" y="2378074"/>
                </a:cubicBezTo>
                <a:moveTo>
                  <a:pt x="5706298" y="2229040"/>
                </a:moveTo>
                <a:cubicBezTo>
                  <a:pt x="5706298" y="2202933"/>
                  <a:pt x="5685137" y="2181773"/>
                  <a:pt x="5659029" y="2181773"/>
                </a:cubicBezTo>
                <a:cubicBezTo>
                  <a:pt x="5632922" y="2181773"/>
                  <a:pt x="5611762" y="2202933"/>
                  <a:pt x="5611762" y="2229040"/>
                </a:cubicBezTo>
                <a:cubicBezTo>
                  <a:pt x="5611762" y="2255148"/>
                  <a:pt x="5632922" y="2276308"/>
                  <a:pt x="5659029" y="2276308"/>
                </a:cubicBezTo>
                <a:cubicBezTo>
                  <a:pt x="5685137" y="2276308"/>
                  <a:pt x="5706298" y="2255148"/>
                  <a:pt x="5706298" y="2229040"/>
                </a:cubicBezTo>
                <a:moveTo>
                  <a:pt x="5619221" y="2083660"/>
                </a:moveTo>
                <a:cubicBezTo>
                  <a:pt x="5619221" y="2056943"/>
                  <a:pt x="5597605" y="2035327"/>
                  <a:pt x="5570888" y="2035327"/>
                </a:cubicBezTo>
                <a:cubicBezTo>
                  <a:pt x="5544171" y="2035327"/>
                  <a:pt x="5522555" y="2056943"/>
                  <a:pt x="5522555" y="2083660"/>
                </a:cubicBezTo>
                <a:cubicBezTo>
                  <a:pt x="5522555" y="2110376"/>
                  <a:pt x="5544171" y="2131993"/>
                  <a:pt x="5570888" y="2131993"/>
                </a:cubicBezTo>
                <a:cubicBezTo>
                  <a:pt x="5597605" y="2131993"/>
                  <a:pt x="5619221" y="2110376"/>
                  <a:pt x="5619221" y="2083660"/>
                </a:cubicBezTo>
                <a:moveTo>
                  <a:pt x="5525523" y="1942161"/>
                </a:moveTo>
                <a:cubicBezTo>
                  <a:pt x="5525523" y="1915216"/>
                  <a:pt x="5503678" y="1893295"/>
                  <a:pt x="5476657" y="1893295"/>
                </a:cubicBezTo>
                <a:cubicBezTo>
                  <a:pt x="5449637" y="1893295"/>
                  <a:pt x="5427791" y="1915140"/>
                  <a:pt x="5427791" y="1942161"/>
                </a:cubicBezTo>
                <a:cubicBezTo>
                  <a:pt x="5427791" y="1969106"/>
                  <a:pt x="5449637" y="1991027"/>
                  <a:pt x="5476657" y="1991027"/>
                </a:cubicBezTo>
                <a:cubicBezTo>
                  <a:pt x="5503678" y="1991027"/>
                  <a:pt x="5525523" y="1969182"/>
                  <a:pt x="5525523" y="1942161"/>
                </a:cubicBezTo>
                <a:moveTo>
                  <a:pt x="5425812" y="1804849"/>
                </a:moveTo>
                <a:cubicBezTo>
                  <a:pt x="5425812" y="1777600"/>
                  <a:pt x="5403663" y="1755450"/>
                  <a:pt x="5376413" y="1755450"/>
                </a:cubicBezTo>
                <a:cubicBezTo>
                  <a:pt x="5349164" y="1755450"/>
                  <a:pt x="5327014" y="1777524"/>
                  <a:pt x="5327014" y="1804849"/>
                </a:cubicBezTo>
                <a:cubicBezTo>
                  <a:pt x="5327014" y="1832098"/>
                  <a:pt x="5349087" y="1854248"/>
                  <a:pt x="5376413" y="1854248"/>
                </a:cubicBezTo>
                <a:cubicBezTo>
                  <a:pt x="5403663" y="1854248"/>
                  <a:pt x="5425812" y="1832098"/>
                  <a:pt x="5425812" y="1804849"/>
                </a:cubicBezTo>
                <a:moveTo>
                  <a:pt x="5320316" y="1671952"/>
                </a:moveTo>
                <a:cubicBezTo>
                  <a:pt x="5320316" y="1644398"/>
                  <a:pt x="5298014" y="1622020"/>
                  <a:pt x="5270384" y="1622020"/>
                </a:cubicBezTo>
                <a:cubicBezTo>
                  <a:pt x="5242831" y="1622020"/>
                  <a:pt x="5220528" y="1644398"/>
                  <a:pt x="5220528" y="1671952"/>
                </a:cubicBezTo>
                <a:cubicBezTo>
                  <a:pt x="5220528" y="1699505"/>
                  <a:pt x="5242831" y="1721883"/>
                  <a:pt x="5270384" y="1721883"/>
                </a:cubicBezTo>
                <a:cubicBezTo>
                  <a:pt x="5297938" y="1721807"/>
                  <a:pt x="5320316" y="1699505"/>
                  <a:pt x="5320316" y="1671952"/>
                </a:cubicBezTo>
                <a:moveTo>
                  <a:pt x="5209263" y="1543621"/>
                </a:moveTo>
                <a:cubicBezTo>
                  <a:pt x="5209263" y="1515763"/>
                  <a:pt x="5186657" y="1493156"/>
                  <a:pt x="5158799" y="1493156"/>
                </a:cubicBezTo>
                <a:cubicBezTo>
                  <a:pt x="5130940" y="1493156"/>
                  <a:pt x="5108334" y="1515763"/>
                  <a:pt x="5108334" y="1543621"/>
                </a:cubicBezTo>
                <a:cubicBezTo>
                  <a:pt x="5108334" y="1571479"/>
                  <a:pt x="5130940" y="1594085"/>
                  <a:pt x="5158799" y="1594085"/>
                </a:cubicBezTo>
                <a:cubicBezTo>
                  <a:pt x="5186657" y="1594085"/>
                  <a:pt x="5209263" y="1571479"/>
                  <a:pt x="5209263" y="1543621"/>
                </a:cubicBezTo>
                <a:moveTo>
                  <a:pt x="5092274" y="1420238"/>
                </a:moveTo>
                <a:cubicBezTo>
                  <a:pt x="5092274" y="1392380"/>
                  <a:pt x="5069668" y="1369773"/>
                  <a:pt x="5041810" y="1369773"/>
                </a:cubicBezTo>
                <a:cubicBezTo>
                  <a:pt x="5013951" y="1369773"/>
                  <a:pt x="4991345" y="1392380"/>
                  <a:pt x="4991345" y="1420238"/>
                </a:cubicBezTo>
                <a:cubicBezTo>
                  <a:pt x="4991345" y="1448096"/>
                  <a:pt x="5013951" y="1470702"/>
                  <a:pt x="5041810" y="1470702"/>
                </a:cubicBezTo>
                <a:cubicBezTo>
                  <a:pt x="5069668" y="1470702"/>
                  <a:pt x="5092274" y="1448096"/>
                  <a:pt x="5092274" y="1420238"/>
                </a:cubicBezTo>
                <a:moveTo>
                  <a:pt x="4970109" y="1301954"/>
                </a:moveTo>
                <a:cubicBezTo>
                  <a:pt x="4970109" y="1274096"/>
                  <a:pt x="4947502" y="1251490"/>
                  <a:pt x="4919720" y="1251490"/>
                </a:cubicBezTo>
                <a:cubicBezTo>
                  <a:pt x="4891939" y="1251490"/>
                  <a:pt x="4869256" y="1274096"/>
                  <a:pt x="4869256" y="1301954"/>
                </a:cubicBezTo>
                <a:cubicBezTo>
                  <a:pt x="4869256" y="1329813"/>
                  <a:pt x="4891863" y="1352419"/>
                  <a:pt x="4919720" y="1352419"/>
                </a:cubicBezTo>
                <a:cubicBezTo>
                  <a:pt x="4947579" y="1352419"/>
                  <a:pt x="4970109" y="1329813"/>
                  <a:pt x="4970109" y="1301954"/>
                </a:cubicBezTo>
                <a:moveTo>
                  <a:pt x="4842540" y="1188999"/>
                </a:moveTo>
                <a:cubicBezTo>
                  <a:pt x="4842540" y="1161445"/>
                  <a:pt x="4820238" y="1139067"/>
                  <a:pt x="4792608" y="1139067"/>
                </a:cubicBezTo>
                <a:cubicBezTo>
                  <a:pt x="4765054" y="1139067"/>
                  <a:pt x="4742752" y="1161445"/>
                  <a:pt x="4742752" y="1188999"/>
                </a:cubicBezTo>
                <a:cubicBezTo>
                  <a:pt x="4742752" y="1216553"/>
                  <a:pt x="4765054" y="1238931"/>
                  <a:pt x="4792608" y="1238931"/>
                </a:cubicBezTo>
                <a:cubicBezTo>
                  <a:pt x="4820238" y="1238931"/>
                  <a:pt x="4842540" y="1216553"/>
                  <a:pt x="4842540" y="1188999"/>
                </a:cubicBezTo>
                <a:moveTo>
                  <a:pt x="4710784" y="1081600"/>
                </a:moveTo>
                <a:cubicBezTo>
                  <a:pt x="4710784" y="1054047"/>
                  <a:pt x="4688406" y="1031669"/>
                  <a:pt x="4660852" y="1031669"/>
                </a:cubicBezTo>
                <a:cubicBezTo>
                  <a:pt x="4633299" y="1031669"/>
                  <a:pt x="4610920" y="1054047"/>
                  <a:pt x="4610920" y="1081600"/>
                </a:cubicBezTo>
                <a:cubicBezTo>
                  <a:pt x="4610920" y="1109154"/>
                  <a:pt x="4633299" y="1131532"/>
                  <a:pt x="4660852" y="1131532"/>
                </a:cubicBezTo>
                <a:cubicBezTo>
                  <a:pt x="4688406" y="1131532"/>
                  <a:pt x="4710784" y="1109154"/>
                  <a:pt x="4710784" y="1081600"/>
                </a:cubicBezTo>
                <a:moveTo>
                  <a:pt x="4573471" y="979910"/>
                </a:moveTo>
                <a:cubicBezTo>
                  <a:pt x="4573471" y="952965"/>
                  <a:pt x="4551626" y="931044"/>
                  <a:pt x="4524606" y="931044"/>
                </a:cubicBezTo>
                <a:cubicBezTo>
                  <a:pt x="4497660" y="931044"/>
                  <a:pt x="4475739" y="952889"/>
                  <a:pt x="4475739" y="979910"/>
                </a:cubicBezTo>
                <a:cubicBezTo>
                  <a:pt x="4475739" y="1006855"/>
                  <a:pt x="4497584" y="1028776"/>
                  <a:pt x="4524606" y="1028776"/>
                </a:cubicBezTo>
                <a:cubicBezTo>
                  <a:pt x="4551550" y="1028776"/>
                  <a:pt x="4573471" y="1006931"/>
                  <a:pt x="4573471" y="979910"/>
                </a:cubicBezTo>
                <a:moveTo>
                  <a:pt x="4432430" y="884157"/>
                </a:moveTo>
                <a:cubicBezTo>
                  <a:pt x="4432430" y="857440"/>
                  <a:pt x="4410812" y="835824"/>
                  <a:pt x="4384096" y="835824"/>
                </a:cubicBezTo>
                <a:cubicBezTo>
                  <a:pt x="4357380" y="835824"/>
                  <a:pt x="4335763" y="857440"/>
                  <a:pt x="4335763" y="884157"/>
                </a:cubicBezTo>
                <a:cubicBezTo>
                  <a:pt x="4335763" y="910873"/>
                  <a:pt x="4357380" y="932490"/>
                  <a:pt x="4384096" y="932490"/>
                </a:cubicBezTo>
                <a:cubicBezTo>
                  <a:pt x="4410812" y="932490"/>
                  <a:pt x="4432430" y="910873"/>
                  <a:pt x="4432430" y="884157"/>
                </a:cubicBezTo>
                <a:moveTo>
                  <a:pt x="4286973" y="794493"/>
                </a:moveTo>
                <a:cubicBezTo>
                  <a:pt x="4286973" y="768385"/>
                  <a:pt x="4265813" y="747225"/>
                  <a:pt x="4239705" y="747225"/>
                </a:cubicBezTo>
                <a:cubicBezTo>
                  <a:pt x="4213598" y="747225"/>
                  <a:pt x="4192438" y="768385"/>
                  <a:pt x="4192438" y="794493"/>
                </a:cubicBezTo>
                <a:cubicBezTo>
                  <a:pt x="4192438" y="820600"/>
                  <a:pt x="4213598" y="841761"/>
                  <a:pt x="4239705" y="841761"/>
                </a:cubicBezTo>
                <a:cubicBezTo>
                  <a:pt x="4265813" y="841761"/>
                  <a:pt x="4286973" y="820600"/>
                  <a:pt x="4286973" y="794493"/>
                </a:cubicBezTo>
                <a:moveTo>
                  <a:pt x="4137786" y="711070"/>
                </a:moveTo>
                <a:cubicBezTo>
                  <a:pt x="4137786" y="685572"/>
                  <a:pt x="4117083" y="664868"/>
                  <a:pt x="4091585" y="664868"/>
                </a:cubicBezTo>
                <a:cubicBezTo>
                  <a:pt x="4066086" y="664868"/>
                  <a:pt x="4045382" y="685572"/>
                  <a:pt x="4045382" y="711070"/>
                </a:cubicBezTo>
                <a:cubicBezTo>
                  <a:pt x="4045382" y="736569"/>
                  <a:pt x="4066086" y="757272"/>
                  <a:pt x="4091585" y="757272"/>
                </a:cubicBezTo>
                <a:cubicBezTo>
                  <a:pt x="4117083" y="757272"/>
                  <a:pt x="4137786" y="736569"/>
                  <a:pt x="4137786" y="711070"/>
                </a:cubicBezTo>
                <a:moveTo>
                  <a:pt x="3985175" y="634042"/>
                </a:moveTo>
                <a:cubicBezTo>
                  <a:pt x="3985175" y="609076"/>
                  <a:pt x="3964929" y="588829"/>
                  <a:pt x="3939962" y="588829"/>
                </a:cubicBezTo>
                <a:cubicBezTo>
                  <a:pt x="3914996" y="588829"/>
                  <a:pt x="3894827" y="609076"/>
                  <a:pt x="3894827" y="634042"/>
                </a:cubicBezTo>
                <a:cubicBezTo>
                  <a:pt x="3894827" y="659007"/>
                  <a:pt x="3915073" y="679254"/>
                  <a:pt x="3939962" y="679254"/>
                </a:cubicBezTo>
                <a:cubicBezTo>
                  <a:pt x="3964929" y="679178"/>
                  <a:pt x="3985175" y="658931"/>
                  <a:pt x="3985175" y="634042"/>
                </a:cubicBezTo>
                <a:moveTo>
                  <a:pt x="3828834" y="563559"/>
                </a:moveTo>
                <a:cubicBezTo>
                  <a:pt x="3828834" y="539506"/>
                  <a:pt x="3809349" y="519944"/>
                  <a:pt x="3785220" y="519944"/>
                </a:cubicBezTo>
                <a:cubicBezTo>
                  <a:pt x="3761167" y="519944"/>
                  <a:pt x="3741606" y="539430"/>
                  <a:pt x="3741606" y="563559"/>
                </a:cubicBezTo>
                <a:cubicBezTo>
                  <a:pt x="3741606" y="587611"/>
                  <a:pt x="3761167" y="607173"/>
                  <a:pt x="3785220" y="607173"/>
                </a:cubicBezTo>
                <a:cubicBezTo>
                  <a:pt x="3809349" y="607173"/>
                  <a:pt x="3828834" y="587611"/>
                  <a:pt x="3828834" y="563559"/>
                </a:cubicBezTo>
                <a:moveTo>
                  <a:pt x="3670210" y="499774"/>
                </a:moveTo>
                <a:cubicBezTo>
                  <a:pt x="3670210" y="476254"/>
                  <a:pt x="3651181" y="457225"/>
                  <a:pt x="3627661" y="457225"/>
                </a:cubicBezTo>
                <a:cubicBezTo>
                  <a:pt x="3604141" y="457225"/>
                  <a:pt x="3585112" y="476254"/>
                  <a:pt x="3585112" y="499774"/>
                </a:cubicBezTo>
                <a:cubicBezTo>
                  <a:pt x="3585112" y="523294"/>
                  <a:pt x="3604141" y="542322"/>
                  <a:pt x="3627661" y="542322"/>
                </a:cubicBezTo>
                <a:cubicBezTo>
                  <a:pt x="3651181" y="542322"/>
                  <a:pt x="3670210" y="523217"/>
                  <a:pt x="3670210" y="499774"/>
                </a:cubicBezTo>
                <a:moveTo>
                  <a:pt x="3508465" y="442763"/>
                </a:moveTo>
                <a:cubicBezTo>
                  <a:pt x="3508465" y="420157"/>
                  <a:pt x="3490120" y="401813"/>
                  <a:pt x="3467514" y="401813"/>
                </a:cubicBezTo>
                <a:cubicBezTo>
                  <a:pt x="3444908" y="401813"/>
                  <a:pt x="3426564" y="420157"/>
                  <a:pt x="3426564" y="442763"/>
                </a:cubicBezTo>
                <a:cubicBezTo>
                  <a:pt x="3426564" y="465370"/>
                  <a:pt x="3444908" y="483714"/>
                  <a:pt x="3467514" y="483714"/>
                </a:cubicBezTo>
                <a:cubicBezTo>
                  <a:pt x="3490120" y="483714"/>
                  <a:pt x="3508465" y="465370"/>
                  <a:pt x="3508465" y="442763"/>
                </a:cubicBezTo>
                <a:moveTo>
                  <a:pt x="3344435" y="392603"/>
                </a:moveTo>
                <a:cubicBezTo>
                  <a:pt x="3344435" y="370834"/>
                  <a:pt x="3326777" y="353176"/>
                  <a:pt x="3305008" y="353176"/>
                </a:cubicBezTo>
                <a:cubicBezTo>
                  <a:pt x="3283238" y="353176"/>
                  <a:pt x="3265580" y="370834"/>
                  <a:pt x="3265580" y="392603"/>
                </a:cubicBezTo>
                <a:cubicBezTo>
                  <a:pt x="3265580" y="414372"/>
                  <a:pt x="3283238" y="432031"/>
                  <a:pt x="3305008" y="432031"/>
                </a:cubicBezTo>
                <a:cubicBezTo>
                  <a:pt x="3326777" y="432031"/>
                  <a:pt x="3344435" y="414372"/>
                  <a:pt x="3344435" y="392603"/>
                </a:cubicBezTo>
                <a:moveTo>
                  <a:pt x="3177895" y="349522"/>
                </a:moveTo>
                <a:cubicBezTo>
                  <a:pt x="3177895" y="328895"/>
                  <a:pt x="3161226" y="312225"/>
                  <a:pt x="3140598" y="312225"/>
                </a:cubicBezTo>
                <a:cubicBezTo>
                  <a:pt x="3119971" y="312225"/>
                  <a:pt x="3103302" y="328895"/>
                  <a:pt x="3103302" y="349522"/>
                </a:cubicBezTo>
                <a:cubicBezTo>
                  <a:pt x="3103302" y="370149"/>
                  <a:pt x="3119971" y="386819"/>
                  <a:pt x="3140598" y="386819"/>
                </a:cubicBezTo>
                <a:cubicBezTo>
                  <a:pt x="3161150" y="386819"/>
                  <a:pt x="3177895" y="370073"/>
                  <a:pt x="3177895" y="349522"/>
                </a:cubicBezTo>
                <a:moveTo>
                  <a:pt x="3010137" y="313443"/>
                </a:moveTo>
                <a:cubicBezTo>
                  <a:pt x="3010137" y="293729"/>
                  <a:pt x="2994152" y="277745"/>
                  <a:pt x="2974438" y="277745"/>
                </a:cubicBezTo>
                <a:cubicBezTo>
                  <a:pt x="2954725" y="277745"/>
                  <a:pt x="2938741" y="293729"/>
                  <a:pt x="2938741" y="313443"/>
                </a:cubicBezTo>
                <a:cubicBezTo>
                  <a:pt x="2938741" y="333157"/>
                  <a:pt x="2954725" y="349141"/>
                  <a:pt x="2974438" y="349141"/>
                </a:cubicBezTo>
                <a:cubicBezTo>
                  <a:pt x="2994152" y="349141"/>
                  <a:pt x="3010137" y="333157"/>
                  <a:pt x="3010137" y="313443"/>
                </a:cubicBezTo>
                <a:moveTo>
                  <a:pt x="2840552" y="284519"/>
                </a:moveTo>
                <a:cubicBezTo>
                  <a:pt x="2840552" y="265947"/>
                  <a:pt x="2825481" y="250876"/>
                  <a:pt x="2806908" y="250876"/>
                </a:cubicBezTo>
                <a:cubicBezTo>
                  <a:pt x="2788337" y="250876"/>
                  <a:pt x="2773265" y="265947"/>
                  <a:pt x="2773265" y="284519"/>
                </a:cubicBezTo>
                <a:cubicBezTo>
                  <a:pt x="2773265" y="303092"/>
                  <a:pt x="2788337" y="318163"/>
                  <a:pt x="2806908" y="318163"/>
                </a:cubicBezTo>
                <a:cubicBezTo>
                  <a:pt x="2825481" y="318163"/>
                  <a:pt x="2840552" y="303092"/>
                  <a:pt x="2840552" y="284519"/>
                </a:cubicBezTo>
                <a:moveTo>
                  <a:pt x="2669824" y="262750"/>
                </a:moveTo>
                <a:cubicBezTo>
                  <a:pt x="2669824" y="245320"/>
                  <a:pt x="2655743" y="231239"/>
                  <a:pt x="2638312" y="231239"/>
                </a:cubicBezTo>
                <a:cubicBezTo>
                  <a:pt x="2620883" y="231239"/>
                  <a:pt x="2606801" y="245320"/>
                  <a:pt x="2606801" y="262750"/>
                </a:cubicBezTo>
                <a:cubicBezTo>
                  <a:pt x="2606801" y="280181"/>
                  <a:pt x="2620883" y="294262"/>
                  <a:pt x="2638312" y="294262"/>
                </a:cubicBezTo>
                <a:cubicBezTo>
                  <a:pt x="2655667" y="294262"/>
                  <a:pt x="2669824" y="280181"/>
                  <a:pt x="2669824" y="262750"/>
                </a:cubicBezTo>
                <a:moveTo>
                  <a:pt x="2498261" y="248212"/>
                </a:moveTo>
                <a:cubicBezTo>
                  <a:pt x="2498261" y="232000"/>
                  <a:pt x="2485092" y="218832"/>
                  <a:pt x="2468879" y="218832"/>
                </a:cubicBezTo>
                <a:cubicBezTo>
                  <a:pt x="2452667" y="218832"/>
                  <a:pt x="2439499" y="232000"/>
                  <a:pt x="2439499" y="248212"/>
                </a:cubicBezTo>
                <a:cubicBezTo>
                  <a:pt x="2439499" y="264501"/>
                  <a:pt x="2452667" y="277669"/>
                  <a:pt x="2468879" y="277669"/>
                </a:cubicBezTo>
                <a:cubicBezTo>
                  <a:pt x="2485168" y="277669"/>
                  <a:pt x="2498261" y="264501"/>
                  <a:pt x="2498261" y="248212"/>
                </a:cubicBezTo>
                <a:moveTo>
                  <a:pt x="2326315" y="240981"/>
                </a:moveTo>
                <a:cubicBezTo>
                  <a:pt x="2326315" y="225911"/>
                  <a:pt x="2314061" y="213656"/>
                  <a:pt x="2298990" y="213656"/>
                </a:cubicBezTo>
                <a:cubicBezTo>
                  <a:pt x="2283920" y="213656"/>
                  <a:pt x="2271665" y="225911"/>
                  <a:pt x="2271665" y="240981"/>
                </a:cubicBezTo>
                <a:cubicBezTo>
                  <a:pt x="2271665" y="256052"/>
                  <a:pt x="2283920" y="268307"/>
                  <a:pt x="2298990" y="268307"/>
                </a:cubicBezTo>
                <a:cubicBezTo>
                  <a:pt x="2314137" y="268307"/>
                  <a:pt x="2326315" y="256052"/>
                  <a:pt x="2326315" y="240981"/>
                </a:cubicBezTo>
                <a:moveTo>
                  <a:pt x="2154219" y="240981"/>
                </a:moveTo>
                <a:cubicBezTo>
                  <a:pt x="2154219" y="227052"/>
                  <a:pt x="2142954" y="215787"/>
                  <a:pt x="2129025" y="215787"/>
                </a:cubicBezTo>
                <a:cubicBezTo>
                  <a:pt x="2115095" y="215787"/>
                  <a:pt x="2103830" y="227052"/>
                  <a:pt x="2103830" y="240981"/>
                </a:cubicBezTo>
                <a:cubicBezTo>
                  <a:pt x="2103830" y="254911"/>
                  <a:pt x="2115095" y="266176"/>
                  <a:pt x="2129025" y="266176"/>
                </a:cubicBezTo>
                <a:cubicBezTo>
                  <a:pt x="2142954" y="266176"/>
                  <a:pt x="2154219" y="254911"/>
                  <a:pt x="2154219" y="240981"/>
                </a:cubicBezTo>
                <a:moveTo>
                  <a:pt x="1982274" y="248212"/>
                </a:moveTo>
                <a:cubicBezTo>
                  <a:pt x="1982274" y="235425"/>
                  <a:pt x="1971922" y="225073"/>
                  <a:pt x="1959135" y="225073"/>
                </a:cubicBezTo>
                <a:cubicBezTo>
                  <a:pt x="1946347" y="225073"/>
                  <a:pt x="1935996" y="235425"/>
                  <a:pt x="1935996" y="248212"/>
                </a:cubicBezTo>
                <a:cubicBezTo>
                  <a:pt x="1935996" y="261000"/>
                  <a:pt x="1946347" y="271352"/>
                  <a:pt x="1959135" y="271352"/>
                </a:cubicBezTo>
                <a:cubicBezTo>
                  <a:pt x="1971922" y="271352"/>
                  <a:pt x="1982274" y="261000"/>
                  <a:pt x="1982274" y="248212"/>
                </a:cubicBezTo>
                <a:moveTo>
                  <a:pt x="1810786" y="262750"/>
                </a:moveTo>
                <a:cubicBezTo>
                  <a:pt x="1810786" y="251181"/>
                  <a:pt x="1801348" y="241743"/>
                  <a:pt x="1789778" y="241743"/>
                </a:cubicBezTo>
                <a:cubicBezTo>
                  <a:pt x="1778209" y="241743"/>
                  <a:pt x="1768770" y="251181"/>
                  <a:pt x="1768770" y="262750"/>
                </a:cubicBezTo>
                <a:cubicBezTo>
                  <a:pt x="1768770" y="274320"/>
                  <a:pt x="1778209" y="283758"/>
                  <a:pt x="1789778" y="283758"/>
                </a:cubicBezTo>
                <a:cubicBezTo>
                  <a:pt x="1801348" y="283758"/>
                  <a:pt x="1810786" y="274396"/>
                  <a:pt x="1810786" y="262750"/>
                </a:cubicBezTo>
                <a:moveTo>
                  <a:pt x="1640059" y="284519"/>
                </a:moveTo>
                <a:cubicBezTo>
                  <a:pt x="1640059" y="274092"/>
                  <a:pt x="1631610" y="265567"/>
                  <a:pt x="1621182" y="265567"/>
                </a:cubicBezTo>
                <a:cubicBezTo>
                  <a:pt x="1610755" y="265567"/>
                  <a:pt x="1602305" y="274016"/>
                  <a:pt x="1602305" y="284519"/>
                </a:cubicBezTo>
                <a:cubicBezTo>
                  <a:pt x="1602305" y="294947"/>
                  <a:pt x="1610755" y="303396"/>
                  <a:pt x="1621182" y="303396"/>
                </a:cubicBezTo>
                <a:cubicBezTo>
                  <a:pt x="1631610" y="303396"/>
                  <a:pt x="1640059" y="294947"/>
                  <a:pt x="1640059" y="284519"/>
                </a:cubicBezTo>
                <a:moveTo>
                  <a:pt x="1470398" y="313443"/>
                </a:moveTo>
                <a:cubicBezTo>
                  <a:pt x="1470398" y="304157"/>
                  <a:pt x="1462862" y="296622"/>
                  <a:pt x="1453576" y="296622"/>
                </a:cubicBezTo>
                <a:cubicBezTo>
                  <a:pt x="1444290" y="296622"/>
                  <a:pt x="1436754" y="304157"/>
                  <a:pt x="1436754" y="313443"/>
                </a:cubicBezTo>
                <a:cubicBezTo>
                  <a:pt x="1436754" y="322729"/>
                  <a:pt x="1444290" y="330265"/>
                  <a:pt x="1453576" y="330265"/>
                </a:cubicBezTo>
                <a:cubicBezTo>
                  <a:pt x="1462862" y="330265"/>
                  <a:pt x="1470398" y="322729"/>
                  <a:pt x="1470398" y="313443"/>
                </a:cubicBezTo>
                <a:moveTo>
                  <a:pt x="1302182" y="349522"/>
                </a:moveTo>
                <a:cubicBezTo>
                  <a:pt x="1302182" y="341378"/>
                  <a:pt x="1295560" y="334832"/>
                  <a:pt x="1287492" y="334832"/>
                </a:cubicBezTo>
                <a:cubicBezTo>
                  <a:pt x="1279348" y="334832"/>
                  <a:pt x="1272802" y="341454"/>
                  <a:pt x="1272802" y="349522"/>
                </a:cubicBezTo>
                <a:cubicBezTo>
                  <a:pt x="1272802" y="357666"/>
                  <a:pt x="1279424" y="364212"/>
                  <a:pt x="1287492" y="364212"/>
                </a:cubicBezTo>
                <a:cubicBezTo>
                  <a:pt x="1295560" y="364212"/>
                  <a:pt x="1302182" y="357590"/>
                  <a:pt x="1302182" y="349522"/>
                </a:cubicBezTo>
                <a:moveTo>
                  <a:pt x="1136099" y="392603"/>
                </a:moveTo>
                <a:cubicBezTo>
                  <a:pt x="1136099" y="385372"/>
                  <a:pt x="1130238" y="379512"/>
                  <a:pt x="1123007" y="379512"/>
                </a:cubicBezTo>
                <a:cubicBezTo>
                  <a:pt x="1115776" y="379512"/>
                  <a:pt x="1109839" y="385372"/>
                  <a:pt x="1109839" y="392603"/>
                </a:cubicBezTo>
                <a:cubicBezTo>
                  <a:pt x="1109839" y="399834"/>
                  <a:pt x="1115700" y="405695"/>
                  <a:pt x="1123007" y="405695"/>
                </a:cubicBezTo>
                <a:cubicBezTo>
                  <a:pt x="1130238" y="405771"/>
                  <a:pt x="1136099" y="399834"/>
                  <a:pt x="1136099" y="392603"/>
                </a:cubicBezTo>
                <a:moveTo>
                  <a:pt x="972070" y="442763"/>
                </a:moveTo>
                <a:cubicBezTo>
                  <a:pt x="972070" y="436370"/>
                  <a:pt x="966894" y="431194"/>
                  <a:pt x="960501" y="431194"/>
                </a:cubicBezTo>
                <a:cubicBezTo>
                  <a:pt x="954107" y="431194"/>
                  <a:pt x="948931" y="436370"/>
                  <a:pt x="948931" y="442763"/>
                </a:cubicBezTo>
                <a:cubicBezTo>
                  <a:pt x="948931" y="449157"/>
                  <a:pt x="954107" y="454333"/>
                  <a:pt x="960501" y="454333"/>
                </a:cubicBezTo>
                <a:cubicBezTo>
                  <a:pt x="966894" y="454257"/>
                  <a:pt x="972070" y="449081"/>
                  <a:pt x="972070" y="442763"/>
                </a:cubicBezTo>
                <a:moveTo>
                  <a:pt x="809792" y="499774"/>
                </a:moveTo>
                <a:cubicBezTo>
                  <a:pt x="809792" y="494522"/>
                  <a:pt x="805529" y="490336"/>
                  <a:pt x="800353" y="490336"/>
                </a:cubicBezTo>
                <a:cubicBezTo>
                  <a:pt x="795101" y="490336"/>
                  <a:pt x="790915" y="494598"/>
                  <a:pt x="790915" y="499774"/>
                </a:cubicBezTo>
                <a:cubicBezTo>
                  <a:pt x="790915" y="505026"/>
                  <a:pt x="795178" y="509212"/>
                  <a:pt x="800353" y="509212"/>
                </a:cubicBezTo>
                <a:cubicBezTo>
                  <a:pt x="805605" y="509212"/>
                  <a:pt x="809792" y="504950"/>
                  <a:pt x="809792" y="499774"/>
                </a:cubicBezTo>
                <a:moveTo>
                  <a:pt x="650635" y="563559"/>
                </a:moveTo>
                <a:cubicBezTo>
                  <a:pt x="650635" y="559220"/>
                  <a:pt x="647133" y="555719"/>
                  <a:pt x="642719" y="555719"/>
                </a:cubicBezTo>
                <a:cubicBezTo>
                  <a:pt x="638380" y="555719"/>
                  <a:pt x="634879" y="559220"/>
                  <a:pt x="634879" y="563559"/>
                </a:cubicBezTo>
                <a:cubicBezTo>
                  <a:pt x="634879" y="567897"/>
                  <a:pt x="638380" y="571475"/>
                  <a:pt x="642719" y="571475"/>
                </a:cubicBezTo>
                <a:cubicBezTo>
                  <a:pt x="647133" y="571399"/>
                  <a:pt x="650635" y="567897"/>
                  <a:pt x="650635" y="563559"/>
                </a:cubicBezTo>
                <a:moveTo>
                  <a:pt x="494902" y="634042"/>
                </a:moveTo>
                <a:cubicBezTo>
                  <a:pt x="494902" y="630312"/>
                  <a:pt x="491858" y="627191"/>
                  <a:pt x="488052" y="627191"/>
                </a:cubicBezTo>
                <a:cubicBezTo>
                  <a:pt x="484246" y="627191"/>
                  <a:pt x="481202" y="630236"/>
                  <a:pt x="481202" y="634042"/>
                </a:cubicBezTo>
                <a:cubicBezTo>
                  <a:pt x="481202" y="637847"/>
                  <a:pt x="484246" y="640892"/>
                  <a:pt x="488052" y="640892"/>
                </a:cubicBezTo>
                <a:cubicBezTo>
                  <a:pt x="491782" y="640816"/>
                  <a:pt x="494902" y="637771"/>
                  <a:pt x="494902" y="634042"/>
                </a:cubicBezTo>
                <a:moveTo>
                  <a:pt x="341758" y="711070"/>
                </a:moveTo>
                <a:cubicBezTo>
                  <a:pt x="341758" y="708178"/>
                  <a:pt x="339398" y="705818"/>
                  <a:pt x="336506" y="705818"/>
                </a:cubicBezTo>
                <a:cubicBezTo>
                  <a:pt x="333614" y="705818"/>
                  <a:pt x="331254" y="708178"/>
                  <a:pt x="331254" y="711070"/>
                </a:cubicBezTo>
                <a:cubicBezTo>
                  <a:pt x="331254" y="713963"/>
                  <a:pt x="333614" y="716322"/>
                  <a:pt x="336506" y="716322"/>
                </a:cubicBezTo>
                <a:cubicBezTo>
                  <a:pt x="339398" y="716322"/>
                  <a:pt x="341758" y="713963"/>
                  <a:pt x="341758" y="711070"/>
                </a:cubicBezTo>
                <a:moveTo>
                  <a:pt x="192496" y="794493"/>
                </a:moveTo>
                <a:cubicBezTo>
                  <a:pt x="192496" y="792209"/>
                  <a:pt x="190593" y="790306"/>
                  <a:pt x="188309" y="790306"/>
                </a:cubicBezTo>
                <a:cubicBezTo>
                  <a:pt x="186026" y="790306"/>
                  <a:pt x="184123" y="792209"/>
                  <a:pt x="184123" y="794493"/>
                </a:cubicBezTo>
                <a:cubicBezTo>
                  <a:pt x="184123" y="796852"/>
                  <a:pt x="186026" y="798679"/>
                  <a:pt x="188309" y="798679"/>
                </a:cubicBezTo>
                <a:cubicBezTo>
                  <a:pt x="190669" y="798679"/>
                  <a:pt x="192496" y="796776"/>
                  <a:pt x="192496" y="794493"/>
                </a:cubicBezTo>
                <a:moveTo>
                  <a:pt x="5856321" y="6252502"/>
                </a:moveTo>
                <a:cubicBezTo>
                  <a:pt x="5856321" y="6249610"/>
                  <a:pt x="5853962" y="6247250"/>
                  <a:pt x="5851069" y="6247250"/>
                </a:cubicBezTo>
                <a:cubicBezTo>
                  <a:pt x="5848177" y="6247250"/>
                  <a:pt x="5845817" y="6249610"/>
                  <a:pt x="5845817" y="6252502"/>
                </a:cubicBezTo>
                <a:cubicBezTo>
                  <a:pt x="5845817" y="6255395"/>
                  <a:pt x="5848177" y="6257754"/>
                  <a:pt x="5851069" y="6257754"/>
                </a:cubicBezTo>
                <a:cubicBezTo>
                  <a:pt x="5853962" y="6257754"/>
                  <a:pt x="5856321" y="6255395"/>
                  <a:pt x="5856321" y="6252502"/>
                </a:cubicBezTo>
                <a:moveTo>
                  <a:pt x="5937840" y="6102402"/>
                </a:moveTo>
                <a:cubicBezTo>
                  <a:pt x="5937840" y="6098673"/>
                  <a:pt x="5934796" y="6095552"/>
                  <a:pt x="5930990" y="6095552"/>
                </a:cubicBezTo>
                <a:cubicBezTo>
                  <a:pt x="5927261" y="6095552"/>
                  <a:pt x="5924140" y="6098597"/>
                  <a:pt x="5924140" y="6102402"/>
                </a:cubicBezTo>
                <a:cubicBezTo>
                  <a:pt x="5924140" y="6106208"/>
                  <a:pt x="5927185" y="6109253"/>
                  <a:pt x="5930990" y="6109253"/>
                </a:cubicBezTo>
                <a:cubicBezTo>
                  <a:pt x="5934796" y="6109253"/>
                  <a:pt x="5937840" y="6106208"/>
                  <a:pt x="5937840" y="6102402"/>
                </a:cubicBezTo>
                <a:moveTo>
                  <a:pt x="6012662" y="5949258"/>
                </a:moveTo>
                <a:cubicBezTo>
                  <a:pt x="6012662" y="5944919"/>
                  <a:pt x="6009160" y="5941342"/>
                  <a:pt x="6004746" y="5941342"/>
                </a:cubicBezTo>
                <a:cubicBezTo>
                  <a:pt x="6000408" y="5941342"/>
                  <a:pt x="5996906" y="5944843"/>
                  <a:pt x="5996906" y="5949258"/>
                </a:cubicBezTo>
                <a:cubicBezTo>
                  <a:pt x="5996906" y="5953597"/>
                  <a:pt x="6000408" y="5957098"/>
                  <a:pt x="6004746" y="5957098"/>
                </a:cubicBezTo>
                <a:cubicBezTo>
                  <a:pt x="6009160" y="5957098"/>
                  <a:pt x="6012662" y="5953597"/>
                  <a:pt x="6012662" y="5949258"/>
                </a:cubicBezTo>
                <a:moveTo>
                  <a:pt x="6081698" y="5793145"/>
                </a:moveTo>
                <a:cubicBezTo>
                  <a:pt x="6081698" y="5787893"/>
                  <a:pt x="6077436" y="5783707"/>
                  <a:pt x="6072260" y="5783707"/>
                </a:cubicBezTo>
                <a:cubicBezTo>
                  <a:pt x="6067009" y="5783707"/>
                  <a:pt x="6062822" y="5787970"/>
                  <a:pt x="6062822" y="5793145"/>
                </a:cubicBezTo>
                <a:cubicBezTo>
                  <a:pt x="6062822" y="5798397"/>
                  <a:pt x="6067085" y="5802584"/>
                  <a:pt x="6072260" y="5802584"/>
                </a:cubicBezTo>
                <a:cubicBezTo>
                  <a:pt x="6077513" y="5802660"/>
                  <a:pt x="6081698" y="5798397"/>
                  <a:pt x="6081698" y="5793145"/>
                </a:cubicBezTo>
                <a:moveTo>
                  <a:pt x="6144341" y="5634521"/>
                </a:moveTo>
                <a:cubicBezTo>
                  <a:pt x="6144341" y="5628431"/>
                  <a:pt x="6139395" y="5623484"/>
                  <a:pt x="6133305" y="5623484"/>
                </a:cubicBezTo>
                <a:cubicBezTo>
                  <a:pt x="6127215" y="5623484"/>
                  <a:pt x="6122269" y="5628431"/>
                  <a:pt x="6122269" y="5634521"/>
                </a:cubicBezTo>
                <a:cubicBezTo>
                  <a:pt x="6122269" y="5640610"/>
                  <a:pt x="6127215" y="5645557"/>
                  <a:pt x="6133305" y="5645557"/>
                </a:cubicBezTo>
                <a:cubicBezTo>
                  <a:pt x="6139395" y="5645557"/>
                  <a:pt x="6144341" y="5640610"/>
                  <a:pt x="6144341" y="5634521"/>
                </a:cubicBezTo>
                <a:moveTo>
                  <a:pt x="6200972" y="5473461"/>
                </a:moveTo>
                <a:cubicBezTo>
                  <a:pt x="6200972" y="5466229"/>
                  <a:pt x="6195111" y="5460369"/>
                  <a:pt x="6187880" y="5460369"/>
                </a:cubicBezTo>
                <a:cubicBezTo>
                  <a:pt x="6180648" y="5460369"/>
                  <a:pt x="6174711" y="5466229"/>
                  <a:pt x="6174711" y="5473461"/>
                </a:cubicBezTo>
                <a:cubicBezTo>
                  <a:pt x="6174711" y="5480692"/>
                  <a:pt x="6180572" y="5486553"/>
                  <a:pt x="6187880" y="5486553"/>
                </a:cubicBezTo>
                <a:cubicBezTo>
                  <a:pt x="6195111" y="5486553"/>
                  <a:pt x="6200972" y="5480692"/>
                  <a:pt x="6200972" y="5473461"/>
                </a:cubicBezTo>
                <a:moveTo>
                  <a:pt x="6250447" y="5310345"/>
                </a:moveTo>
                <a:cubicBezTo>
                  <a:pt x="6250447" y="5302201"/>
                  <a:pt x="6243825" y="5295655"/>
                  <a:pt x="6235756" y="5295655"/>
                </a:cubicBezTo>
                <a:cubicBezTo>
                  <a:pt x="6227688" y="5295655"/>
                  <a:pt x="6221066" y="5302277"/>
                  <a:pt x="6221066" y="5310345"/>
                </a:cubicBezTo>
                <a:cubicBezTo>
                  <a:pt x="6221066" y="5318490"/>
                  <a:pt x="6227688" y="5325035"/>
                  <a:pt x="6235756" y="5325035"/>
                </a:cubicBezTo>
                <a:cubicBezTo>
                  <a:pt x="6243825" y="5325035"/>
                  <a:pt x="6250447" y="5318413"/>
                  <a:pt x="6250447" y="5310345"/>
                </a:cubicBezTo>
                <a:moveTo>
                  <a:pt x="6293756" y="5145403"/>
                </a:moveTo>
                <a:cubicBezTo>
                  <a:pt x="6293756" y="5136117"/>
                  <a:pt x="6286221" y="5128582"/>
                  <a:pt x="6276935" y="5128582"/>
                </a:cubicBezTo>
                <a:cubicBezTo>
                  <a:pt x="6267649" y="5128582"/>
                  <a:pt x="6260113" y="5136117"/>
                  <a:pt x="6260113" y="5145403"/>
                </a:cubicBezTo>
                <a:cubicBezTo>
                  <a:pt x="6260113" y="5154689"/>
                  <a:pt x="6267649" y="5162224"/>
                  <a:pt x="6276935" y="5162224"/>
                </a:cubicBezTo>
                <a:cubicBezTo>
                  <a:pt x="6286221" y="5162224"/>
                  <a:pt x="6293756" y="5154689"/>
                  <a:pt x="6293756" y="5145403"/>
                </a:cubicBezTo>
                <a:moveTo>
                  <a:pt x="6330292" y="4978863"/>
                </a:moveTo>
                <a:cubicBezTo>
                  <a:pt x="6330292" y="4968435"/>
                  <a:pt x="6321843" y="4959986"/>
                  <a:pt x="6311415" y="4959986"/>
                </a:cubicBezTo>
                <a:cubicBezTo>
                  <a:pt x="6300987" y="4959986"/>
                  <a:pt x="6292463" y="4968435"/>
                  <a:pt x="6292463" y="4978863"/>
                </a:cubicBezTo>
                <a:cubicBezTo>
                  <a:pt x="6292463" y="4989290"/>
                  <a:pt x="6300911" y="4997815"/>
                  <a:pt x="6311415" y="4997815"/>
                </a:cubicBezTo>
                <a:cubicBezTo>
                  <a:pt x="6321843" y="4997815"/>
                  <a:pt x="6330292" y="4989367"/>
                  <a:pt x="6330292" y="4978863"/>
                </a:cubicBezTo>
                <a:moveTo>
                  <a:pt x="6359977" y="4811104"/>
                </a:moveTo>
                <a:cubicBezTo>
                  <a:pt x="6359977" y="4799535"/>
                  <a:pt x="6350539" y="4790096"/>
                  <a:pt x="6338969" y="4790096"/>
                </a:cubicBezTo>
                <a:cubicBezTo>
                  <a:pt x="6327399" y="4790096"/>
                  <a:pt x="6317961" y="4799535"/>
                  <a:pt x="6317961" y="4811104"/>
                </a:cubicBezTo>
                <a:cubicBezTo>
                  <a:pt x="6317961" y="4822750"/>
                  <a:pt x="6327399" y="4832112"/>
                  <a:pt x="6338969" y="4832112"/>
                </a:cubicBezTo>
                <a:cubicBezTo>
                  <a:pt x="6350615" y="4832112"/>
                  <a:pt x="6359977" y="4822750"/>
                  <a:pt x="6359977" y="4811104"/>
                </a:cubicBezTo>
                <a:moveTo>
                  <a:pt x="6382888" y="4642356"/>
                </a:moveTo>
                <a:cubicBezTo>
                  <a:pt x="6382888" y="4629569"/>
                  <a:pt x="6372536" y="4619217"/>
                  <a:pt x="6359748" y="4619217"/>
                </a:cubicBezTo>
                <a:cubicBezTo>
                  <a:pt x="6346961" y="4619217"/>
                  <a:pt x="6336609" y="4629569"/>
                  <a:pt x="6336609" y="4642356"/>
                </a:cubicBezTo>
                <a:cubicBezTo>
                  <a:pt x="6336609" y="4655143"/>
                  <a:pt x="6346961" y="4665496"/>
                  <a:pt x="6359748" y="4665496"/>
                </a:cubicBezTo>
                <a:cubicBezTo>
                  <a:pt x="6372536" y="4665496"/>
                  <a:pt x="6382888" y="4655143"/>
                  <a:pt x="6382888" y="4642356"/>
                </a:cubicBezTo>
                <a:moveTo>
                  <a:pt x="6398796" y="4472923"/>
                </a:moveTo>
                <a:cubicBezTo>
                  <a:pt x="6398796" y="4458994"/>
                  <a:pt x="6387531" y="4447729"/>
                  <a:pt x="6373601" y="4447729"/>
                </a:cubicBezTo>
                <a:cubicBezTo>
                  <a:pt x="6359672" y="4447729"/>
                  <a:pt x="6348407" y="4458994"/>
                  <a:pt x="6348407" y="4472923"/>
                </a:cubicBezTo>
                <a:cubicBezTo>
                  <a:pt x="6348407" y="4486852"/>
                  <a:pt x="6359672" y="4498117"/>
                  <a:pt x="6373601" y="4498117"/>
                </a:cubicBezTo>
                <a:cubicBezTo>
                  <a:pt x="6387531" y="4498117"/>
                  <a:pt x="6398796" y="4486852"/>
                  <a:pt x="6398796" y="4472923"/>
                </a:cubicBezTo>
                <a:moveTo>
                  <a:pt x="6407853" y="4303034"/>
                </a:moveTo>
                <a:cubicBezTo>
                  <a:pt x="6407853" y="4287963"/>
                  <a:pt x="6395598" y="4275708"/>
                  <a:pt x="6380528" y="4275708"/>
                </a:cubicBezTo>
                <a:cubicBezTo>
                  <a:pt x="6365457" y="4275708"/>
                  <a:pt x="6353202" y="4287963"/>
                  <a:pt x="6353202" y="4303034"/>
                </a:cubicBezTo>
                <a:cubicBezTo>
                  <a:pt x="6353202" y="4318105"/>
                  <a:pt x="6365457" y="4330359"/>
                  <a:pt x="6380528" y="4330359"/>
                </a:cubicBezTo>
                <a:cubicBezTo>
                  <a:pt x="6395598" y="4330359"/>
                  <a:pt x="6407853" y="4318105"/>
                  <a:pt x="6407853" y="4303034"/>
                </a:cubicBezTo>
                <a:moveTo>
                  <a:pt x="6409984" y="4133068"/>
                </a:moveTo>
                <a:cubicBezTo>
                  <a:pt x="6409984" y="4116779"/>
                  <a:pt x="6396816" y="4103687"/>
                  <a:pt x="6380604" y="4103687"/>
                </a:cubicBezTo>
                <a:cubicBezTo>
                  <a:pt x="6364315" y="4103687"/>
                  <a:pt x="6351147" y="4116855"/>
                  <a:pt x="6351147" y="4133068"/>
                </a:cubicBezTo>
                <a:cubicBezTo>
                  <a:pt x="6351147" y="4149281"/>
                  <a:pt x="6364315" y="4162448"/>
                  <a:pt x="6380604" y="4162448"/>
                </a:cubicBezTo>
                <a:cubicBezTo>
                  <a:pt x="6396816" y="4162448"/>
                  <a:pt x="6409984" y="4149281"/>
                  <a:pt x="6409984" y="4133068"/>
                </a:cubicBezTo>
                <a:moveTo>
                  <a:pt x="6405646" y="3963178"/>
                </a:moveTo>
                <a:cubicBezTo>
                  <a:pt x="6405646" y="3945519"/>
                  <a:pt x="6391260" y="3931133"/>
                  <a:pt x="6373601" y="3931133"/>
                </a:cubicBezTo>
                <a:cubicBezTo>
                  <a:pt x="6355866" y="3931133"/>
                  <a:pt x="6341557" y="3945443"/>
                  <a:pt x="6341557" y="3963178"/>
                </a:cubicBezTo>
                <a:cubicBezTo>
                  <a:pt x="6341557" y="3980913"/>
                  <a:pt x="6355866" y="3995223"/>
                  <a:pt x="6373601" y="3995223"/>
                </a:cubicBezTo>
                <a:cubicBezTo>
                  <a:pt x="6391336" y="3995223"/>
                  <a:pt x="6405646" y="3980837"/>
                  <a:pt x="6405646" y="3963178"/>
                </a:cubicBezTo>
                <a:moveTo>
                  <a:pt x="6393924" y="3793745"/>
                </a:moveTo>
                <a:cubicBezTo>
                  <a:pt x="6393924" y="3774869"/>
                  <a:pt x="6378625" y="3759569"/>
                  <a:pt x="6359748" y="3759569"/>
                </a:cubicBezTo>
                <a:cubicBezTo>
                  <a:pt x="6340872" y="3759569"/>
                  <a:pt x="6325573" y="3774869"/>
                  <a:pt x="6325573" y="3793745"/>
                </a:cubicBezTo>
                <a:cubicBezTo>
                  <a:pt x="6325573" y="3812622"/>
                  <a:pt x="6340872" y="3827921"/>
                  <a:pt x="6359748" y="3827921"/>
                </a:cubicBezTo>
                <a:cubicBezTo>
                  <a:pt x="6378625" y="3827845"/>
                  <a:pt x="6393924" y="3812546"/>
                  <a:pt x="6393924" y="3793745"/>
                </a:cubicBezTo>
                <a:moveTo>
                  <a:pt x="6375276" y="3624997"/>
                </a:moveTo>
                <a:cubicBezTo>
                  <a:pt x="6375276" y="3604979"/>
                  <a:pt x="6359064" y="3588766"/>
                  <a:pt x="6339045" y="3588766"/>
                </a:cubicBezTo>
                <a:cubicBezTo>
                  <a:pt x="6319027" y="3588766"/>
                  <a:pt x="6302814" y="3604979"/>
                  <a:pt x="6302814" y="3624997"/>
                </a:cubicBezTo>
                <a:cubicBezTo>
                  <a:pt x="6302814" y="3645016"/>
                  <a:pt x="6319027" y="3661228"/>
                  <a:pt x="6339045" y="3661228"/>
                </a:cubicBezTo>
                <a:cubicBezTo>
                  <a:pt x="6358987" y="3661228"/>
                  <a:pt x="6375276" y="3645016"/>
                  <a:pt x="6375276" y="3624997"/>
                </a:cubicBezTo>
                <a:moveTo>
                  <a:pt x="6349701" y="3457239"/>
                </a:moveTo>
                <a:cubicBezTo>
                  <a:pt x="6349701" y="3436079"/>
                  <a:pt x="6332499" y="3418877"/>
                  <a:pt x="6311339" y="3418877"/>
                </a:cubicBezTo>
                <a:cubicBezTo>
                  <a:pt x="6290179" y="3418877"/>
                  <a:pt x="6272977" y="3436079"/>
                  <a:pt x="6272977" y="3457239"/>
                </a:cubicBezTo>
                <a:cubicBezTo>
                  <a:pt x="6272977" y="3478399"/>
                  <a:pt x="6290179" y="3495601"/>
                  <a:pt x="6311339" y="3495601"/>
                </a:cubicBezTo>
                <a:cubicBezTo>
                  <a:pt x="6332576" y="3495525"/>
                  <a:pt x="6349701" y="3478399"/>
                  <a:pt x="6349701" y="3457239"/>
                </a:cubicBezTo>
                <a:moveTo>
                  <a:pt x="6317352" y="3290698"/>
                </a:moveTo>
                <a:cubicBezTo>
                  <a:pt x="6317352" y="3268397"/>
                  <a:pt x="6299237" y="3250281"/>
                  <a:pt x="6276935" y="3250281"/>
                </a:cubicBezTo>
                <a:cubicBezTo>
                  <a:pt x="6254632" y="3250281"/>
                  <a:pt x="6236517" y="3268397"/>
                  <a:pt x="6236517" y="3290698"/>
                </a:cubicBezTo>
                <a:cubicBezTo>
                  <a:pt x="6236517" y="3313000"/>
                  <a:pt x="6254632" y="3331116"/>
                  <a:pt x="6276935" y="3331116"/>
                </a:cubicBezTo>
                <a:cubicBezTo>
                  <a:pt x="6299237" y="3331116"/>
                  <a:pt x="6317352" y="3313076"/>
                  <a:pt x="6317352" y="3290698"/>
                </a:cubicBezTo>
                <a:moveTo>
                  <a:pt x="6277772" y="3125756"/>
                </a:moveTo>
                <a:cubicBezTo>
                  <a:pt x="6277772" y="3102541"/>
                  <a:pt x="6258972" y="3083741"/>
                  <a:pt x="6235756" y="3083741"/>
                </a:cubicBezTo>
                <a:cubicBezTo>
                  <a:pt x="6212541" y="3083741"/>
                  <a:pt x="6193740" y="3102541"/>
                  <a:pt x="6193740" y="3125756"/>
                </a:cubicBezTo>
                <a:cubicBezTo>
                  <a:pt x="6193740" y="3148971"/>
                  <a:pt x="6212541" y="3167772"/>
                  <a:pt x="6235756" y="3167772"/>
                </a:cubicBezTo>
                <a:cubicBezTo>
                  <a:pt x="6258895" y="3167772"/>
                  <a:pt x="6277772" y="3148971"/>
                  <a:pt x="6277772" y="3125756"/>
                </a:cubicBezTo>
                <a:moveTo>
                  <a:pt x="6231950" y="2962641"/>
                </a:moveTo>
                <a:cubicBezTo>
                  <a:pt x="6231950" y="2938284"/>
                  <a:pt x="6212160" y="2918494"/>
                  <a:pt x="6187804" y="2918494"/>
                </a:cubicBezTo>
                <a:cubicBezTo>
                  <a:pt x="6163446" y="2918494"/>
                  <a:pt x="6143657" y="2938284"/>
                  <a:pt x="6143657" y="2962641"/>
                </a:cubicBezTo>
                <a:cubicBezTo>
                  <a:pt x="6143657" y="2986998"/>
                  <a:pt x="6163446" y="3006788"/>
                  <a:pt x="6187804" y="3006788"/>
                </a:cubicBezTo>
                <a:cubicBezTo>
                  <a:pt x="6212160" y="3006788"/>
                  <a:pt x="6231950" y="2986998"/>
                  <a:pt x="6231950" y="2962641"/>
                </a:cubicBezTo>
                <a:moveTo>
                  <a:pt x="6178974" y="2801581"/>
                </a:moveTo>
                <a:cubicBezTo>
                  <a:pt x="6178974" y="2776310"/>
                  <a:pt x="6158499" y="2755911"/>
                  <a:pt x="6133305" y="2755911"/>
                </a:cubicBezTo>
                <a:cubicBezTo>
                  <a:pt x="6108035" y="2755911"/>
                  <a:pt x="6087636" y="2776386"/>
                  <a:pt x="6087636" y="2801581"/>
                </a:cubicBezTo>
                <a:cubicBezTo>
                  <a:pt x="6087636" y="2826775"/>
                  <a:pt x="6108110" y="2847250"/>
                  <a:pt x="6133305" y="2847250"/>
                </a:cubicBezTo>
                <a:cubicBezTo>
                  <a:pt x="6158575" y="2847326"/>
                  <a:pt x="6178974" y="2826851"/>
                  <a:pt x="6178974" y="2801581"/>
                </a:cubicBezTo>
                <a:moveTo>
                  <a:pt x="6119528" y="2642880"/>
                </a:moveTo>
                <a:cubicBezTo>
                  <a:pt x="6119528" y="2616772"/>
                  <a:pt x="6098368" y="2595612"/>
                  <a:pt x="6072260" y="2595612"/>
                </a:cubicBezTo>
                <a:cubicBezTo>
                  <a:pt x="6046153" y="2595612"/>
                  <a:pt x="6024993" y="2616772"/>
                  <a:pt x="6024993" y="2642880"/>
                </a:cubicBezTo>
                <a:cubicBezTo>
                  <a:pt x="6024993" y="2668988"/>
                  <a:pt x="6046153" y="2690148"/>
                  <a:pt x="6072260" y="2690148"/>
                </a:cubicBezTo>
                <a:cubicBezTo>
                  <a:pt x="6098368" y="2690148"/>
                  <a:pt x="6119528" y="2668988"/>
                  <a:pt x="6119528" y="2642880"/>
                </a:cubicBezTo>
                <a:moveTo>
                  <a:pt x="6053688" y="2486843"/>
                </a:moveTo>
                <a:cubicBezTo>
                  <a:pt x="6053688" y="2459899"/>
                  <a:pt x="6031843" y="2437977"/>
                  <a:pt x="6004822" y="2437977"/>
                </a:cubicBezTo>
                <a:cubicBezTo>
                  <a:pt x="5977877" y="2437977"/>
                  <a:pt x="5955956" y="2459822"/>
                  <a:pt x="5955956" y="2486843"/>
                </a:cubicBezTo>
                <a:cubicBezTo>
                  <a:pt x="5955956" y="2513788"/>
                  <a:pt x="5977801" y="2535709"/>
                  <a:pt x="6004822" y="2535709"/>
                </a:cubicBezTo>
                <a:cubicBezTo>
                  <a:pt x="6031767" y="2535709"/>
                  <a:pt x="6053688" y="2513788"/>
                  <a:pt x="6053688" y="2486843"/>
                </a:cubicBezTo>
                <a:moveTo>
                  <a:pt x="5980922" y="2333699"/>
                </a:moveTo>
                <a:cubicBezTo>
                  <a:pt x="5980922" y="2306145"/>
                  <a:pt x="5958544" y="2283767"/>
                  <a:pt x="5930990" y="2283767"/>
                </a:cubicBezTo>
                <a:cubicBezTo>
                  <a:pt x="5903437" y="2283767"/>
                  <a:pt x="5881058" y="2306145"/>
                  <a:pt x="5881058" y="2333699"/>
                </a:cubicBezTo>
                <a:cubicBezTo>
                  <a:pt x="5881058" y="2361253"/>
                  <a:pt x="5903437" y="2383631"/>
                  <a:pt x="5930990" y="2383631"/>
                </a:cubicBezTo>
                <a:cubicBezTo>
                  <a:pt x="5958620" y="2383555"/>
                  <a:pt x="5980922" y="2361253"/>
                  <a:pt x="5980922" y="2333699"/>
                </a:cubicBezTo>
                <a:moveTo>
                  <a:pt x="5902599" y="2183600"/>
                </a:moveTo>
                <a:cubicBezTo>
                  <a:pt x="5902599" y="2155132"/>
                  <a:pt x="5879536" y="2132146"/>
                  <a:pt x="5851145" y="2132146"/>
                </a:cubicBezTo>
                <a:cubicBezTo>
                  <a:pt x="5822677" y="2132146"/>
                  <a:pt x="5799691" y="2155208"/>
                  <a:pt x="5799691" y="2183600"/>
                </a:cubicBezTo>
                <a:cubicBezTo>
                  <a:pt x="5799691" y="2211991"/>
                  <a:pt x="5822754" y="2235053"/>
                  <a:pt x="5851145" y="2235053"/>
                </a:cubicBezTo>
                <a:cubicBezTo>
                  <a:pt x="5879536" y="2235130"/>
                  <a:pt x="5902599" y="2212067"/>
                  <a:pt x="5902599" y="2183600"/>
                </a:cubicBezTo>
                <a:moveTo>
                  <a:pt x="5817578" y="2036925"/>
                </a:moveTo>
                <a:cubicBezTo>
                  <a:pt x="5817578" y="2007925"/>
                  <a:pt x="5794059" y="1984405"/>
                  <a:pt x="5765058" y="1984405"/>
                </a:cubicBezTo>
                <a:cubicBezTo>
                  <a:pt x="5736058" y="1984405"/>
                  <a:pt x="5712539" y="2007925"/>
                  <a:pt x="5712539" y="2036925"/>
                </a:cubicBezTo>
                <a:cubicBezTo>
                  <a:pt x="5712539" y="2065925"/>
                  <a:pt x="5736058" y="2089445"/>
                  <a:pt x="5765058" y="2089445"/>
                </a:cubicBezTo>
                <a:cubicBezTo>
                  <a:pt x="5794059" y="2089521"/>
                  <a:pt x="5817578" y="2066001"/>
                  <a:pt x="5817578" y="2036925"/>
                </a:cubicBezTo>
                <a:moveTo>
                  <a:pt x="5726240" y="1893904"/>
                </a:moveTo>
                <a:cubicBezTo>
                  <a:pt x="5726240" y="1864600"/>
                  <a:pt x="5702492" y="1840852"/>
                  <a:pt x="5673188" y="1840852"/>
                </a:cubicBezTo>
                <a:cubicBezTo>
                  <a:pt x="5643882" y="1840852"/>
                  <a:pt x="5620134" y="1864600"/>
                  <a:pt x="5620134" y="1893904"/>
                </a:cubicBezTo>
                <a:cubicBezTo>
                  <a:pt x="5620134" y="1923209"/>
                  <a:pt x="5643882" y="1946956"/>
                  <a:pt x="5673188" y="1946956"/>
                </a:cubicBezTo>
                <a:cubicBezTo>
                  <a:pt x="5702492" y="1946956"/>
                  <a:pt x="5726240" y="1923209"/>
                  <a:pt x="5726240" y="1893904"/>
                </a:cubicBezTo>
                <a:moveTo>
                  <a:pt x="5629573" y="1754765"/>
                </a:moveTo>
                <a:cubicBezTo>
                  <a:pt x="5629573" y="1724852"/>
                  <a:pt x="5605368" y="1700647"/>
                  <a:pt x="5575455" y="1700647"/>
                </a:cubicBezTo>
                <a:cubicBezTo>
                  <a:pt x="5545542" y="1700647"/>
                  <a:pt x="5521337" y="1724852"/>
                  <a:pt x="5521337" y="1754765"/>
                </a:cubicBezTo>
                <a:cubicBezTo>
                  <a:pt x="5521337" y="1784678"/>
                  <a:pt x="5545542" y="1808883"/>
                  <a:pt x="5575455" y="1808883"/>
                </a:cubicBezTo>
                <a:cubicBezTo>
                  <a:pt x="5605368" y="1808883"/>
                  <a:pt x="5629573" y="1784678"/>
                  <a:pt x="5629573" y="1754765"/>
                </a:cubicBezTo>
                <a:moveTo>
                  <a:pt x="5526817" y="1619736"/>
                </a:moveTo>
                <a:cubicBezTo>
                  <a:pt x="5526817" y="1589595"/>
                  <a:pt x="5502384" y="1565086"/>
                  <a:pt x="5472166" y="1565086"/>
                </a:cubicBezTo>
                <a:cubicBezTo>
                  <a:pt x="5442025" y="1565086"/>
                  <a:pt x="5417515" y="1589519"/>
                  <a:pt x="5417515" y="1619736"/>
                </a:cubicBezTo>
                <a:cubicBezTo>
                  <a:pt x="5417515" y="1649878"/>
                  <a:pt x="5441949" y="1674387"/>
                  <a:pt x="5472166" y="1674387"/>
                </a:cubicBezTo>
                <a:cubicBezTo>
                  <a:pt x="5502384" y="1674387"/>
                  <a:pt x="5526817" y="1649878"/>
                  <a:pt x="5526817" y="1619736"/>
                </a:cubicBezTo>
                <a:moveTo>
                  <a:pt x="5418657" y="1488970"/>
                </a:moveTo>
                <a:cubicBezTo>
                  <a:pt x="5418657" y="1458524"/>
                  <a:pt x="5393996" y="1433786"/>
                  <a:pt x="5363473" y="1433786"/>
                </a:cubicBezTo>
                <a:cubicBezTo>
                  <a:pt x="5333027" y="1433786"/>
                  <a:pt x="5308290" y="1458448"/>
                  <a:pt x="5308290" y="1488970"/>
                </a:cubicBezTo>
                <a:cubicBezTo>
                  <a:pt x="5308290" y="1519416"/>
                  <a:pt x="5332951" y="1544154"/>
                  <a:pt x="5363473" y="1544154"/>
                </a:cubicBezTo>
                <a:cubicBezTo>
                  <a:pt x="5393996" y="1544154"/>
                  <a:pt x="5418657" y="1519416"/>
                  <a:pt x="5418657" y="1488970"/>
                </a:cubicBezTo>
                <a:moveTo>
                  <a:pt x="5304713" y="1362771"/>
                </a:moveTo>
                <a:cubicBezTo>
                  <a:pt x="5304713" y="1332325"/>
                  <a:pt x="5280051" y="1307587"/>
                  <a:pt x="5249529" y="1307587"/>
                </a:cubicBezTo>
                <a:cubicBezTo>
                  <a:pt x="5219083" y="1307587"/>
                  <a:pt x="5194345" y="1332248"/>
                  <a:pt x="5194345" y="1362771"/>
                </a:cubicBezTo>
                <a:cubicBezTo>
                  <a:pt x="5194345" y="1393217"/>
                  <a:pt x="5219006" y="1417954"/>
                  <a:pt x="5249529" y="1417954"/>
                </a:cubicBezTo>
                <a:cubicBezTo>
                  <a:pt x="5280051" y="1417954"/>
                  <a:pt x="5304713" y="1393293"/>
                  <a:pt x="5304713" y="1362771"/>
                </a:cubicBezTo>
                <a:moveTo>
                  <a:pt x="5185744" y="1241367"/>
                </a:moveTo>
                <a:cubicBezTo>
                  <a:pt x="5185744" y="1210920"/>
                  <a:pt x="5161083" y="1186183"/>
                  <a:pt x="5130560" y="1186183"/>
                </a:cubicBezTo>
                <a:cubicBezTo>
                  <a:pt x="5100114" y="1186183"/>
                  <a:pt x="5075377" y="1210844"/>
                  <a:pt x="5075377" y="1241367"/>
                </a:cubicBezTo>
                <a:cubicBezTo>
                  <a:pt x="5075377" y="1271813"/>
                  <a:pt x="5100038" y="1296550"/>
                  <a:pt x="5130560" y="1296550"/>
                </a:cubicBezTo>
                <a:cubicBezTo>
                  <a:pt x="5161083" y="1296474"/>
                  <a:pt x="5185744" y="1271813"/>
                  <a:pt x="5185744" y="1241367"/>
                </a:cubicBezTo>
                <a:moveTo>
                  <a:pt x="5061904" y="1124834"/>
                </a:moveTo>
                <a:cubicBezTo>
                  <a:pt x="5061904" y="1094388"/>
                  <a:pt x="5037243" y="1069650"/>
                  <a:pt x="5006720" y="1069650"/>
                </a:cubicBezTo>
                <a:cubicBezTo>
                  <a:pt x="4976274" y="1069650"/>
                  <a:pt x="4951537" y="1094312"/>
                  <a:pt x="4951537" y="1124834"/>
                </a:cubicBezTo>
                <a:cubicBezTo>
                  <a:pt x="4951537" y="1155280"/>
                  <a:pt x="4976198" y="1180017"/>
                  <a:pt x="5006720" y="1180017"/>
                </a:cubicBezTo>
                <a:cubicBezTo>
                  <a:pt x="5037243" y="1180017"/>
                  <a:pt x="5061904" y="1155356"/>
                  <a:pt x="5061904" y="1124834"/>
                </a:cubicBezTo>
                <a:moveTo>
                  <a:pt x="4932889" y="1013553"/>
                </a:moveTo>
                <a:cubicBezTo>
                  <a:pt x="4932889" y="983411"/>
                  <a:pt x="4908455" y="958902"/>
                  <a:pt x="4878238" y="958902"/>
                </a:cubicBezTo>
                <a:cubicBezTo>
                  <a:pt x="4848096" y="958902"/>
                  <a:pt x="4823587" y="983335"/>
                  <a:pt x="4823587" y="1013553"/>
                </a:cubicBezTo>
                <a:cubicBezTo>
                  <a:pt x="4823587" y="1043695"/>
                  <a:pt x="4848020" y="1068204"/>
                  <a:pt x="4878238" y="1068204"/>
                </a:cubicBezTo>
                <a:cubicBezTo>
                  <a:pt x="4908455" y="1068128"/>
                  <a:pt x="4932889" y="1043695"/>
                  <a:pt x="4932889" y="1013553"/>
                </a:cubicBezTo>
                <a:moveTo>
                  <a:pt x="4799458" y="907524"/>
                </a:moveTo>
                <a:cubicBezTo>
                  <a:pt x="4799458" y="877611"/>
                  <a:pt x="4775253" y="853406"/>
                  <a:pt x="4745340" y="853406"/>
                </a:cubicBezTo>
                <a:cubicBezTo>
                  <a:pt x="4715427" y="853406"/>
                  <a:pt x="4691222" y="877611"/>
                  <a:pt x="4691222" y="907524"/>
                </a:cubicBezTo>
                <a:cubicBezTo>
                  <a:pt x="4691222" y="937438"/>
                  <a:pt x="4715427" y="961642"/>
                  <a:pt x="4745340" y="961642"/>
                </a:cubicBezTo>
                <a:cubicBezTo>
                  <a:pt x="4775253" y="961642"/>
                  <a:pt x="4799458" y="937438"/>
                  <a:pt x="4799458" y="907524"/>
                </a:cubicBezTo>
                <a:moveTo>
                  <a:pt x="4661766" y="807052"/>
                </a:moveTo>
                <a:cubicBezTo>
                  <a:pt x="4661766" y="777443"/>
                  <a:pt x="4637789" y="753467"/>
                  <a:pt x="4608180" y="753467"/>
                </a:cubicBezTo>
                <a:cubicBezTo>
                  <a:pt x="4578571" y="753467"/>
                  <a:pt x="4554595" y="777443"/>
                  <a:pt x="4554595" y="807052"/>
                </a:cubicBezTo>
                <a:cubicBezTo>
                  <a:pt x="4554595" y="836661"/>
                  <a:pt x="4578571" y="860637"/>
                  <a:pt x="4608180" y="860637"/>
                </a:cubicBezTo>
                <a:cubicBezTo>
                  <a:pt x="4637789" y="860637"/>
                  <a:pt x="4661766" y="836585"/>
                  <a:pt x="4661766" y="807052"/>
                </a:cubicBezTo>
                <a:moveTo>
                  <a:pt x="4520114" y="712212"/>
                </a:moveTo>
                <a:cubicBezTo>
                  <a:pt x="4520114" y="682908"/>
                  <a:pt x="4496366" y="659160"/>
                  <a:pt x="4467062" y="659160"/>
                </a:cubicBezTo>
                <a:cubicBezTo>
                  <a:pt x="4437758" y="659160"/>
                  <a:pt x="4414010" y="682908"/>
                  <a:pt x="4414010" y="712212"/>
                </a:cubicBezTo>
                <a:cubicBezTo>
                  <a:pt x="4414010" y="741517"/>
                  <a:pt x="4437758" y="765265"/>
                  <a:pt x="4467062" y="765265"/>
                </a:cubicBezTo>
                <a:cubicBezTo>
                  <a:pt x="4496366" y="765265"/>
                  <a:pt x="4520114" y="741517"/>
                  <a:pt x="4520114" y="712212"/>
                </a:cubicBezTo>
                <a:moveTo>
                  <a:pt x="4374201" y="623233"/>
                </a:moveTo>
                <a:cubicBezTo>
                  <a:pt x="4374201" y="594538"/>
                  <a:pt x="4350910" y="571246"/>
                  <a:pt x="4322214" y="571246"/>
                </a:cubicBezTo>
                <a:cubicBezTo>
                  <a:pt x="4293519" y="571246"/>
                  <a:pt x="4270228" y="594538"/>
                  <a:pt x="4270228" y="623233"/>
                </a:cubicBezTo>
                <a:cubicBezTo>
                  <a:pt x="4270228" y="651929"/>
                  <a:pt x="4293519" y="675220"/>
                  <a:pt x="4322214" y="675220"/>
                </a:cubicBezTo>
                <a:cubicBezTo>
                  <a:pt x="4350910" y="675220"/>
                  <a:pt x="4374201" y="651929"/>
                  <a:pt x="4374201" y="623233"/>
                </a:cubicBezTo>
                <a:moveTo>
                  <a:pt x="4224253" y="540191"/>
                </a:moveTo>
                <a:cubicBezTo>
                  <a:pt x="4224253" y="512333"/>
                  <a:pt x="4201647" y="489727"/>
                  <a:pt x="4173789" y="489727"/>
                </a:cubicBezTo>
                <a:cubicBezTo>
                  <a:pt x="4145931" y="489727"/>
                  <a:pt x="4123400" y="512333"/>
                  <a:pt x="4123400" y="540191"/>
                </a:cubicBezTo>
                <a:cubicBezTo>
                  <a:pt x="4123400" y="568049"/>
                  <a:pt x="4146007" y="590656"/>
                  <a:pt x="4173789" y="590656"/>
                </a:cubicBezTo>
                <a:cubicBezTo>
                  <a:pt x="4201647" y="590656"/>
                  <a:pt x="4224253" y="568049"/>
                  <a:pt x="4224253" y="540191"/>
                </a:cubicBezTo>
                <a:moveTo>
                  <a:pt x="4071566" y="463391"/>
                </a:moveTo>
                <a:cubicBezTo>
                  <a:pt x="4071566" y="436141"/>
                  <a:pt x="4049493" y="413992"/>
                  <a:pt x="4022167" y="413992"/>
                </a:cubicBezTo>
                <a:cubicBezTo>
                  <a:pt x="3994842" y="413992"/>
                  <a:pt x="3972769" y="436065"/>
                  <a:pt x="3972769" y="463391"/>
                </a:cubicBezTo>
                <a:cubicBezTo>
                  <a:pt x="3972769" y="490640"/>
                  <a:pt x="3994842" y="512790"/>
                  <a:pt x="4022167" y="512790"/>
                </a:cubicBezTo>
                <a:cubicBezTo>
                  <a:pt x="4049493" y="512790"/>
                  <a:pt x="4071566" y="490640"/>
                  <a:pt x="4071566" y="463391"/>
                </a:cubicBezTo>
                <a:moveTo>
                  <a:pt x="3915301" y="392756"/>
                </a:moveTo>
                <a:cubicBezTo>
                  <a:pt x="3915301" y="366344"/>
                  <a:pt x="3893913" y="344955"/>
                  <a:pt x="3867500" y="344955"/>
                </a:cubicBezTo>
                <a:cubicBezTo>
                  <a:pt x="3841089" y="344955"/>
                  <a:pt x="3819701" y="366344"/>
                  <a:pt x="3819701" y="392756"/>
                </a:cubicBezTo>
                <a:cubicBezTo>
                  <a:pt x="3819701" y="419168"/>
                  <a:pt x="3841089" y="440556"/>
                  <a:pt x="3867500" y="440556"/>
                </a:cubicBezTo>
                <a:cubicBezTo>
                  <a:pt x="3893913" y="440556"/>
                  <a:pt x="3915301" y="419092"/>
                  <a:pt x="3915301" y="392756"/>
                </a:cubicBezTo>
                <a:moveTo>
                  <a:pt x="3756372" y="328438"/>
                </a:moveTo>
                <a:cubicBezTo>
                  <a:pt x="3756372" y="302939"/>
                  <a:pt x="3735669" y="282236"/>
                  <a:pt x="3710170" y="282236"/>
                </a:cubicBezTo>
                <a:cubicBezTo>
                  <a:pt x="3684672" y="282236"/>
                  <a:pt x="3663968" y="302939"/>
                  <a:pt x="3663968" y="328438"/>
                </a:cubicBezTo>
                <a:cubicBezTo>
                  <a:pt x="3663968" y="353937"/>
                  <a:pt x="3684672" y="374640"/>
                  <a:pt x="3710170" y="374640"/>
                </a:cubicBezTo>
                <a:cubicBezTo>
                  <a:pt x="3735669" y="374716"/>
                  <a:pt x="3756372" y="354013"/>
                  <a:pt x="3756372" y="328438"/>
                </a:cubicBezTo>
                <a:moveTo>
                  <a:pt x="3594855" y="270666"/>
                </a:moveTo>
                <a:cubicBezTo>
                  <a:pt x="3594855" y="246005"/>
                  <a:pt x="3574837" y="225987"/>
                  <a:pt x="3550176" y="225987"/>
                </a:cubicBezTo>
                <a:cubicBezTo>
                  <a:pt x="3525514" y="225987"/>
                  <a:pt x="3505496" y="246005"/>
                  <a:pt x="3505496" y="270666"/>
                </a:cubicBezTo>
                <a:cubicBezTo>
                  <a:pt x="3505496" y="295328"/>
                  <a:pt x="3525514" y="315346"/>
                  <a:pt x="3550176" y="315346"/>
                </a:cubicBezTo>
                <a:cubicBezTo>
                  <a:pt x="3574913" y="315346"/>
                  <a:pt x="3594855" y="295328"/>
                  <a:pt x="3594855" y="270666"/>
                </a:cubicBezTo>
                <a:moveTo>
                  <a:pt x="3431207" y="219441"/>
                </a:moveTo>
                <a:cubicBezTo>
                  <a:pt x="3431207" y="195617"/>
                  <a:pt x="3411950" y="176359"/>
                  <a:pt x="3388126" y="176359"/>
                </a:cubicBezTo>
                <a:cubicBezTo>
                  <a:pt x="3364301" y="176359"/>
                  <a:pt x="3345045" y="195617"/>
                  <a:pt x="3345045" y="219441"/>
                </a:cubicBezTo>
                <a:cubicBezTo>
                  <a:pt x="3345045" y="243265"/>
                  <a:pt x="3364301" y="262522"/>
                  <a:pt x="3388126" y="262522"/>
                </a:cubicBezTo>
                <a:cubicBezTo>
                  <a:pt x="3411874" y="262522"/>
                  <a:pt x="3431207" y="243265"/>
                  <a:pt x="3431207" y="219441"/>
                </a:cubicBezTo>
                <a:moveTo>
                  <a:pt x="3265504" y="174913"/>
                </a:moveTo>
                <a:cubicBezTo>
                  <a:pt x="3265504" y="152003"/>
                  <a:pt x="3246932" y="133430"/>
                  <a:pt x="3224021" y="133430"/>
                </a:cubicBezTo>
                <a:cubicBezTo>
                  <a:pt x="3201110" y="133430"/>
                  <a:pt x="3182538" y="152003"/>
                  <a:pt x="3182538" y="174913"/>
                </a:cubicBezTo>
                <a:cubicBezTo>
                  <a:pt x="3182538" y="197824"/>
                  <a:pt x="3201110" y="216396"/>
                  <a:pt x="3224021" y="216396"/>
                </a:cubicBezTo>
                <a:cubicBezTo>
                  <a:pt x="3246932" y="216396"/>
                  <a:pt x="3265504" y="197824"/>
                  <a:pt x="3265504" y="174913"/>
                </a:cubicBezTo>
                <a:moveTo>
                  <a:pt x="3097670" y="137084"/>
                </a:moveTo>
                <a:cubicBezTo>
                  <a:pt x="3097670" y="115315"/>
                  <a:pt x="3080011" y="97656"/>
                  <a:pt x="3058242" y="97656"/>
                </a:cubicBezTo>
                <a:cubicBezTo>
                  <a:pt x="3036473" y="97656"/>
                  <a:pt x="3018813" y="115315"/>
                  <a:pt x="3018813" y="137084"/>
                </a:cubicBezTo>
                <a:cubicBezTo>
                  <a:pt x="3018813" y="158853"/>
                  <a:pt x="3036473" y="176512"/>
                  <a:pt x="3058242" y="176512"/>
                </a:cubicBezTo>
                <a:cubicBezTo>
                  <a:pt x="3080011" y="176436"/>
                  <a:pt x="3097670" y="158777"/>
                  <a:pt x="3097670" y="137084"/>
                </a:cubicBezTo>
                <a:moveTo>
                  <a:pt x="2928388" y="106029"/>
                </a:moveTo>
                <a:cubicBezTo>
                  <a:pt x="2928388" y="85402"/>
                  <a:pt x="2911719" y="68732"/>
                  <a:pt x="2891092" y="68732"/>
                </a:cubicBezTo>
                <a:cubicBezTo>
                  <a:pt x="2870465" y="68732"/>
                  <a:pt x="2853796" y="85402"/>
                  <a:pt x="2853796" y="106029"/>
                </a:cubicBezTo>
                <a:cubicBezTo>
                  <a:pt x="2853796" y="126656"/>
                  <a:pt x="2870465" y="143325"/>
                  <a:pt x="2891092" y="143325"/>
                </a:cubicBezTo>
                <a:cubicBezTo>
                  <a:pt x="2911719" y="143325"/>
                  <a:pt x="2928388" y="126656"/>
                  <a:pt x="2928388" y="106029"/>
                </a:cubicBezTo>
                <a:moveTo>
                  <a:pt x="2758042" y="81824"/>
                </a:moveTo>
                <a:cubicBezTo>
                  <a:pt x="2758042" y="62415"/>
                  <a:pt x="2742286" y="46659"/>
                  <a:pt x="2722877" y="46659"/>
                </a:cubicBezTo>
                <a:cubicBezTo>
                  <a:pt x="2703468" y="46659"/>
                  <a:pt x="2687711" y="62415"/>
                  <a:pt x="2687711" y="81824"/>
                </a:cubicBezTo>
                <a:cubicBezTo>
                  <a:pt x="2687711" y="101234"/>
                  <a:pt x="2703468" y="116989"/>
                  <a:pt x="2722877" y="116989"/>
                </a:cubicBezTo>
                <a:cubicBezTo>
                  <a:pt x="2742286" y="116989"/>
                  <a:pt x="2758042" y="101234"/>
                  <a:pt x="2758042" y="81824"/>
                </a:cubicBezTo>
                <a:moveTo>
                  <a:pt x="2586782" y="64546"/>
                </a:moveTo>
                <a:cubicBezTo>
                  <a:pt x="2586782" y="46278"/>
                  <a:pt x="2571940" y="31436"/>
                  <a:pt x="2553672" y="31436"/>
                </a:cubicBezTo>
                <a:cubicBezTo>
                  <a:pt x="2535404" y="31436"/>
                  <a:pt x="2520562" y="46278"/>
                  <a:pt x="2520562" y="64546"/>
                </a:cubicBezTo>
                <a:cubicBezTo>
                  <a:pt x="2520562" y="82814"/>
                  <a:pt x="2535404" y="97656"/>
                  <a:pt x="2553672" y="97656"/>
                </a:cubicBezTo>
                <a:cubicBezTo>
                  <a:pt x="2571940" y="97580"/>
                  <a:pt x="2586782" y="82814"/>
                  <a:pt x="2586782" y="64546"/>
                </a:cubicBezTo>
                <a:moveTo>
                  <a:pt x="2414458" y="54118"/>
                </a:moveTo>
                <a:cubicBezTo>
                  <a:pt x="2414458" y="37297"/>
                  <a:pt x="2400833" y="23672"/>
                  <a:pt x="2384012" y="23672"/>
                </a:cubicBezTo>
                <a:cubicBezTo>
                  <a:pt x="2367189" y="23672"/>
                  <a:pt x="2353565" y="37297"/>
                  <a:pt x="2353565" y="54118"/>
                </a:cubicBezTo>
                <a:cubicBezTo>
                  <a:pt x="2353565" y="70940"/>
                  <a:pt x="2367189" y="84564"/>
                  <a:pt x="2384012" y="84564"/>
                </a:cubicBezTo>
                <a:cubicBezTo>
                  <a:pt x="2400833" y="84564"/>
                  <a:pt x="2414458" y="70940"/>
                  <a:pt x="2414458" y="54118"/>
                </a:cubicBezTo>
                <a:moveTo>
                  <a:pt x="2242360" y="50617"/>
                </a:moveTo>
                <a:cubicBezTo>
                  <a:pt x="2242360" y="34937"/>
                  <a:pt x="2229649" y="22226"/>
                  <a:pt x="2213969" y="22226"/>
                </a:cubicBezTo>
                <a:cubicBezTo>
                  <a:pt x="2198290" y="22226"/>
                  <a:pt x="2185578" y="34937"/>
                  <a:pt x="2185578" y="50617"/>
                </a:cubicBezTo>
                <a:cubicBezTo>
                  <a:pt x="2185578" y="66297"/>
                  <a:pt x="2198290" y="79008"/>
                  <a:pt x="2213969" y="79008"/>
                </a:cubicBezTo>
                <a:cubicBezTo>
                  <a:pt x="2229649" y="79008"/>
                  <a:pt x="2242360" y="66297"/>
                  <a:pt x="2242360" y="50617"/>
                </a:cubicBezTo>
                <a:moveTo>
                  <a:pt x="2070263" y="54118"/>
                </a:moveTo>
                <a:cubicBezTo>
                  <a:pt x="2070263" y="39580"/>
                  <a:pt x="2058542" y="27858"/>
                  <a:pt x="2044004" y="27858"/>
                </a:cubicBezTo>
                <a:cubicBezTo>
                  <a:pt x="2029465" y="27858"/>
                  <a:pt x="2017744" y="39656"/>
                  <a:pt x="2017744" y="54118"/>
                </a:cubicBezTo>
                <a:cubicBezTo>
                  <a:pt x="2017744" y="68656"/>
                  <a:pt x="2029465" y="80378"/>
                  <a:pt x="2044004" y="80378"/>
                </a:cubicBezTo>
                <a:cubicBezTo>
                  <a:pt x="2058542" y="80378"/>
                  <a:pt x="2070263" y="68656"/>
                  <a:pt x="2070263" y="54118"/>
                </a:cubicBezTo>
                <a:moveTo>
                  <a:pt x="1898471" y="64546"/>
                </a:moveTo>
                <a:cubicBezTo>
                  <a:pt x="1898471" y="51226"/>
                  <a:pt x="1887663" y="40417"/>
                  <a:pt x="1874266" y="40417"/>
                </a:cubicBezTo>
                <a:cubicBezTo>
                  <a:pt x="1860870" y="40417"/>
                  <a:pt x="1850137" y="51226"/>
                  <a:pt x="1850137" y="64546"/>
                </a:cubicBezTo>
                <a:cubicBezTo>
                  <a:pt x="1850137" y="77866"/>
                  <a:pt x="1860946" y="88751"/>
                  <a:pt x="1874266" y="88751"/>
                </a:cubicBezTo>
                <a:cubicBezTo>
                  <a:pt x="1887586" y="88751"/>
                  <a:pt x="1898471" y="77866"/>
                  <a:pt x="1898471" y="64546"/>
                </a:cubicBezTo>
                <a:moveTo>
                  <a:pt x="1727287" y="81824"/>
                </a:moveTo>
                <a:cubicBezTo>
                  <a:pt x="1727287" y="69646"/>
                  <a:pt x="1717392" y="59751"/>
                  <a:pt x="1705214" y="59751"/>
                </a:cubicBezTo>
                <a:cubicBezTo>
                  <a:pt x="1693035" y="59751"/>
                  <a:pt x="1683140" y="69646"/>
                  <a:pt x="1683140" y="81824"/>
                </a:cubicBezTo>
                <a:cubicBezTo>
                  <a:pt x="1683140" y="94003"/>
                  <a:pt x="1693035" y="103898"/>
                  <a:pt x="1705214" y="103898"/>
                </a:cubicBezTo>
                <a:cubicBezTo>
                  <a:pt x="1717392" y="103898"/>
                  <a:pt x="1727287" y="94003"/>
                  <a:pt x="1727287" y="81824"/>
                </a:cubicBezTo>
                <a:moveTo>
                  <a:pt x="1556865" y="106029"/>
                </a:moveTo>
                <a:cubicBezTo>
                  <a:pt x="1556865" y="94992"/>
                  <a:pt x="1547959" y="86087"/>
                  <a:pt x="1536923" y="86087"/>
                </a:cubicBezTo>
                <a:cubicBezTo>
                  <a:pt x="1525886" y="86087"/>
                  <a:pt x="1516980" y="94992"/>
                  <a:pt x="1516980" y="106029"/>
                </a:cubicBezTo>
                <a:cubicBezTo>
                  <a:pt x="1516980" y="117066"/>
                  <a:pt x="1525886" y="125971"/>
                  <a:pt x="1536923" y="125971"/>
                </a:cubicBezTo>
                <a:cubicBezTo>
                  <a:pt x="1547959" y="125971"/>
                  <a:pt x="1556865" y="117066"/>
                  <a:pt x="1556865" y="106029"/>
                </a:cubicBezTo>
                <a:moveTo>
                  <a:pt x="1387584" y="137084"/>
                </a:moveTo>
                <a:cubicBezTo>
                  <a:pt x="1387584" y="127189"/>
                  <a:pt x="1379592" y="119197"/>
                  <a:pt x="1369697" y="119197"/>
                </a:cubicBezTo>
                <a:cubicBezTo>
                  <a:pt x="1359802" y="119197"/>
                  <a:pt x="1351810" y="127189"/>
                  <a:pt x="1351810" y="137084"/>
                </a:cubicBezTo>
                <a:cubicBezTo>
                  <a:pt x="1351810" y="146979"/>
                  <a:pt x="1359802" y="154971"/>
                  <a:pt x="1369697" y="154971"/>
                </a:cubicBezTo>
                <a:cubicBezTo>
                  <a:pt x="1379592" y="154895"/>
                  <a:pt x="1387584" y="146903"/>
                  <a:pt x="1387584" y="137084"/>
                </a:cubicBezTo>
                <a:moveTo>
                  <a:pt x="1219750" y="174913"/>
                </a:moveTo>
                <a:cubicBezTo>
                  <a:pt x="1219750" y="166236"/>
                  <a:pt x="1212671" y="159157"/>
                  <a:pt x="1203994" y="159157"/>
                </a:cubicBezTo>
                <a:cubicBezTo>
                  <a:pt x="1195317" y="159157"/>
                  <a:pt x="1188238" y="166236"/>
                  <a:pt x="1188238" y="174913"/>
                </a:cubicBezTo>
                <a:cubicBezTo>
                  <a:pt x="1188238" y="183590"/>
                  <a:pt x="1195317" y="190669"/>
                  <a:pt x="1203994" y="190669"/>
                </a:cubicBezTo>
                <a:cubicBezTo>
                  <a:pt x="1212671" y="190669"/>
                  <a:pt x="1219750" y="183590"/>
                  <a:pt x="1219750" y="174913"/>
                </a:cubicBezTo>
                <a:moveTo>
                  <a:pt x="1054123" y="219441"/>
                </a:moveTo>
                <a:cubicBezTo>
                  <a:pt x="1054123" y="211601"/>
                  <a:pt x="1047805" y="205283"/>
                  <a:pt x="1039965" y="205283"/>
                </a:cubicBezTo>
                <a:cubicBezTo>
                  <a:pt x="1032125" y="205283"/>
                  <a:pt x="1025807" y="211601"/>
                  <a:pt x="1025807" y="219441"/>
                </a:cubicBezTo>
                <a:cubicBezTo>
                  <a:pt x="1025807" y="227281"/>
                  <a:pt x="1032125" y="233598"/>
                  <a:pt x="1039965" y="233598"/>
                </a:cubicBezTo>
                <a:cubicBezTo>
                  <a:pt x="1047729" y="233674"/>
                  <a:pt x="1054123" y="227281"/>
                  <a:pt x="1054123" y="219441"/>
                </a:cubicBezTo>
                <a:moveTo>
                  <a:pt x="889865" y="270666"/>
                </a:moveTo>
                <a:cubicBezTo>
                  <a:pt x="889865" y="263968"/>
                  <a:pt x="884461" y="258564"/>
                  <a:pt x="877763" y="258564"/>
                </a:cubicBezTo>
                <a:cubicBezTo>
                  <a:pt x="871065" y="258564"/>
                  <a:pt x="865661" y="263968"/>
                  <a:pt x="865661" y="270666"/>
                </a:cubicBezTo>
                <a:cubicBezTo>
                  <a:pt x="865661" y="277365"/>
                  <a:pt x="871065" y="282769"/>
                  <a:pt x="877763" y="282769"/>
                </a:cubicBezTo>
                <a:cubicBezTo>
                  <a:pt x="884461" y="282769"/>
                  <a:pt x="889865" y="277365"/>
                  <a:pt x="889865" y="270666"/>
                </a:cubicBezTo>
                <a:moveTo>
                  <a:pt x="728424" y="328438"/>
                </a:moveTo>
                <a:cubicBezTo>
                  <a:pt x="728424" y="322653"/>
                  <a:pt x="723705" y="317934"/>
                  <a:pt x="717920" y="317934"/>
                </a:cubicBezTo>
                <a:cubicBezTo>
                  <a:pt x="712136" y="317934"/>
                  <a:pt x="707417" y="322653"/>
                  <a:pt x="707417" y="328438"/>
                </a:cubicBezTo>
                <a:cubicBezTo>
                  <a:pt x="707417" y="334223"/>
                  <a:pt x="712136" y="338942"/>
                  <a:pt x="717920" y="338942"/>
                </a:cubicBezTo>
                <a:cubicBezTo>
                  <a:pt x="723705" y="338942"/>
                  <a:pt x="728424" y="334299"/>
                  <a:pt x="728424" y="328438"/>
                </a:cubicBezTo>
                <a:moveTo>
                  <a:pt x="569420" y="392756"/>
                </a:moveTo>
                <a:cubicBezTo>
                  <a:pt x="569420" y="387808"/>
                  <a:pt x="565385" y="383850"/>
                  <a:pt x="560514" y="383850"/>
                </a:cubicBezTo>
                <a:cubicBezTo>
                  <a:pt x="555566" y="383850"/>
                  <a:pt x="551608" y="387884"/>
                  <a:pt x="551608" y="392756"/>
                </a:cubicBezTo>
                <a:cubicBezTo>
                  <a:pt x="551608" y="397703"/>
                  <a:pt x="555566" y="401661"/>
                  <a:pt x="560514" y="401661"/>
                </a:cubicBezTo>
                <a:cubicBezTo>
                  <a:pt x="565461" y="401661"/>
                  <a:pt x="569420" y="397627"/>
                  <a:pt x="569420" y="392756"/>
                </a:cubicBezTo>
                <a:moveTo>
                  <a:pt x="413230" y="463391"/>
                </a:moveTo>
                <a:cubicBezTo>
                  <a:pt x="413230" y="459357"/>
                  <a:pt x="409958" y="456008"/>
                  <a:pt x="405847" y="456008"/>
                </a:cubicBezTo>
                <a:cubicBezTo>
                  <a:pt x="401813" y="456008"/>
                  <a:pt x="398464" y="459280"/>
                  <a:pt x="398464" y="463391"/>
                </a:cubicBezTo>
                <a:cubicBezTo>
                  <a:pt x="398464" y="467425"/>
                  <a:pt x="401737" y="470774"/>
                  <a:pt x="405847" y="470774"/>
                </a:cubicBezTo>
                <a:cubicBezTo>
                  <a:pt x="409881" y="470698"/>
                  <a:pt x="413230" y="467425"/>
                  <a:pt x="413230" y="463391"/>
                </a:cubicBezTo>
                <a:moveTo>
                  <a:pt x="260010" y="540191"/>
                </a:moveTo>
                <a:cubicBezTo>
                  <a:pt x="260010" y="536994"/>
                  <a:pt x="257422" y="534406"/>
                  <a:pt x="254225" y="534406"/>
                </a:cubicBezTo>
                <a:cubicBezTo>
                  <a:pt x="251029" y="534406"/>
                  <a:pt x="248440" y="536994"/>
                  <a:pt x="248440" y="540191"/>
                </a:cubicBezTo>
                <a:cubicBezTo>
                  <a:pt x="248440" y="543388"/>
                  <a:pt x="251029" y="545976"/>
                  <a:pt x="254225" y="545976"/>
                </a:cubicBezTo>
                <a:cubicBezTo>
                  <a:pt x="257422" y="545976"/>
                  <a:pt x="260010" y="543388"/>
                  <a:pt x="260010" y="540191"/>
                </a:cubicBezTo>
                <a:moveTo>
                  <a:pt x="110519" y="623233"/>
                </a:moveTo>
                <a:cubicBezTo>
                  <a:pt x="110519" y="620645"/>
                  <a:pt x="108388" y="618514"/>
                  <a:pt x="105800" y="618514"/>
                </a:cubicBezTo>
                <a:cubicBezTo>
                  <a:pt x="103213" y="618514"/>
                  <a:pt x="101081" y="620645"/>
                  <a:pt x="101081" y="623233"/>
                </a:cubicBezTo>
                <a:cubicBezTo>
                  <a:pt x="101081" y="625821"/>
                  <a:pt x="103213" y="627952"/>
                  <a:pt x="105800" y="627952"/>
                </a:cubicBezTo>
                <a:cubicBezTo>
                  <a:pt x="108464" y="627952"/>
                  <a:pt x="110519" y="625821"/>
                  <a:pt x="110519" y="623233"/>
                </a:cubicBezTo>
                <a:moveTo>
                  <a:pt x="6006496" y="6371851"/>
                </a:moveTo>
                <a:cubicBezTo>
                  <a:pt x="6006496" y="6368959"/>
                  <a:pt x="6004137" y="6366599"/>
                  <a:pt x="6001245" y="6366599"/>
                </a:cubicBezTo>
                <a:cubicBezTo>
                  <a:pt x="5998352" y="6366599"/>
                  <a:pt x="5995992" y="6368959"/>
                  <a:pt x="5995992" y="6371851"/>
                </a:cubicBezTo>
                <a:cubicBezTo>
                  <a:pt x="5995992" y="6374744"/>
                  <a:pt x="5998352" y="6377103"/>
                  <a:pt x="6001245" y="6377103"/>
                </a:cubicBezTo>
                <a:cubicBezTo>
                  <a:pt x="6004137" y="6377103"/>
                  <a:pt x="6006496" y="6374744"/>
                  <a:pt x="6006496" y="6371851"/>
                </a:cubicBezTo>
                <a:moveTo>
                  <a:pt x="6089234" y="6222437"/>
                </a:moveTo>
                <a:cubicBezTo>
                  <a:pt x="6089234" y="6218707"/>
                  <a:pt x="6086189" y="6215586"/>
                  <a:pt x="6082383" y="6215586"/>
                </a:cubicBezTo>
                <a:cubicBezTo>
                  <a:pt x="6078577" y="6215586"/>
                  <a:pt x="6075534" y="6218631"/>
                  <a:pt x="6075534" y="6222437"/>
                </a:cubicBezTo>
                <a:cubicBezTo>
                  <a:pt x="6075534" y="6226242"/>
                  <a:pt x="6078577" y="6229287"/>
                  <a:pt x="6082383" y="6229287"/>
                </a:cubicBezTo>
                <a:cubicBezTo>
                  <a:pt x="6086189" y="6229287"/>
                  <a:pt x="6089234" y="6226242"/>
                  <a:pt x="6089234" y="6222437"/>
                </a:cubicBezTo>
                <a:moveTo>
                  <a:pt x="6165502" y="6069977"/>
                </a:moveTo>
                <a:cubicBezTo>
                  <a:pt x="6165502" y="6065638"/>
                  <a:pt x="6162001" y="6062137"/>
                  <a:pt x="6157661" y="6062137"/>
                </a:cubicBezTo>
                <a:cubicBezTo>
                  <a:pt x="6153323" y="6062137"/>
                  <a:pt x="6149746" y="6065638"/>
                  <a:pt x="6149746" y="6069977"/>
                </a:cubicBezTo>
                <a:cubicBezTo>
                  <a:pt x="6149746" y="6074316"/>
                  <a:pt x="6153247" y="6077893"/>
                  <a:pt x="6157661" y="6077893"/>
                </a:cubicBezTo>
                <a:cubicBezTo>
                  <a:pt x="6162001" y="6077893"/>
                  <a:pt x="6165502" y="6074392"/>
                  <a:pt x="6165502" y="6069977"/>
                </a:cubicBezTo>
                <a:moveTo>
                  <a:pt x="6236898" y="5914702"/>
                </a:moveTo>
                <a:cubicBezTo>
                  <a:pt x="6236898" y="5909221"/>
                  <a:pt x="6232407" y="5904731"/>
                  <a:pt x="6226927" y="5904731"/>
                </a:cubicBezTo>
                <a:cubicBezTo>
                  <a:pt x="6221446" y="5904731"/>
                  <a:pt x="6216956" y="5909221"/>
                  <a:pt x="6216956" y="5914702"/>
                </a:cubicBezTo>
                <a:cubicBezTo>
                  <a:pt x="6216956" y="5920182"/>
                  <a:pt x="6221446" y="5924673"/>
                  <a:pt x="6226927" y="5924673"/>
                </a:cubicBezTo>
                <a:cubicBezTo>
                  <a:pt x="6232407" y="5924749"/>
                  <a:pt x="6236898" y="5920258"/>
                  <a:pt x="6236898" y="5914702"/>
                </a:cubicBezTo>
                <a:moveTo>
                  <a:pt x="6301596" y="5756914"/>
                </a:moveTo>
                <a:cubicBezTo>
                  <a:pt x="6301596" y="5750521"/>
                  <a:pt x="6296421" y="5745345"/>
                  <a:pt x="6290026" y="5745345"/>
                </a:cubicBezTo>
                <a:cubicBezTo>
                  <a:pt x="6283633" y="5745345"/>
                  <a:pt x="6278457" y="5750521"/>
                  <a:pt x="6278457" y="5756914"/>
                </a:cubicBezTo>
                <a:cubicBezTo>
                  <a:pt x="6278457" y="5763308"/>
                  <a:pt x="6283633" y="5768484"/>
                  <a:pt x="6290026" y="5768484"/>
                </a:cubicBezTo>
                <a:cubicBezTo>
                  <a:pt x="6296421" y="5768408"/>
                  <a:pt x="6301596" y="5763232"/>
                  <a:pt x="6301596" y="5756914"/>
                </a:cubicBezTo>
                <a:moveTo>
                  <a:pt x="6360662" y="5596691"/>
                </a:moveTo>
                <a:cubicBezTo>
                  <a:pt x="6360662" y="5589156"/>
                  <a:pt x="6354572" y="5583067"/>
                  <a:pt x="6346961" y="5583067"/>
                </a:cubicBezTo>
                <a:cubicBezTo>
                  <a:pt x="6339425" y="5583067"/>
                  <a:pt x="6333336" y="5589156"/>
                  <a:pt x="6333336" y="5596691"/>
                </a:cubicBezTo>
                <a:cubicBezTo>
                  <a:pt x="6333336" y="5604227"/>
                  <a:pt x="6339425" y="5610392"/>
                  <a:pt x="6346961" y="5610392"/>
                </a:cubicBezTo>
                <a:cubicBezTo>
                  <a:pt x="6354496" y="5610316"/>
                  <a:pt x="6360662" y="5604227"/>
                  <a:pt x="6360662" y="5596691"/>
                </a:cubicBezTo>
                <a:moveTo>
                  <a:pt x="6412877" y="5434413"/>
                </a:moveTo>
                <a:cubicBezTo>
                  <a:pt x="6412877" y="5425965"/>
                  <a:pt x="6406026" y="5419190"/>
                  <a:pt x="6397654" y="5419190"/>
                </a:cubicBezTo>
                <a:cubicBezTo>
                  <a:pt x="6389205" y="5419190"/>
                  <a:pt x="6382431" y="5426041"/>
                  <a:pt x="6382431" y="5434413"/>
                </a:cubicBezTo>
                <a:cubicBezTo>
                  <a:pt x="6382431" y="5442786"/>
                  <a:pt x="6389281" y="5449636"/>
                  <a:pt x="6397654" y="5449636"/>
                </a:cubicBezTo>
                <a:cubicBezTo>
                  <a:pt x="6406026" y="5449636"/>
                  <a:pt x="6412877" y="5442786"/>
                  <a:pt x="6412877" y="5434413"/>
                </a:cubicBezTo>
                <a:moveTo>
                  <a:pt x="6423457" y="3038147"/>
                </a:moveTo>
                <a:cubicBezTo>
                  <a:pt x="6422467" y="3038071"/>
                  <a:pt x="6421554" y="3037843"/>
                  <a:pt x="6420564" y="3037843"/>
                </a:cubicBezTo>
                <a:cubicBezTo>
                  <a:pt x="6395295" y="3037843"/>
                  <a:pt x="6374895" y="3058318"/>
                  <a:pt x="6374895" y="3083512"/>
                </a:cubicBezTo>
                <a:cubicBezTo>
                  <a:pt x="6374895" y="3108783"/>
                  <a:pt x="6395371" y="3129181"/>
                  <a:pt x="6420564" y="3129181"/>
                </a:cubicBezTo>
                <a:cubicBezTo>
                  <a:pt x="6421554" y="3129181"/>
                  <a:pt x="6422467" y="3128953"/>
                  <a:pt x="6423457" y="3128877"/>
                </a:cubicBezTo>
                <a:lnTo>
                  <a:pt x="6423457" y="3038147"/>
                </a:lnTo>
                <a:close/>
                <a:moveTo>
                  <a:pt x="6420336" y="2920321"/>
                </a:moveTo>
                <a:cubicBezTo>
                  <a:pt x="6420336" y="2894213"/>
                  <a:pt x="6399177" y="2873053"/>
                  <a:pt x="6373069" y="2873053"/>
                </a:cubicBezTo>
                <a:cubicBezTo>
                  <a:pt x="6346961" y="2873053"/>
                  <a:pt x="6325801" y="2894213"/>
                  <a:pt x="6325801" y="2920321"/>
                </a:cubicBezTo>
                <a:cubicBezTo>
                  <a:pt x="6325801" y="2946428"/>
                  <a:pt x="6346961" y="2967589"/>
                  <a:pt x="6373069" y="2967589"/>
                </a:cubicBezTo>
                <a:cubicBezTo>
                  <a:pt x="6399177" y="2967589"/>
                  <a:pt x="6420336" y="2946428"/>
                  <a:pt x="6420336" y="2920321"/>
                </a:cubicBezTo>
                <a:moveTo>
                  <a:pt x="6368654" y="2759032"/>
                </a:moveTo>
                <a:cubicBezTo>
                  <a:pt x="6368654" y="2731783"/>
                  <a:pt x="6346580" y="2709633"/>
                  <a:pt x="6319255" y="2709633"/>
                </a:cubicBezTo>
                <a:cubicBezTo>
                  <a:pt x="6292005" y="2709633"/>
                  <a:pt x="6269856" y="2731707"/>
                  <a:pt x="6269856" y="2759032"/>
                </a:cubicBezTo>
                <a:cubicBezTo>
                  <a:pt x="6269856" y="2786282"/>
                  <a:pt x="6291929" y="2808431"/>
                  <a:pt x="6319255" y="2808431"/>
                </a:cubicBezTo>
                <a:cubicBezTo>
                  <a:pt x="6346580" y="2808431"/>
                  <a:pt x="6368654" y="2786282"/>
                  <a:pt x="6368654" y="2759032"/>
                </a:cubicBezTo>
                <a:moveTo>
                  <a:pt x="6310197" y="2599951"/>
                </a:moveTo>
                <a:cubicBezTo>
                  <a:pt x="6310197" y="2571788"/>
                  <a:pt x="6287362" y="2549030"/>
                  <a:pt x="6259276" y="2549030"/>
                </a:cubicBezTo>
                <a:cubicBezTo>
                  <a:pt x="6231113" y="2549030"/>
                  <a:pt x="6208355" y="2571864"/>
                  <a:pt x="6208355" y="2599951"/>
                </a:cubicBezTo>
                <a:cubicBezTo>
                  <a:pt x="6208355" y="2628114"/>
                  <a:pt x="6231189" y="2650872"/>
                  <a:pt x="6259276" y="2650872"/>
                </a:cubicBezTo>
                <a:cubicBezTo>
                  <a:pt x="6287362" y="2650948"/>
                  <a:pt x="6310197" y="2628114"/>
                  <a:pt x="6310197" y="2599951"/>
                </a:cubicBezTo>
                <a:moveTo>
                  <a:pt x="6245575" y="2443381"/>
                </a:moveTo>
                <a:cubicBezTo>
                  <a:pt x="6245575" y="2414381"/>
                  <a:pt x="6222056" y="2390862"/>
                  <a:pt x="6193055" y="2390862"/>
                </a:cubicBezTo>
                <a:cubicBezTo>
                  <a:pt x="6164056" y="2390862"/>
                  <a:pt x="6140536" y="2414381"/>
                  <a:pt x="6140536" y="2443381"/>
                </a:cubicBezTo>
                <a:cubicBezTo>
                  <a:pt x="6140536" y="2472381"/>
                  <a:pt x="6164056" y="2495901"/>
                  <a:pt x="6193055" y="2495901"/>
                </a:cubicBezTo>
                <a:cubicBezTo>
                  <a:pt x="6222056" y="2495901"/>
                  <a:pt x="6245575" y="2472381"/>
                  <a:pt x="6245575" y="2443381"/>
                </a:cubicBezTo>
                <a:moveTo>
                  <a:pt x="6174864" y="2289476"/>
                </a:moveTo>
                <a:cubicBezTo>
                  <a:pt x="6174864" y="2259563"/>
                  <a:pt x="6150659" y="2235358"/>
                  <a:pt x="6120746" y="2235358"/>
                </a:cubicBezTo>
                <a:cubicBezTo>
                  <a:pt x="6090833" y="2235358"/>
                  <a:pt x="6066628" y="2259563"/>
                  <a:pt x="6066628" y="2289476"/>
                </a:cubicBezTo>
                <a:cubicBezTo>
                  <a:pt x="6066628" y="2319390"/>
                  <a:pt x="6090833" y="2343594"/>
                  <a:pt x="6120746" y="2343594"/>
                </a:cubicBezTo>
                <a:cubicBezTo>
                  <a:pt x="6150659" y="2343594"/>
                  <a:pt x="6174864" y="2319390"/>
                  <a:pt x="6174864" y="2289476"/>
                </a:cubicBezTo>
                <a:moveTo>
                  <a:pt x="6098216" y="2138539"/>
                </a:moveTo>
                <a:cubicBezTo>
                  <a:pt x="6098216" y="2107788"/>
                  <a:pt x="6073250" y="2082823"/>
                  <a:pt x="6042499" y="2082823"/>
                </a:cubicBezTo>
                <a:cubicBezTo>
                  <a:pt x="6011749" y="2082823"/>
                  <a:pt x="5986783" y="2107713"/>
                  <a:pt x="5986783" y="2138539"/>
                </a:cubicBezTo>
                <a:cubicBezTo>
                  <a:pt x="5986783" y="2169290"/>
                  <a:pt x="6011673" y="2194256"/>
                  <a:pt x="6042499" y="2194256"/>
                </a:cubicBezTo>
                <a:cubicBezTo>
                  <a:pt x="6073250" y="2194180"/>
                  <a:pt x="6098216" y="2169290"/>
                  <a:pt x="6098216" y="2138539"/>
                </a:cubicBezTo>
                <a:moveTo>
                  <a:pt x="6015174" y="1990723"/>
                </a:moveTo>
                <a:cubicBezTo>
                  <a:pt x="6015174" y="1959363"/>
                  <a:pt x="5989751" y="1934017"/>
                  <a:pt x="5958468" y="1934017"/>
                </a:cubicBezTo>
                <a:cubicBezTo>
                  <a:pt x="5927108" y="1934017"/>
                  <a:pt x="5901761" y="1959440"/>
                  <a:pt x="5901761" y="1990723"/>
                </a:cubicBezTo>
                <a:cubicBezTo>
                  <a:pt x="5901761" y="2022083"/>
                  <a:pt x="5927185" y="2047429"/>
                  <a:pt x="5958468" y="2047429"/>
                </a:cubicBezTo>
                <a:cubicBezTo>
                  <a:pt x="5989828" y="2047429"/>
                  <a:pt x="6015174" y="2022083"/>
                  <a:pt x="6015174" y="1990723"/>
                </a:cubicBezTo>
                <a:moveTo>
                  <a:pt x="5926499" y="1846332"/>
                </a:moveTo>
                <a:cubicBezTo>
                  <a:pt x="5926499" y="1814440"/>
                  <a:pt x="5900620" y="1788560"/>
                  <a:pt x="5868728" y="1788560"/>
                </a:cubicBezTo>
                <a:cubicBezTo>
                  <a:pt x="5836836" y="1788560"/>
                  <a:pt x="5810956" y="1814440"/>
                  <a:pt x="5810956" y="1846332"/>
                </a:cubicBezTo>
                <a:cubicBezTo>
                  <a:pt x="5810956" y="1878224"/>
                  <a:pt x="5836836" y="1904104"/>
                  <a:pt x="5868728" y="1904104"/>
                </a:cubicBezTo>
                <a:cubicBezTo>
                  <a:pt x="5900620" y="1904104"/>
                  <a:pt x="5926499" y="1878224"/>
                  <a:pt x="5926499" y="1846332"/>
                </a:cubicBezTo>
                <a:moveTo>
                  <a:pt x="5832268" y="1705518"/>
                </a:moveTo>
                <a:cubicBezTo>
                  <a:pt x="5832268" y="1673017"/>
                  <a:pt x="5805932" y="1646681"/>
                  <a:pt x="5773431" y="1646681"/>
                </a:cubicBezTo>
                <a:cubicBezTo>
                  <a:pt x="5740930" y="1646681"/>
                  <a:pt x="5714594" y="1673017"/>
                  <a:pt x="5714594" y="1705518"/>
                </a:cubicBezTo>
                <a:cubicBezTo>
                  <a:pt x="5714594" y="1738020"/>
                  <a:pt x="5740930" y="1764356"/>
                  <a:pt x="5773431" y="1764356"/>
                </a:cubicBezTo>
                <a:cubicBezTo>
                  <a:pt x="5805856" y="1764356"/>
                  <a:pt x="5832268" y="1738020"/>
                  <a:pt x="5832268" y="1705518"/>
                </a:cubicBezTo>
                <a:moveTo>
                  <a:pt x="5732025" y="1568587"/>
                </a:moveTo>
                <a:cubicBezTo>
                  <a:pt x="5732025" y="1535781"/>
                  <a:pt x="5705460" y="1509217"/>
                  <a:pt x="5672654" y="1509217"/>
                </a:cubicBezTo>
                <a:cubicBezTo>
                  <a:pt x="5639849" y="1509217"/>
                  <a:pt x="5613285" y="1535781"/>
                  <a:pt x="5613285" y="1568587"/>
                </a:cubicBezTo>
                <a:cubicBezTo>
                  <a:pt x="5613285" y="1601392"/>
                  <a:pt x="5639849" y="1627957"/>
                  <a:pt x="5672654" y="1627957"/>
                </a:cubicBezTo>
                <a:cubicBezTo>
                  <a:pt x="5705460" y="1627957"/>
                  <a:pt x="5732025" y="1601392"/>
                  <a:pt x="5732025" y="1568587"/>
                </a:cubicBezTo>
                <a:moveTo>
                  <a:pt x="5626529" y="1435689"/>
                </a:moveTo>
                <a:cubicBezTo>
                  <a:pt x="5626529" y="1402579"/>
                  <a:pt x="5599736" y="1375786"/>
                  <a:pt x="5566626" y="1375786"/>
                </a:cubicBezTo>
                <a:cubicBezTo>
                  <a:pt x="5533591" y="1375786"/>
                  <a:pt x="5506723" y="1402579"/>
                  <a:pt x="5506723" y="1435689"/>
                </a:cubicBezTo>
                <a:cubicBezTo>
                  <a:pt x="5506723" y="1468799"/>
                  <a:pt x="5533515" y="1495592"/>
                  <a:pt x="5566626" y="1495592"/>
                </a:cubicBezTo>
                <a:cubicBezTo>
                  <a:pt x="5599736" y="1495516"/>
                  <a:pt x="5626529" y="1468723"/>
                  <a:pt x="5626529" y="1435689"/>
                </a:cubicBezTo>
                <a:moveTo>
                  <a:pt x="5515399" y="1306978"/>
                </a:moveTo>
                <a:cubicBezTo>
                  <a:pt x="5515399" y="1273868"/>
                  <a:pt x="5488608" y="1247075"/>
                  <a:pt x="5455497" y="1247075"/>
                </a:cubicBezTo>
                <a:cubicBezTo>
                  <a:pt x="5422463" y="1247075"/>
                  <a:pt x="5395594" y="1273868"/>
                  <a:pt x="5395594" y="1306978"/>
                </a:cubicBezTo>
                <a:cubicBezTo>
                  <a:pt x="5395594" y="1340088"/>
                  <a:pt x="5422387" y="1366881"/>
                  <a:pt x="5455497" y="1366881"/>
                </a:cubicBezTo>
                <a:cubicBezTo>
                  <a:pt x="5488608" y="1366881"/>
                  <a:pt x="5515399" y="1340088"/>
                  <a:pt x="5515399" y="1306978"/>
                </a:cubicBezTo>
                <a:moveTo>
                  <a:pt x="5399933" y="1182758"/>
                </a:moveTo>
                <a:cubicBezTo>
                  <a:pt x="5399933" y="1149419"/>
                  <a:pt x="5372912" y="1122322"/>
                  <a:pt x="5339497" y="1122322"/>
                </a:cubicBezTo>
                <a:cubicBezTo>
                  <a:pt x="5306158" y="1122322"/>
                  <a:pt x="5279062" y="1149343"/>
                  <a:pt x="5279062" y="1182758"/>
                </a:cubicBezTo>
                <a:cubicBezTo>
                  <a:pt x="5279062" y="1216096"/>
                  <a:pt x="5306082" y="1243193"/>
                  <a:pt x="5339497" y="1243193"/>
                </a:cubicBezTo>
                <a:cubicBezTo>
                  <a:pt x="5372835" y="1243117"/>
                  <a:pt x="5399933" y="1216096"/>
                  <a:pt x="5399933" y="1182758"/>
                </a:cubicBezTo>
                <a:moveTo>
                  <a:pt x="5279138" y="1063104"/>
                </a:moveTo>
                <a:cubicBezTo>
                  <a:pt x="5279138" y="1029766"/>
                  <a:pt x="5252116" y="1002669"/>
                  <a:pt x="5218702" y="1002669"/>
                </a:cubicBezTo>
                <a:cubicBezTo>
                  <a:pt x="5185363" y="1002669"/>
                  <a:pt x="5158267" y="1029689"/>
                  <a:pt x="5158267" y="1063104"/>
                </a:cubicBezTo>
                <a:cubicBezTo>
                  <a:pt x="5158267" y="1096443"/>
                  <a:pt x="5185287" y="1123540"/>
                  <a:pt x="5218702" y="1123540"/>
                </a:cubicBezTo>
                <a:cubicBezTo>
                  <a:pt x="5252040" y="1123464"/>
                  <a:pt x="5279138" y="1096443"/>
                  <a:pt x="5279138" y="1063104"/>
                </a:cubicBezTo>
                <a:moveTo>
                  <a:pt x="5153166" y="948246"/>
                </a:moveTo>
                <a:cubicBezTo>
                  <a:pt x="5153166" y="915136"/>
                  <a:pt x="5126374" y="888343"/>
                  <a:pt x="5093264" y="888343"/>
                </a:cubicBezTo>
                <a:cubicBezTo>
                  <a:pt x="5060230" y="888343"/>
                  <a:pt x="5033361" y="915136"/>
                  <a:pt x="5033361" y="948246"/>
                </a:cubicBezTo>
                <a:cubicBezTo>
                  <a:pt x="5033361" y="981356"/>
                  <a:pt x="5060154" y="1008149"/>
                  <a:pt x="5093264" y="1008149"/>
                </a:cubicBezTo>
                <a:cubicBezTo>
                  <a:pt x="5126374" y="1008149"/>
                  <a:pt x="5153166" y="981356"/>
                  <a:pt x="5153166" y="948246"/>
                </a:cubicBezTo>
                <a:moveTo>
                  <a:pt x="5023465" y="838411"/>
                </a:moveTo>
                <a:cubicBezTo>
                  <a:pt x="5023465" y="805301"/>
                  <a:pt x="4996674" y="778509"/>
                  <a:pt x="4963563" y="778509"/>
                </a:cubicBezTo>
                <a:cubicBezTo>
                  <a:pt x="4930529" y="778509"/>
                  <a:pt x="4903660" y="805301"/>
                  <a:pt x="4903660" y="838411"/>
                </a:cubicBezTo>
                <a:cubicBezTo>
                  <a:pt x="4903660" y="871522"/>
                  <a:pt x="4930453" y="898314"/>
                  <a:pt x="4963563" y="898314"/>
                </a:cubicBezTo>
                <a:cubicBezTo>
                  <a:pt x="4996597" y="898314"/>
                  <a:pt x="5023465" y="871446"/>
                  <a:pt x="5023465" y="838411"/>
                </a:cubicBezTo>
                <a:moveTo>
                  <a:pt x="4888970" y="733677"/>
                </a:moveTo>
                <a:cubicBezTo>
                  <a:pt x="4888970" y="700871"/>
                  <a:pt x="4862406" y="674307"/>
                  <a:pt x="4829600" y="674307"/>
                </a:cubicBezTo>
                <a:cubicBezTo>
                  <a:pt x="4796794" y="674307"/>
                  <a:pt x="4770230" y="700871"/>
                  <a:pt x="4770230" y="733677"/>
                </a:cubicBezTo>
                <a:cubicBezTo>
                  <a:pt x="4770230" y="766482"/>
                  <a:pt x="4796794" y="793047"/>
                  <a:pt x="4829600" y="793047"/>
                </a:cubicBezTo>
                <a:cubicBezTo>
                  <a:pt x="4862406" y="793047"/>
                  <a:pt x="4888970" y="766482"/>
                  <a:pt x="4888970" y="733677"/>
                </a:cubicBezTo>
                <a:moveTo>
                  <a:pt x="4749983" y="634346"/>
                </a:moveTo>
                <a:cubicBezTo>
                  <a:pt x="4749983" y="602149"/>
                  <a:pt x="4723875" y="576042"/>
                  <a:pt x="4691679" y="576042"/>
                </a:cubicBezTo>
                <a:cubicBezTo>
                  <a:pt x="4659482" y="576042"/>
                  <a:pt x="4633374" y="602149"/>
                  <a:pt x="4633374" y="634346"/>
                </a:cubicBezTo>
                <a:cubicBezTo>
                  <a:pt x="4633374" y="666543"/>
                  <a:pt x="4659482" y="692650"/>
                  <a:pt x="4691679" y="692650"/>
                </a:cubicBezTo>
                <a:cubicBezTo>
                  <a:pt x="4723875" y="692650"/>
                  <a:pt x="4749983" y="666543"/>
                  <a:pt x="4749983" y="634346"/>
                </a:cubicBezTo>
                <a:moveTo>
                  <a:pt x="4607191" y="540343"/>
                </a:moveTo>
                <a:cubicBezTo>
                  <a:pt x="4607191" y="508756"/>
                  <a:pt x="4581540" y="483105"/>
                  <a:pt x="4549952" y="483105"/>
                </a:cubicBezTo>
                <a:cubicBezTo>
                  <a:pt x="4518364" y="483105"/>
                  <a:pt x="4492713" y="508756"/>
                  <a:pt x="4492713" y="540343"/>
                </a:cubicBezTo>
                <a:cubicBezTo>
                  <a:pt x="4492713" y="571931"/>
                  <a:pt x="4518364" y="597582"/>
                  <a:pt x="4549952" y="597582"/>
                </a:cubicBezTo>
                <a:cubicBezTo>
                  <a:pt x="4581540" y="597658"/>
                  <a:pt x="4607191" y="572007"/>
                  <a:pt x="4607191" y="540343"/>
                </a:cubicBezTo>
                <a:moveTo>
                  <a:pt x="4460897" y="452050"/>
                </a:moveTo>
                <a:cubicBezTo>
                  <a:pt x="4460897" y="420994"/>
                  <a:pt x="4435702" y="395876"/>
                  <a:pt x="4404648" y="395876"/>
                </a:cubicBezTo>
                <a:cubicBezTo>
                  <a:pt x="4373592" y="395876"/>
                  <a:pt x="4348474" y="421071"/>
                  <a:pt x="4348474" y="452050"/>
                </a:cubicBezTo>
                <a:cubicBezTo>
                  <a:pt x="4348474" y="483105"/>
                  <a:pt x="4373668" y="508223"/>
                  <a:pt x="4404648" y="508223"/>
                </a:cubicBezTo>
                <a:cubicBezTo>
                  <a:pt x="4435626" y="508223"/>
                  <a:pt x="4460897" y="483105"/>
                  <a:pt x="4460897" y="452050"/>
                </a:cubicBezTo>
                <a:moveTo>
                  <a:pt x="4311254" y="369388"/>
                </a:moveTo>
                <a:cubicBezTo>
                  <a:pt x="4311254" y="338942"/>
                  <a:pt x="4286593" y="314205"/>
                  <a:pt x="4256070" y="314205"/>
                </a:cubicBezTo>
                <a:cubicBezTo>
                  <a:pt x="4225624" y="314205"/>
                  <a:pt x="4200963" y="338866"/>
                  <a:pt x="4200963" y="369388"/>
                </a:cubicBezTo>
                <a:cubicBezTo>
                  <a:pt x="4200963" y="399834"/>
                  <a:pt x="4225624" y="424572"/>
                  <a:pt x="4256070" y="424572"/>
                </a:cubicBezTo>
                <a:cubicBezTo>
                  <a:pt x="4286516" y="424572"/>
                  <a:pt x="4311254" y="399910"/>
                  <a:pt x="4311254" y="369388"/>
                </a:cubicBezTo>
                <a:moveTo>
                  <a:pt x="4157957" y="292664"/>
                </a:moveTo>
                <a:cubicBezTo>
                  <a:pt x="4157957" y="263055"/>
                  <a:pt x="4133981" y="239079"/>
                  <a:pt x="4104372" y="239079"/>
                </a:cubicBezTo>
                <a:cubicBezTo>
                  <a:pt x="4074763" y="239079"/>
                  <a:pt x="4050787" y="263055"/>
                  <a:pt x="4050787" y="292664"/>
                </a:cubicBezTo>
                <a:cubicBezTo>
                  <a:pt x="4050787" y="322273"/>
                  <a:pt x="4074763" y="346249"/>
                  <a:pt x="4104372" y="346249"/>
                </a:cubicBezTo>
                <a:cubicBezTo>
                  <a:pt x="4133981" y="346249"/>
                  <a:pt x="4157957" y="322273"/>
                  <a:pt x="4157957" y="292664"/>
                </a:cubicBezTo>
                <a:moveTo>
                  <a:pt x="4002301" y="221953"/>
                </a:moveTo>
                <a:cubicBezTo>
                  <a:pt x="4002301" y="192953"/>
                  <a:pt x="3978781" y="169433"/>
                  <a:pt x="3949782" y="169433"/>
                </a:cubicBezTo>
                <a:cubicBezTo>
                  <a:pt x="3920781" y="169433"/>
                  <a:pt x="3897262" y="192953"/>
                  <a:pt x="3897262" y="221953"/>
                </a:cubicBezTo>
                <a:cubicBezTo>
                  <a:pt x="3897262" y="250953"/>
                  <a:pt x="3920781" y="274472"/>
                  <a:pt x="3949782" y="274472"/>
                </a:cubicBezTo>
                <a:cubicBezTo>
                  <a:pt x="3978781" y="274472"/>
                  <a:pt x="4002301" y="250953"/>
                  <a:pt x="4002301" y="221953"/>
                </a:cubicBezTo>
                <a:moveTo>
                  <a:pt x="3843525" y="157254"/>
                </a:moveTo>
                <a:cubicBezTo>
                  <a:pt x="3843525" y="129092"/>
                  <a:pt x="3820690" y="106333"/>
                  <a:pt x="3792603" y="106333"/>
                </a:cubicBezTo>
                <a:cubicBezTo>
                  <a:pt x="3764441" y="106333"/>
                  <a:pt x="3741682" y="129168"/>
                  <a:pt x="3741682" y="157254"/>
                </a:cubicBezTo>
                <a:cubicBezTo>
                  <a:pt x="3741682" y="185417"/>
                  <a:pt x="3764517" y="208176"/>
                  <a:pt x="3792603" y="208176"/>
                </a:cubicBezTo>
                <a:cubicBezTo>
                  <a:pt x="3820690" y="208176"/>
                  <a:pt x="3843525" y="185341"/>
                  <a:pt x="3843525" y="157254"/>
                </a:cubicBezTo>
                <a:moveTo>
                  <a:pt x="3681780" y="98722"/>
                </a:moveTo>
                <a:cubicBezTo>
                  <a:pt x="3681780" y="71777"/>
                  <a:pt x="3659934" y="49856"/>
                  <a:pt x="3632913" y="49856"/>
                </a:cubicBezTo>
                <a:cubicBezTo>
                  <a:pt x="3605892" y="49856"/>
                  <a:pt x="3584047" y="71701"/>
                  <a:pt x="3584047" y="98722"/>
                </a:cubicBezTo>
                <a:cubicBezTo>
                  <a:pt x="3584047" y="125667"/>
                  <a:pt x="3605892" y="147588"/>
                  <a:pt x="3632913" y="147588"/>
                </a:cubicBezTo>
                <a:cubicBezTo>
                  <a:pt x="3659858" y="147588"/>
                  <a:pt x="3681780" y="125743"/>
                  <a:pt x="3681780" y="98722"/>
                </a:cubicBezTo>
                <a:moveTo>
                  <a:pt x="3468656" y="0"/>
                </a:moveTo>
                <a:cubicBezTo>
                  <a:pt x="3443995" y="1294"/>
                  <a:pt x="3424357" y="21541"/>
                  <a:pt x="3424357" y="46507"/>
                </a:cubicBezTo>
                <a:cubicBezTo>
                  <a:pt x="3424357" y="72310"/>
                  <a:pt x="3445288" y="93241"/>
                  <a:pt x="3471092" y="93241"/>
                </a:cubicBezTo>
                <a:cubicBezTo>
                  <a:pt x="3496895" y="93241"/>
                  <a:pt x="3517827" y="72310"/>
                  <a:pt x="3517827" y="46507"/>
                </a:cubicBezTo>
                <a:cubicBezTo>
                  <a:pt x="3517827" y="21541"/>
                  <a:pt x="3498189" y="1294"/>
                  <a:pt x="3473527" y="0"/>
                </a:cubicBezTo>
                <a:lnTo>
                  <a:pt x="3468656" y="0"/>
                </a:lnTo>
                <a:close/>
                <a:moveTo>
                  <a:pt x="3262307" y="0"/>
                </a:moveTo>
                <a:cubicBezTo>
                  <a:pt x="3262307" y="228"/>
                  <a:pt x="3262231" y="381"/>
                  <a:pt x="3262231" y="609"/>
                </a:cubicBezTo>
                <a:cubicBezTo>
                  <a:pt x="3262231" y="25575"/>
                  <a:pt x="3282477" y="45745"/>
                  <a:pt x="3307367" y="45745"/>
                </a:cubicBezTo>
                <a:cubicBezTo>
                  <a:pt x="3332257" y="45745"/>
                  <a:pt x="3352580" y="25499"/>
                  <a:pt x="3352580" y="609"/>
                </a:cubicBezTo>
                <a:cubicBezTo>
                  <a:pt x="3352580" y="381"/>
                  <a:pt x="3352504" y="228"/>
                  <a:pt x="3352504" y="0"/>
                </a:cubicBezTo>
                <a:lnTo>
                  <a:pt x="3262307" y="0"/>
                </a:lnTo>
                <a:close/>
                <a:moveTo>
                  <a:pt x="971613" y="46507"/>
                </a:moveTo>
                <a:cubicBezTo>
                  <a:pt x="971613" y="38362"/>
                  <a:pt x="964991" y="31816"/>
                  <a:pt x="956923" y="31816"/>
                </a:cubicBezTo>
                <a:cubicBezTo>
                  <a:pt x="948779" y="31816"/>
                  <a:pt x="942233" y="38438"/>
                  <a:pt x="942233" y="46507"/>
                </a:cubicBezTo>
                <a:cubicBezTo>
                  <a:pt x="942233" y="54651"/>
                  <a:pt x="948855" y="61197"/>
                  <a:pt x="956923" y="61197"/>
                </a:cubicBezTo>
                <a:cubicBezTo>
                  <a:pt x="965067" y="61197"/>
                  <a:pt x="971613" y="54651"/>
                  <a:pt x="971613" y="46507"/>
                </a:cubicBezTo>
                <a:moveTo>
                  <a:pt x="808270" y="98722"/>
                </a:moveTo>
                <a:cubicBezTo>
                  <a:pt x="808270" y="91491"/>
                  <a:pt x="802409" y="85630"/>
                  <a:pt x="795101" y="85630"/>
                </a:cubicBezTo>
                <a:cubicBezTo>
                  <a:pt x="787870" y="85630"/>
                  <a:pt x="782010" y="91491"/>
                  <a:pt x="782010" y="98722"/>
                </a:cubicBezTo>
                <a:cubicBezTo>
                  <a:pt x="782010" y="105953"/>
                  <a:pt x="787870" y="111890"/>
                  <a:pt x="795101" y="111890"/>
                </a:cubicBezTo>
                <a:cubicBezTo>
                  <a:pt x="802409" y="111890"/>
                  <a:pt x="808270" y="105953"/>
                  <a:pt x="808270" y="98722"/>
                </a:cubicBezTo>
                <a:moveTo>
                  <a:pt x="646524" y="157254"/>
                </a:moveTo>
                <a:cubicBezTo>
                  <a:pt x="646524" y="151165"/>
                  <a:pt x="641577" y="146218"/>
                  <a:pt x="635488" y="146218"/>
                </a:cubicBezTo>
                <a:cubicBezTo>
                  <a:pt x="629398" y="146218"/>
                  <a:pt x="624451" y="151165"/>
                  <a:pt x="624451" y="157254"/>
                </a:cubicBezTo>
                <a:cubicBezTo>
                  <a:pt x="624451" y="163344"/>
                  <a:pt x="629398" y="168291"/>
                  <a:pt x="635488" y="168291"/>
                </a:cubicBezTo>
                <a:cubicBezTo>
                  <a:pt x="641577" y="168291"/>
                  <a:pt x="646524" y="163344"/>
                  <a:pt x="646524" y="157254"/>
                </a:cubicBezTo>
                <a:moveTo>
                  <a:pt x="487671" y="221953"/>
                </a:moveTo>
                <a:cubicBezTo>
                  <a:pt x="487671" y="216701"/>
                  <a:pt x="483409" y="212514"/>
                  <a:pt x="478233" y="212514"/>
                </a:cubicBezTo>
                <a:cubicBezTo>
                  <a:pt x="472981" y="212514"/>
                  <a:pt x="468795" y="216777"/>
                  <a:pt x="468795" y="221953"/>
                </a:cubicBezTo>
                <a:cubicBezTo>
                  <a:pt x="468795" y="227205"/>
                  <a:pt x="473057" y="231391"/>
                  <a:pt x="478233" y="231391"/>
                </a:cubicBezTo>
                <a:cubicBezTo>
                  <a:pt x="483485" y="231391"/>
                  <a:pt x="487671" y="227128"/>
                  <a:pt x="487671" y="221953"/>
                </a:cubicBezTo>
                <a:moveTo>
                  <a:pt x="331559" y="292664"/>
                </a:moveTo>
                <a:cubicBezTo>
                  <a:pt x="331559" y="288325"/>
                  <a:pt x="328057" y="284824"/>
                  <a:pt x="323642" y="284824"/>
                </a:cubicBezTo>
                <a:cubicBezTo>
                  <a:pt x="319304" y="284824"/>
                  <a:pt x="315803" y="288325"/>
                  <a:pt x="315803" y="292664"/>
                </a:cubicBezTo>
                <a:cubicBezTo>
                  <a:pt x="315803" y="297002"/>
                  <a:pt x="319304" y="300580"/>
                  <a:pt x="323642" y="300580"/>
                </a:cubicBezTo>
                <a:cubicBezTo>
                  <a:pt x="327981" y="300580"/>
                  <a:pt x="331559" y="297002"/>
                  <a:pt x="331559" y="292664"/>
                </a:cubicBezTo>
                <a:moveTo>
                  <a:pt x="178262" y="369388"/>
                </a:moveTo>
                <a:cubicBezTo>
                  <a:pt x="178262" y="365887"/>
                  <a:pt x="175446" y="363071"/>
                  <a:pt x="171944" y="363071"/>
                </a:cubicBezTo>
                <a:cubicBezTo>
                  <a:pt x="168443" y="363071"/>
                  <a:pt x="165627" y="365887"/>
                  <a:pt x="165627" y="369388"/>
                </a:cubicBezTo>
                <a:cubicBezTo>
                  <a:pt x="165627" y="372889"/>
                  <a:pt x="168443" y="375706"/>
                  <a:pt x="171944" y="375706"/>
                </a:cubicBezTo>
                <a:cubicBezTo>
                  <a:pt x="175446" y="375706"/>
                  <a:pt x="178262" y="372889"/>
                  <a:pt x="178262" y="369388"/>
                </a:cubicBezTo>
                <a:moveTo>
                  <a:pt x="28619" y="452050"/>
                </a:moveTo>
                <a:cubicBezTo>
                  <a:pt x="28619" y="449157"/>
                  <a:pt x="26259" y="446798"/>
                  <a:pt x="23367" y="446798"/>
                </a:cubicBezTo>
                <a:cubicBezTo>
                  <a:pt x="20475" y="446798"/>
                  <a:pt x="18115" y="449157"/>
                  <a:pt x="18115" y="452050"/>
                </a:cubicBezTo>
                <a:cubicBezTo>
                  <a:pt x="18115" y="454942"/>
                  <a:pt x="20475" y="457302"/>
                  <a:pt x="23367" y="457302"/>
                </a:cubicBezTo>
                <a:cubicBezTo>
                  <a:pt x="26259" y="457302"/>
                  <a:pt x="28619" y="454942"/>
                  <a:pt x="28619" y="452050"/>
                </a:cubicBezTo>
                <a:moveTo>
                  <a:pt x="6240247" y="6342394"/>
                </a:moveTo>
                <a:cubicBezTo>
                  <a:pt x="6240247" y="6338589"/>
                  <a:pt x="6237203" y="6335544"/>
                  <a:pt x="6233397" y="6335544"/>
                </a:cubicBezTo>
                <a:cubicBezTo>
                  <a:pt x="6229591" y="6335544"/>
                  <a:pt x="6226546" y="6338589"/>
                  <a:pt x="6226546" y="6342394"/>
                </a:cubicBezTo>
                <a:cubicBezTo>
                  <a:pt x="6226546" y="6346124"/>
                  <a:pt x="6229591" y="6349245"/>
                  <a:pt x="6233397" y="6349245"/>
                </a:cubicBezTo>
                <a:cubicBezTo>
                  <a:pt x="6237203" y="6349168"/>
                  <a:pt x="6240247" y="6346124"/>
                  <a:pt x="6240247" y="6342394"/>
                </a:cubicBezTo>
                <a:moveTo>
                  <a:pt x="6318417" y="6190620"/>
                </a:moveTo>
                <a:cubicBezTo>
                  <a:pt x="6318417" y="6185977"/>
                  <a:pt x="6314611" y="6182247"/>
                  <a:pt x="6310045" y="6182247"/>
                </a:cubicBezTo>
                <a:cubicBezTo>
                  <a:pt x="6305402" y="6182247"/>
                  <a:pt x="6301596" y="6185977"/>
                  <a:pt x="6301596" y="6190620"/>
                </a:cubicBezTo>
                <a:cubicBezTo>
                  <a:pt x="6301596" y="6195263"/>
                  <a:pt x="6305326" y="6198993"/>
                  <a:pt x="6310045" y="6198993"/>
                </a:cubicBezTo>
                <a:cubicBezTo>
                  <a:pt x="6314688" y="6198993"/>
                  <a:pt x="6318417" y="6195263"/>
                  <a:pt x="6318417" y="6190620"/>
                </a:cubicBezTo>
                <a:moveTo>
                  <a:pt x="6390879" y="6036030"/>
                </a:moveTo>
                <a:cubicBezTo>
                  <a:pt x="6390879" y="6030549"/>
                  <a:pt x="6386389" y="6026059"/>
                  <a:pt x="6380909" y="6026059"/>
                </a:cubicBezTo>
                <a:cubicBezTo>
                  <a:pt x="6375428" y="6026059"/>
                  <a:pt x="6370937" y="6030549"/>
                  <a:pt x="6370937" y="6036030"/>
                </a:cubicBezTo>
                <a:cubicBezTo>
                  <a:pt x="6370937" y="6041510"/>
                  <a:pt x="6375428" y="6046001"/>
                  <a:pt x="6380909" y="6046001"/>
                </a:cubicBezTo>
                <a:cubicBezTo>
                  <a:pt x="6386465" y="6046001"/>
                  <a:pt x="6390879" y="6041586"/>
                  <a:pt x="6390879" y="6036030"/>
                </a:cubicBezTo>
                <a:moveTo>
                  <a:pt x="6423457" y="2506862"/>
                </a:moveTo>
                <a:cubicBezTo>
                  <a:pt x="6404276" y="2515463"/>
                  <a:pt x="6390879" y="2534720"/>
                  <a:pt x="6390879" y="2557098"/>
                </a:cubicBezTo>
                <a:cubicBezTo>
                  <a:pt x="6390879" y="2579476"/>
                  <a:pt x="6404276" y="2598657"/>
                  <a:pt x="6423457" y="2607334"/>
                </a:cubicBezTo>
                <a:lnTo>
                  <a:pt x="6423457" y="2506862"/>
                </a:lnTo>
                <a:close/>
                <a:moveTo>
                  <a:pt x="6423457" y="2362851"/>
                </a:moveTo>
                <a:cubicBezTo>
                  <a:pt x="6413029" y="2350977"/>
                  <a:pt x="6397958" y="2343290"/>
                  <a:pt x="6380909" y="2343290"/>
                </a:cubicBezTo>
                <a:cubicBezTo>
                  <a:pt x="6349625" y="2343290"/>
                  <a:pt x="6324202" y="2368712"/>
                  <a:pt x="6324202" y="2399996"/>
                </a:cubicBezTo>
                <a:cubicBezTo>
                  <a:pt x="6324202" y="2431355"/>
                  <a:pt x="6349625" y="2456702"/>
                  <a:pt x="6380909" y="2456702"/>
                </a:cubicBezTo>
                <a:cubicBezTo>
                  <a:pt x="6397958" y="2456702"/>
                  <a:pt x="6413029" y="2449014"/>
                  <a:pt x="6423457" y="2437140"/>
                </a:cubicBezTo>
                <a:lnTo>
                  <a:pt x="6423457" y="2362851"/>
                </a:lnTo>
                <a:moveTo>
                  <a:pt x="6368349" y="2245481"/>
                </a:moveTo>
                <a:cubicBezTo>
                  <a:pt x="6368349" y="2213285"/>
                  <a:pt x="6342241" y="2187177"/>
                  <a:pt x="6310045" y="2187177"/>
                </a:cubicBezTo>
                <a:cubicBezTo>
                  <a:pt x="6277848" y="2187177"/>
                  <a:pt x="6251740" y="2213285"/>
                  <a:pt x="6251740" y="2245481"/>
                </a:cubicBezTo>
                <a:cubicBezTo>
                  <a:pt x="6251740" y="2277678"/>
                  <a:pt x="6277848" y="2303786"/>
                  <a:pt x="6310045" y="2303786"/>
                </a:cubicBezTo>
                <a:cubicBezTo>
                  <a:pt x="6342241" y="2303786"/>
                  <a:pt x="6368349" y="2277678"/>
                  <a:pt x="6368349" y="2245481"/>
                </a:cubicBezTo>
                <a:moveTo>
                  <a:pt x="6293300" y="2093707"/>
                </a:moveTo>
                <a:cubicBezTo>
                  <a:pt x="6293300" y="2060597"/>
                  <a:pt x="6266507" y="2033804"/>
                  <a:pt x="6233397" y="2033804"/>
                </a:cubicBezTo>
                <a:cubicBezTo>
                  <a:pt x="6200362" y="2033804"/>
                  <a:pt x="6173494" y="2060597"/>
                  <a:pt x="6173494" y="2093707"/>
                </a:cubicBezTo>
                <a:cubicBezTo>
                  <a:pt x="6173494" y="2126817"/>
                  <a:pt x="6200287" y="2153610"/>
                  <a:pt x="6233397" y="2153610"/>
                </a:cubicBezTo>
                <a:cubicBezTo>
                  <a:pt x="6266507" y="2153610"/>
                  <a:pt x="6293300" y="2126817"/>
                  <a:pt x="6293300" y="2093707"/>
                </a:cubicBezTo>
                <a:moveTo>
                  <a:pt x="6212618" y="1944901"/>
                </a:moveTo>
                <a:cubicBezTo>
                  <a:pt x="6212618" y="1910954"/>
                  <a:pt x="6185139" y="1883476"/>
                  <a:pt x="6151192" y="1883476"/>
                </a:cubicBezTo>
                <a:cubicBezTo>
                  <a:pt x="6117245" y="1883476"/>
                  <a:pt x="6089767" y="1910954"/>
                  <a:pt x="6089767" y="1944901"/>
                </a:cubicBezTo>
                <a:cubicBezTo>
                  <a:pt x="6089767" y="1978849"/>
                  <a:pt x="6117321" y="2006327"/>
                  <a:pt x="6151192" y="2006327"/>
                </a:cubicBezTo>
                <a:cubicBezTo>
                  <a:pt x="6185139" y="2006403"/>
                  <a:pt x="6212618" y="1978849"/>
                  <a:pt x="6212618" y="1944901"/>
                </a:cubicBezTo>
                <a:moveTo>
                  <a:pt x="6125922" y="1799293"/>
                </a:moveTo>
                <a:cubicBezTo>
                  <a:pt x="6125922" y="1764736"/>
                  <a:pt x="6097911" y="1736802"/>
                  <a:pt x="6063431" y="1736802"/>
                </a:cubicBezTo>
                <a:cubicBezTo>
                  <a:pt x="6028951" y="1736802"/>
                  <a:pt x="6000940" y="1764812"/>
                  <a:pt x="6000940" y="1799293"/>
                </a:cubicBezTo>
                <a:cubicBezTo>
                  <a:pt x="6000940" y="1833849"/>
                  <a:pt x="6028951" y="1861783"/>
                  <a:pt x="6063431" y="1861783"/>
                </a:cubicBezTo>
                <a:cubicBezTo>
                  <a:pt x="6097987" y="1861783"/>
                  <a:pt x="6125922" y="1833849"/>
                  <a:pt x="6125922" y="1799293"/>
                </a:cubicBezTo>
                <a:moveTo>
                  <a:pt x="6033365" y="1657033"/>
                </a:moveTo>
                <a:cubicBezTo>
                  <a:pt x="6033365" y="1622248"/>
                  <a:pt x="6005127" y="1594009"/>
                  <a:pt x="5970342" y="1594009"/>
                </a:cubicBezTo>
                <a:cubicBezTo>
                  <a:pt x="5935557" y="1594009"/>
                  <a:pt x="5907318" y="1622248"/>
                  <a:pt x="5907318" y="1657033"/>
                </a:cubicBezTo>
                <a:cubicBezTo>
                  <a:pt x="5907318" y="1691818"/>
                  <a:pt x="5935557" y="1720057"/>
                  <a:pt x="5970342" y="1720057"/>
                </a:cubicBezTo>
                <a:cubicBezTo>
                  <a:pt x="6005127" y="1720057"/>
                  <a:pt x="6033365" y="1691894"/>
                  <a:pt x="6033365" y="1657033"/>
                </a:cubicBezTo>
                <a:moveTo>
                  <a:pt x="5936013" y="1518427"/>
                </a:moveTo>
                <a:cubicBezTo>
                  <a:pt x="5936013" y="1483033"/>
                  <a:pt x="5907318" y="1454338"/>
                  <a:pt x="5871925" y="1454338"/>
                </a:cubicBezTo>
                <a:cubicBezTo>
                  <a:pt x="5836531" y="1454338"/>
                  <a:pt x="5807835" y="1483033"/>
                  <a:pt x="5807835" y="1518427"/>
                </a:cubicBezTo>
                <a:cubicBezTo>
                  <a:pt x="5807835" y="1553820"/>
                  <a:pt x="5836531" y="1582516"/>
                  <a:pt x="5871925" y="1582516"/>
                </a:cubicBezTo>
                <a:cubicBezTo>
                  <a:pt x="5907318" y="1582440"/>
                  <a:pt x="5936013" y="1553820"/>
                  <a:pt x="5936013" y="1518427"/>
                </a:cubicBezTo>
                <a:moveTo>
                  <a:pt x="5833030" y="1383474"/>
                </a:moveTo>
                <a:cubicBezTo>
                  <a:pt x="5833030" y="1347776"/>
                  <a:pt x="5804106" y="1318852"/>
                  <a:pt x="5768407" y="1318852"/>
                </a:cubicBezTo>
                <a:cubicBezTo>
                  <a:pt x="5732709" y="1318852"/>
                  <a:pt x="5703785" y="1347776"/>
                  <a:pt x="5703785" y="1383474"/>
                </a:cubicBezTo>
                <a:cubicBezTo>
                  <a:pt x="5703785" y="1419172"/>
                  <a:pt x="5732709" y="1448096"/>
                  <a:pt x="5768407" y="1448096"/>
                </a:cubicBezTo>
                <a:cubicBezTo>
                  <a:pt x="5804106" y="1448096"/>
                  <a:pt x="5833030" y="1419172"/>
                  <a:pt x="5833030" y="1383474"/>
                </a:cubicBezTo>
                <a:moveTo>
                  <a:pt x="5725098" y="1252556"/>
                </a:moveTo>
                <a:cubicBezTo>
                  <a:pt x="5725098" y="1216553"/>
                  <a:pt x="5695946" y="1187401"/>
                  <a:pt x="5659943" y="1187401"/>
                </a:cubicBezTo>
                <a:cubicBezTo>
                  <a:pt x="5623940" y="1187401"/>
                  <a:pt x="5594788" y="1216553"/>
                  <a:pt x="5594788" y="1252556"/>
                </a:cubicBezTo>
                <a:cubicBezTo>
                  <a:pt x="5594788" y="1288558"/>
                  <a:pt x="5623940" y="1317710"/>
                  <a:pt x="5659943" y="1317710"/>
                </a:cubicBezTo>
                <a:cubicBezTo>
                  <a:pt x="5695946" y="1317710"/>
                  <a:pt x="5725098" y="1288558"/>
                  <a:pt x="5725098" y="1252556"/>
                </a:cubicBezTo>
                <a:moveTo>
                  <a:pt x="5611762" y="1125823"/>
                </a:moveTo>
                <a:cubicBezTo>
                  <a:pt x="5611762" y="1089821"/>
                  <a:pt x="5582610" y="1060669"/>
                  <a:pt x="5546608" y="1060669"/>
                </a:cubicBezTo>
                <a:cubicBezTo>
                  <a:pt x="5510604" y="1060669"/>
                  <a:pt x="5481452" y="1089821"/>
                  <a:pt x="5481452" y="1125823"/>
                </a:cubicBezTo>
                <a:cubicBezTo>
                  <a:pt x="5481452" y="1161826"/>
                  <a:pt x="5510604" y="1190978"/>
                  <a:pt x="5546608" y="1190978"/>
                </a:cubicBezTo>
                <a:cubicBezTo>
                  <a:pt x="5582610" y="1190978"/>
                  <a:pt x="5611762" y="1161750"/>
                  <a:pt x="5611762" y="1125823"/>
                </a:cubicBezTo>
                <a:moveTo>
                  <a:pt x="5494392" y="1003354"/>
                </a:moveTo>
                <a:cubicBezTo>
                  <a:pt x="5494392" y="967123"/>
                  <a:pt x="5465011" y="937666"/>
                  <a:pt x="5428705" y="937666"/>
                </a:cubicBezTo>
                <a:cubicBezTo>
                  <a:pt x="5392474" y="937666"/>
                  <a:pt x="5363017" y="967047"/>
                  <a:pt x="5363017" y="1003354"/>
                </a:cubicBezTo>
                <a:cubicBezTo>
                  <a:pt x="5363017" y="1039661"/>
                  <a:pt x="5392398" y="1069041"/>
                  <a:pt x="5428705" y="1069041"/>
                </a:cubicBezTo>
                <a:cubicBezTo>
                  <a:pt x="5464935" y="1069041"/>
                  <a:pt x="5494392" y="1039661"/>
                  <a:pt x="5494392" y="1003354"/>
                </a:cubicBezTo>
                <a:moveTo>
                  <a:pt x="5371390" y="885375"/>
                </a:moveTo>
                <a:cubicBezTo>
                  <a:pt x="5371390" y="849372"/>
                  <a:pt x="5342237" y="820220"/>
                  <a:pt x="5306234" y="820220"/>
                </a:cubicBezTo>
                <a:cubicBezTo>
                  <a:pt x="5270232" y="820220"/>
                  <a:pt x="5241080" y="849372"/>
                  <a:pt x="5241080" y="885375"/>
                </a:cubicBezTo>
                <a:cubicBezTo>
                  <a:pt x="5241080" y="921377"/>
                  <a:pt x="5270232" y="950529"/>
                  <a:pt x="5306234" y="950529"/>
                </a:cubicBezTo>
                <a:cubicBezTo>
                  <a:pt x="5342237" y="950529"/>
                  <a:pt x="5371390" y="921377"/>
                  <a:pt x="5371390" y="885375"/>
                </a:cubicBezTo>
                <a:moveTo>
                  <a:pt x="5244581" y="772115"/>
                </a:moveTo>
                <a:cubicBezTo>
                  <a:pt x="5244581" y="736112"/>
                  <a:pt x="5215429" y="706960"/>
                  <a:pt x="5179427" y="706960"/>
                </a:cubicBezTo>
                <a:cubicBezTo>
                  <a:pt x="5143423" y="706960"/>
                  <a:pt x="5114272" y="736112"/>
                  <a:pt x="5114272" y="772115"/>
                </a:cubicBezTo>
                <a:cubicBezTo>
                  <a:pt x="5114272" y="808118"/>
                  <a:pt x="5143423" y="837270"/>
                  <a:pt x="5179427" y="837270"/>
                </a:cubicBezTo>
                <a:cubicBezTo>
                  <a:pt x="5215429" y="837270"/>
                  <a:pt x="5244581" y="808118"/>
                  <a:pt x="5244581" y="772115"/>
                </a:cubicBezTo>
                <a:moveTo>
                  <a:pt x="5113130" y="663650"/>
                </a:moveTo>
                <a:cubicBezTo>
                  <a:pt x="5113130" y="627952"/>
                  <a:pt x="5084206" y="599028"/>
                  <a:pt x="5048508" y="599028"/>
                </a:cubicBezTo>
                <a:cubicBezTo>
                  <a:pt x="5012810" y="599028"/>
                  <a:pt x="4983886" y="627952"/>
                  <a:pt x="4983886" y="663650"/>
                </a:cubicBezTo>
                <a:cubicBezTo>
                  <a:pt x="4983886" y="699349"/>
                  <a:pt x="5012810" y="728272"/>
                  <a:pt x="5048508" y="728272"/>
                </a:cubicBezTo>
                <a:cubicBezTo>
                  <a:pt x="5084206" y="728272"/>
                  <a:pt x="5113130" y="699349"/>
                  <a:pt x="5113130" y="663650"/>
                </a:cubicBezTo>
                <a:moveTo>
                  <a:pt x="4977721" y="560133"/>
                </a:moveTo>
                <a:cubicBezTo>
                  <a:pt x="4977721" y="524740"/>
                  <a:pt x="4949025" y="496044"/>
                  <a:pt x="4913631" y="496044"/>
                </a:cubicBezTo>
                <a:cubicBezTo>
                  <a:pt x="4878238" y="496044"/>
                  <a:pt x="4849542" y="524740"/>
                  <a:pt x="4849542" y="560133"/>
                </a:cubicBezTo>
                <a:cubicBezTo>
                  <a:pt x="4849542" y="595527"/>
                  <a:pt x="4878238" y="624223"/>
                  <a:pt x="4913631" y="624223"/>
                </a:cubicBezTo>
                <a:cubicBezTo>
                  <a:pt x="4949025" y="624223"/>
                  <a:pt x="4977721" y="595527"/>
                  <a:pt x="4977721" y="560133"/>
                </a:cubicBezTo>
                <a:moveTo>
                  <a:pt x="4838048" y="461792"/>
                </a:moveTo>
                <a:cubicBezTo>
                  <a:pt x="4838048" y="427008"/>
                  <a:pt x="4809810" y="398769"/>
                  <a:pt x="4775026" y="398769"/>
                </a:cubicBezTo>
                <a:cubicBezTo>
                  <a:pt x="4740240" y="398769"/>
                  <a:pt x="4712002" y="427008"/>
                  <a:pt x="4712002" y="461792"/>
                </a:cubicBezTo>
                <a:cubicBezTo>
                  <a:pt x="4712002" y="496577"/>
                  <a:pt x="4740240" y="524816"/>
                  <a:pt x="4775026" y="524816"/>
                </a:cubicBezTo>
                <a:cubicBezTo>
                  <a:pt x="4809810" y="524816"/>
                  <a:pt x="4838048" y="496577"/>
                  <a:pt x="4838048" y="461792"/>
                </a:cubicBezTo>
                <a:moveTo>
                  <a:pt x="4695256" y="368627"/>
                </a:moveTo>
                <a:cubicBezTo>
                  <a:pt x="4695256" y="334071"/>
                  <a:pt x="4667246" y="306136"/>
                  <a:pt x="4632765" y="306136"/>
                </a:cubicBezTo>
                <a:cubicBezTo>
                  <a:pt x="4598209" y="306136"/>
                  <a:pt x="4570275" y="334147"/>
                  <a:pt x="4570275" y="368627"/>
                </a:cubicBezTo>
                <a:cubicBezTo>
                  <a:pt x="4570275" y="403183"/>
                  <a:pt x="4598285" y="431118"/>
                  <a:pt x="4632765" y="431118"/>
                </a:cubicBezTo>
                <a:cubicBezTo>
                  <a:pt x="4667322" y="431118"/>
                  <a:pt x="4695256" y="403183"/>
                  <a:pt x="4695256" y="368627"/>
                </a:cubicBezTo>
                <a:moveTo>
                  <a:pt x="4548582" y="280866"/>
                </a:moveTo>
                <a:cubicBezTo>
                  <a:pt x="4548582" y="246918"/>
                  <a:pt x="4521028" y="219441"/>
                  <a:pt x="4487156" y="219441"/>
                </a:cubicBezTo>
                <a:cubicBezTo>
                  <a:pt x="4453209" y="219441"/>
                  <a:pt x="4425732" y="246918"/>
                  <a:pt x="4425732" y="280866"/>
                </a:cubicBezTo>
                <a:cubicBezTo>
                  <a:pt x="4425732" y="314813"/>
                  <a:pt x="4453285" y="342291"/>
                  <a:pt x="4487156" y="342291"/>
                </a:cubicBezTo>
                <a:cubicBezTo>
                  <a:pt x="4521104" y="342367"/>
                  <a:pt x="4548582" y="314813"/>
                  <a:pt x="4548582" y="280866"/>
                </a:cubicBezTo>
                <a:moveTo>
                  <a:pt x="4398178" y="198661"/>
                </a:moveTo>
                <a:cubicBezTo>
                  <a:pt x="4398178" y="165627"/>
                  <a:pt x="4371385" y="138758"/>
                  <a:pt x="4338275" y="138758"/>
                </a:cubicBezTo>
                <a:cubicBezTo>
                  <a:pt x="4305240" y="138758"/>
                  <a:pt x="4278372" y="165551"/>
                  <a:pt x="4278372" y="198661"/>
                </a:cubicBezTo>
                <a:cubicBezTo>
                  <a:pt x="4278372" y="231771"/>
                  <a:pt x="4305164" y="258564"/>
                  <a:pt x="4338275" y="258564"/>
                </a:cubicBezTo>
                <a:cubicBezTo>
                  <a:pt x="4371385" y="258488"/>
                  <a:pt x="4398178" y="231695"/>
                  <a:pt x="4398178" y="198661"/>
                </a:cubicBezTo>
                <a:moveTo>
                  <a:pt x="4244881" y="122013"/>
                </a:moveTo>
                <a:cubicBezTo>
                  <a:pt x="4244881" y="89816"/>
                  <a:pt x="4218773" y="63709"/>
                  <a:pt x="4186577" y="63709"/>
                </a:cubicBezTo>
                <a:cubicBezTo>
                  <a:pt x="4154380" y="63709"/>
                  <a:pt x="4128272" y="89816"/>
                  <a:pt x="4128272" y="122013"/>
                </a:cubicBezTo>
                <a:cubicBezTo>
                  <a:pt x="4128272" y="154210"/>
                  <a:pt x="4154380" y="180317"/>
                  <a:pt x="4186577" y="180317"/>
                </a:cubicBezTo>
                <a:cubicBezTo>
                  <a:pt x="4218773" y="180317"/>
                  <a:pt x="4244881" y="154210"/>
                  <a:pt x="4244881" y="122013"/>
                </a:cubicBezTo>
                <a:moveTo>
                  <a:pt x="4007782" y="0"/>
                </a:moveTo>
                <a:cubicBezTo>
                  <a:pt x="3988600" y="9134"/>
                  <a:pt x="3975280" y="28467"/>
                  <a:pt x="3975280" y="51073"/>
                </a:cubicBezTo>
                <a:cubicBezTo>
                  <a:pt x="3975280" y="82433"/>
                  <a:pt x="4000702" y="107779"/>
                  <a:pt x="4031987" y="107779"/>
                </a:cubicBezTo>
                <a:cubicBezTo>
                  <a:pt x="4063270" y="107779"/>
                  <a:pt x="4088692" y="82357"/>
                  <a:pt x="4088692" y="51073"/>
                </a:cubicBezTo>
                <a:cubicBezTo>
                  <a:pt x="4088692" y="28467"/>
                  <a:pt x="4075372" y="9058"/>
                  <a:pt x="4056191" y="0"/>
                </a:cubicBezTo>
                <a:lnTo>
                  <a:pt x="4007782" y="0"/>
                </a:lnTo>
                <a:close/>
                <a:moveTo>
                  <a:pt x="3821831" y="0"/>
                </a:moveTo>
                <a:cubicBezTo>
                  <a:pt x="3828073" y="23672"/>
                  <a:pt x="3849385" y="41178"/>
                  <a:pt x="3874961" y="41178"/>
                </a:cubicBezTo>
                <a:cubicBezTo>
                  <a:pt x="3900611" y="41178"/>
                  <a:pt x="3921923" y="23672"/>
                  <a:pt x="3928089" y="0"/>
                </a:cubicBezTo>
                <a:lnTo>
                  <a:pt x="3821831" y="0"/>
                </a:lnTo>
                <a:close/>
                <a:moveTo>
                  <a:pt x="405999" y="51150"/>
                </a:moveTo>
                <a:cubicBezTo>
                  <a:pt x="405999" y="45669"/>
                  <a:pt x="401509" y="41178"/>
                  <a:pt x="396028" y="41178"/>
                </a:cubicBezTo>
                <a:cubicBezTo>
                  <a:pt x="390548" y="41178"/>
                  <a:pt x="386057" y="45669"/>
                  <a:pt x="386057" y="51150"/>
                </a:cubicBezTo>
                <a:cubicBezTo>
                  <a:pt x="386057" y="56630"/>
                  <a:pt x="390548" y="61121"/>
                  <a:pt x="396028" y="61121"/>
                </a:cubicBezTo>
                <a:cubicBezTo>
                  <a:pt x="401509" y="61121"/>
                  <a:pt x="405999" y="56630"/>
                  <a:pt x="405999" y="51150"/>
                </a:cubicBezTo>
                <a:moveTo>
                  <a:pt x="249887" y="122013"/>
                </a:moveTo>
                <a:cubicBezTo>
                  <a:pt x="249887" y="117370"/>
                  <a:pt x="246157" y="113640"/>
                  <a:pt x="241514" y="113640"/>
                </a:cubicBezTo>
                <a:cubicBezTo>
                  <a:pt x="236871" y="113640"/>
                  <a:pt x="233141" y="117446"/>
                  <a:pt x="233141" y="122013"/>
                </a:cubicBezTo>
                <a:cubicBezTo>
                  <a:pt x="233141" y="126656"/>
                  <a:pt x="236871" y="130386"/>
                  <a:pt x="241514" y="130386"/>
                </a:cubicBezTo>
                <a:cubicBezTo>
                  <a:pt x="246081" y="130386"/>
                  <a:pt x="249887" y="126656"/>
                  <a:pt x="249887" y="122013"/>
                </a:cubicBezTo>
                <a:moveTo>
                  <a:pt x="96514" y="198661"/>
                </a:moveTo>
                <a:cubicBezTo>
                  <a:pt x="96514" y="194932"/>
                  <a:pt x="93470" y="191811"/>
                  <a:pt x="89664" y="191811"/>
                </a:cubicBezTo>
                <a:cubicBezTo>
                  <a:pt x="85858" y="191811"/>
                  <a:pt x="82813" y="194856"/>
                  <a:pt x="82813" y="198661"/>
                </a:cubicBezTo>
                <a:cubicBezTo>
                  <a:pt x="82813" y="202467"/>
                  <a:pt x="85858" y="205512"/>
                  <a:pt x="89664" y="205512"/>
                </a:cubicBezTo>
                <a:cubicBezTo>
                  <a:pt x="93470" y="205436"/>
                  <a:pt x="96514" y="202391"/>
                  <a:pt x="96514" y="198661"/>
                </a:cubicBezTo>
                <a:moveTo>
                  <a:pt x="6423457" y="1984634"/>
                </a:moveTo>
                <a:cubicBezTo>
                  <a:pt x="6387987" y="1984862"/>
                  <a:pt x="6359216" y="2013634"/>
                  <a:pt x="6359216" y="2049180"/>
                </a:cubicBezTo>
                <a:cubicBezTo>
                  <a:pt x="6359216" y="2084725"/>
                  <a:pt x="6387911" y="2113573"/>
                  <a:pt x="6423457" y="2113725"/>
                </a:cubicBezTo>
                <a:lnTo>
                  <a:pt x="6423457" y="1984634"/>
                </a:lnTo>
                <a:close/>
                <a:moveTo>
                  <a:pt x="6408919" y="1899461"/>
                </a:moveTo>
                <a:cubicBezTo>
                  <a:pt x="6408919" y="1863230"/>
                  <a:pt x="6379538" y="1833773"/>
                  <a:pt x="6343231" y="1833773"/>
                </a:cubicBezTo>
                <a:cubicBezTo>
                  <a:pt x="6307000" y="1833773"/>
                  <a:pt x="6277543" y="1863153"/>
                  <a:pt x="6277543" y="1899461"/>
                </a:cubicBezTo>
                <a:cubicBezTo>
                  <a:pt x="6277543" y="1935692"/>
                  <a:pt x="6306924" y="1965148"/>
                  <a:pt x="6343231" y="1965148"/>
                </a:cubicBezTo>
                <a:cubicBezTo>
                  <a:pt x="6379538" y="1965148"/>
                  <a:pt x="6408919" y="1935692"/>
                  <a:pt x="6408919" y="1899461"/>
                </a:cubicBezTo>
                <a:moveTo>
                  <a:pt x="6324583" y="1752710"/>
                </a:moveTo>
                <a:cubicBezTo>
                  <a:pt x="6324583" y="1715566"/>
                  <a:pt x="6294518" y="1685500"/>
                  <a:pt x="6257373" y="1685500"/>
                </a:cubicBezTo>
                <a:cubicBezTo>
                  <a:pt x="6220229" y="1685500"/>
                  <a:pt x="6190163" y="1715642"/>
                  <a:pt x="6190163" y="1752710"/>
                </a:cubicBezTo>
                <a:cubicBezTo>
                  <a:pt x="6190163" y="1789854"/>
                  <a:pt x="6220229" y="1819920"/>
                  <a:pt x="6257373" y="1819920"/>
                </a:cubicBezTo>
                <a:cubicBezTo>
                  <a:pt x="6294518" y="1819996"/>
                  <a:pt x="6324583" y="1789854"/>
                  <a:pt x="6324583" y="1752710"/>
                </a:cubicBezTo>
                <a:moveTo>
                  <a:pt x="6234539" y="1609156"/>
                </a:moveTo>
                <a:cubicBezTo>
                  <a:pt x="6234539" y="1571479"/>
                  <a:pt x="6203940" y="1540881"/>
                  <a:pt x="6166263" y="1540881"/>
                </a:cubicBezTo>
                <a:cubicBezTo>
                  <a:pt x="6128586" y="1540881"/>
                  <a:pt x="6097987" y="1571479"/>
                  <a:pt x="6097987" y="1609156"/>
                </a:cubicBezTo>
                <a:cubicBezTo>
                  <a:pt x="6097987" y="1646833"/>
                  <a:pt x="6128586" y="1677432"/>
                  <a:pt x="6166263" y="1677432"/>
                </a:cubicBezTo>
                <a:cubicBezTo>
                  <a:pt x="6204016" y="1677432"/>
                  <a:pt x="6234539" y="1646910"/>
                  <a:pt x="6234539" y="1609156"/>
                </a:cubicBezTo>
                <a:moveTo>
                  <a:pt x="6138861" y="1468952"/>
                </a:moveTo>
                <a:cubicBezTo>
                  <a:pt x="6138861" y="1430970"/>
                  <a:pt x="6108035" y="1400143"/>
                  <a:pt x="6070053" y="1400143"/>
                </a:cubicBezTo>
                <a:cubicBezTo>
                  <a:pt x="6032071" y="1400143"/>
                  <a:pt x="6001245" y="1430970"/>
                  <a:pt x="6001245" y="1468952"/>
                </a:cubicBezTo>
                <a:cubicBezTo>
                  <a:pt x="6001245" y="1506933"/>
                  <a:pt x="6032071" y="1537760"/>
                  <a:pt x="6070053" y="1537760"/>
                </a:cubicBezTo>
                <a:cubicBezTo>
                  <a:pt x="6108110" y="1537760"/>
                  <a:pt x="6138861" y="1507009"/>
                  <a:pt x="6138861" y="1468952"/>
                </a:cubicBezTo>
                <a:moveTo>
                  <a:pt x="6038769" y="1332325"/>
                </a:moveTo>
                <a:cubicBezTo>
                  <a:pt x="6038769" y="1293734"/>
                  <a:pt x="6007486" y="1262451"/>
                  <a:pt x="5968896" y="1262451"/>
                </a:cubicBezTo>
                <a:cubicBezTo>
                  <a:pt x="5930305" y="1262451"/>
                  <a:pt x="5899021" y="1293734"/>
                  <a:pt x="5899021" y="1332325"/>
                </a:cubicBezTo>
                <a:cubicBezTo>
                  <a:pt x="5899021" y="1370915"/>
                  <a:pt x="5930305" y="1402198"/>
                  <a:pt x="5968896" y="1402198"/>
                </a:cubicBezTo>
                <a:cubicBezTo>
                  <a:pt x="6007486" y="1402198"/>
                  <a:pt x="6038769" y="1370915"/>
                  <a:pt x="6038769" y="1332325"/>
                </a:cubicBezTo>
                <a:moveTo>
                  <a:pt x="5933273" y="1199427"/>
                </a:moveTo>
                <a:cubicBezTo>
                  <a:pt x="5933273" y="1160532"/>
                  <a:pt x="5901761" y="1129020"/>
                  <a:pt x="5862867" y="1129020"/>
                </a:cubicBezTo>
                <a:cubicBezTo>
                  <a:pt x="5823972" y="1129020"/>
                  <a:pt x="5792460" y="1160532"/>
                  <a:pt x="5792460" y="1199427"/>
                </a:cubicBezTo>
                <a:cubicBezTo>
                  <a:pt x="5792460" y="1238322"/>
                  <a:pt x="5823972" y="1269834"/>
                  <a:pt x="5862867" y="1269834"/>
                </a:cubicBezTo>
                <a:cubicBezTo>
                  <a:pt x="5901761" y="1269834"/>
                  <a:pt x="5933273" y="1238322"/>
                  <a:pt x="5933273" y="1199427"/>
                </a:cubicBezTo>
                <a:moveTo>
                  <a:pt x="5823135" y="1070335"/>
                </a:moveTo>
                <a:cubicBezTo>
                  <a:pt x="5823135" y="1031212"/>
                  <a:pt x="5791394" y="999396"/>
                  <a:pt x="5752195" y="999396"/>
                </a:cubicBezTo>
                <a:cubicBezTo>
                  <a:pt x="5713072" y="999396"/>
                  <a:pt x="5681255" y="1031136"/>
                  <a:pt x="5681255" y="1070335"/>
                </a:cubicBezTo>
                <a:cubicBezTo>
                  <a:pt x="5681255" y="1109535"/>
                  <a:pt x="5712996" y="1141275"/>
                  <a:pt x="5752195" y="1141275"/>
                </a:cubicBezTo>
                <a:cubicBezTo>
                  <a:pt x="5791394" y="1141275"/>
                  <a:pt x="5823135" y="1109535"/>
                  <a:pt x="5823135" y="1070335"/>
                </a:cubicBezTo>
                <a:moveTo>
                  <a:pt x="5707820" y="945354"/>
                </a:moveTo>
                <a:cubicBezTo>
                  <a:pt x="5707820" y="906230"/>
                  <a:pt x="5676080" y="874414"/>
                  <a:pt x="5636880" y="874414"/>
                </a:cubicBezTo>
                <a:cubicBezTo>
                  <a:pt x="5597757" y="874414"/>
                  <a:pt x="5565940" y="906154"/>
                  <a:pt x="5565940" y="945354"/>
                </a:cubicBezTo>
                <a:cubicBezTo>
                  <a:pt x="5565940" y="984553"/>
                  <a:pt x="5597681" y="1016293"/>
                  <a:pt x="5636880" y="1016293"/>
                </a:cubicBezTo>
                <a:cubicBezTo>
                  <a:pt x="5676080" y="1016293"/>
                  <a:pt x="5707820" y="984553"/>
                  <a:pt x="5707820" y="945354"/>
                </a:cubicBezTo>
                <a:moveTo>
                  <a:pt x="5588166" y="824635"/>
                </a:moveTo>
                <a:cubicBezTo>
                  <a:pt x="5588166" y="785435"/>
                  <a:pt x="5556426" y="753695"/>
                  <a:pt x="5517226" y="753695"/>
                </a:cubicBezTo>
                <a:cubicBezTo>
                  <a:pt x="5478027" y="753695"/>
                  <a:pt x="5446287" y="785435"/>
                  <a:pt x="5446287" y="824635"/>
                </a:cubicBezTo>
                <a:cubicBezTo>
                  <a:pt x="5446287" y="863758"/>
                  <a:pt x="5478027" y="895574"/>
                  <a:pt x="5517226" y="895574"/>
                </a:cubicBezTo>
                <a:cubicBezTo>
                  <a:pt x="5556426" y="895574"/>
                  <a:pt x="5588166" y="863834"/>
                  <a:pt x="5588166" y="824635"/>
                </a:cubicBezTo>
                <a:moveTo>
                  <a:pt x="5464250" y="708254"/>
                </a:moveTo>
                <a:cubicBezTo>
                  <a:pt x="5464250" y="669055"/>
                  <a:pt x="5432511" y="637314"/>
                  <a:pt x="5393311" y="637314"/>
                </a:cubicBezTo>
                <a:cubicBezTo>
                  <a:pt x="5354111" y="637314"/>
                  <a:pt x="5322371" y="669055"/>
                  <a:pt x="5322371" y="708254"/>
                </a:cubicBezTo>
                <a:cubicBezTo>
                  <a:pt x="5322371" y="747377"/>
                  <a:pt x="5354111" y="779194"/>
                  <a:pt x="5393311" y="779194"/>
                </a:cubicBezTo>
                <a:cubicBezTo>
                  <a:pt x="5432511" y="779118"/>
                  <a:pt x="5464250" y="747377"/>
                  <a:pt x="5464250" y="708254"/>
                </a:cubicBezTo>
                <a:moveTo>
                  <a:pt x="5335691" y="596364"/>
                </a:moveTo>
                <a:cubicBezTo>
                  <a:pt x="5335691" y="557469"/>
                  <a:pt x="5304179" y="525958"/>
                  <a:pt x="5265284" y="525958"/>
                </a:cubicBezTo>
                <a:cubicBezTo>
                  <a:pt x="5226389" y="525958"/>
                  <a:pt x="5194878" y="557469"/>
                  <a:pt x="5194878" y="596364"/>
                </a:cubicBezTo>
                <a:cubicBezTo>
                  <a:pt x="5194878" y="635259"/>
                  <a:pt x="5226389" y="666771"/>
                  <a:pt x="5265284" y="666771"/>
                </a:cubicBezTo>
                <a:cubicBezTo>
                  <a:pt x="5304179" y="666771"/>
                  <a:pt x="5335691" y="635259"/>
                  <a:pt x="5335691" y="596364"/>
                </a:cubicBezTo>
                <a:moveTo>
                  <a:pt x="5203175" y="489194"/>
                </a:moveTo>
                <a:cubicBezTo>
                  <a:pt x="5203175" y="450603"/>
                  <a:pt x="5171891" y="419320"/>
                  <a:pt x="5133300" y="419320"/>
                </a:cubicBezTo>
                <a:cubicBezTo>
                  <a:pt x="5094710" y="419320"/>
                  <a:pt x="5063426" y="450603"/>
                  <a:pt x="5063426" y="489194"/>
                </a:cubicBezTo>
                <a:cubicBezTo>
                  <a:pt x="5063426" y="527784"/>
                  <a:pt x="5094710" y="559068"/>
                  <a:pt x="5133300" y="559068"/>
                </a:cubicBezTo>
                <a:cubicBezTo>
                  <a:pt x="5171891" y="559068"/>
                  <a:pt x="5203175" y="527784"/>
                  <a:pt x="5203175" y="489194"/>
                </a:cubicBezTo>
                <a:moveTo>
                  <a:pt x="5066928" y="386819"/>
                </a:moveTo>
                <a:cubicBezTo>
                  <a:pt x="5066928" y="348533"/>
                  <a:pt x="5035872" y="317477"/>
                  <a:pt x="4997587" y="317477"/>
                </a:cubicBezTo>
                <a:cubicBezTo>
                  <a:pt x="4959301" y="317477"/>
                  <a:pt x="4928246" y="348533"/>
                  <a:pt x="4928246" y="386819"/>
                </a:cubicBezTo>
                <a:cubicBezTo>
                  <a:pt x="4928246" y="425105"/>
                  <a:pt x="4959301" y="456160"/>
                  <a:pt x="4997587" y="456160"/>
                </a:cubicBezTo>
                <a:cubicBezTo>
                  <a:pt x="5035872" y="456160"/>
                  <a:pt x="5066928" y="425105"/>
                  <a:pt x="5066928" y="386819"/>
                </a:cubicBezTo>
                <a:moveTo>
                  <a:pt x="4926571" y="289391"/>
                </a:moveTo>
                <a:cubicBezTo>
                  <a:pt x="4926571" y="251714"/>
                  <a:pt x="4895972" y="221115"/>
                  <a:pt x="4858295" y="221115"/>
                </a:cubicBezTo>
                <a:cubicBezTo>
                  <a:pt x="4820619" y="221115"/>
                  <a:pt x="4790020" y="251714"/>
                  <a:pt x="4790020" y="289391"/>
                </a:cubicBezTo>
                <a:cubicBezTo>
                  <a:pt x="4790020" y="327068"/>
                  <a:pt x="4820619" y="357666"/>
                  <a:pt x="4858295" y="357666"/>
                </a:cubicBezTo>
                <a:cubicBezTo>
                  <a:pt x="4895972" y="357666"/>
                  <a:pt x="4926571" y="327068"/>
                  <a:pt x="4926571" y="289391"/>
                </a:cubicBezTo>
                <a:moveTo>
                  <a:pt x="4782789" y="196987"/>
                </a:moveTo>
                <a:cubicBezTo>
                  <a:pt x="4782789" y="159842"/>
                  <a:pt x="4752723" y="129777"/>
                  <a:pt x="4715579" y="129777"/>
                </a:cubicBezTo>
                <a:cubicBezTo>
                  <a:pt x="4678435" y="129777"/>
                  <a:pt x="4648369" y="159842"/>
                  <a:pt x="4648369" y="196987"/>
                </a:cubicBezTo>
                <a:cubicBezTo>
                  <a:pt x="4648369" y="234131"/>
                  <a:pt x="4678435" y="264197"/>
                  <a:pt x="4715579" y="264197"/>
                </a:cubicBezTo>
                <a:cubicBezTo>
                  <a:pt x="4752647" y="264197"/>
                  <a:pt x="4782789" y="234131"/>
                  <a:pt x="4782789" y="196987"/>
                </a:cubicBezTo>
                <a:moveTo>
                  <a:pt x="4635734" y="109758"/>
                </a:moveTo>
                <a:cubicBezTo>
                  <a:pt x="4635734" y="73223"/>
                  <a:pt x="4606125" y="43538"/>
                  <a:pt x="4569514" y="43538"/>
                </a:cubicBezTo>
                <a:cubicBezTo>
                  <a:pt x="4532978" y="43538"/>
                  <a:pt x="4503293" y="73147"/>
                  <a:pt x="4503293" y="109758"/>
                </a:cubicBezTo>
                <a:cubicBezTo>
                  <a:pt x="4503293" y="146294"/>
                  <a:pt x="4532902" y="175903"/>
                  <a:pt x="4569514" y="175903"/>
                </a:cubicBezTo>
                <a:cubicBezTo>
                  <a:pt x="4606125" y="175903"/>
                  <a:pt x="4635734" y="146294"/>
                  <a:pt x="4635734" y="109758"/>
                </a:cubicBezTo>
                <a:moveTo>
                  <a:pt x="4362479" y="0"/>
                </a:moveTo>
                <a:cubicBezTo>
                  <a:pt x="4358445" y="8449"/>
                  <a:pt x="4355934" y="17811"/>
                  <a:pt x="4355934" y="27858"/>
                </a:cubicBezTo>
                <a:cubicBezTo>
                  <a:pt x="4355934" y="63556"/>
                  <a:pt x="4384858" y="92480"/>
                  <a:pt x="4420555" y="92480"/>
                </a:cubicBezTo>
                <a:cubicBezTo>
                  <a:pt x="4456254" y="92480"/>
                  <a:pt x="4485177" y="63556"/>
                  <a:pt x="4485177" y="27858"/>
                </a:cubicBezTo>
                <a:cubicBezTo>
                  <a:pt x="4485177" y="17811"/>
                  <a:pt x="4482742" y="8449"/>
                  <a:pt x="4478632" y="0"/>
                </a:cubicBezTo>
                <a:lnTo>
                  <a:pt x="4362479" y="0"/>
                </a:lnTo>
                <a:close/>
                <a:moveTo>
                  <a:pt x="14766" y="27858"/>
                </a:moveTo>
                <a:cubicBezTo>
                  <a:pt x="14766" y="23824"/>
                  <a:pt x="11493" y="20475"/>
                  <a:pt x="7383" y="20475"/>
                </a:cubicBezTo>
                <a:cubicBezTo>
                  <a:pt x="3349" y="20475"/>
                  <a:pt x="0" y="23748"/>
                  <a:pt x="0" y="27858"/>
                </a:cubicBezTo>
                <a:cubicBezTo>
                  <a:pt x="0" y="31892"/>
                  <a:pt x="3273" y="35241"/>
                  <a:pt x="7383" y="35241"/>
                </a:cubicBezTo>
                <a:cubicBezTo>
                  <a:pt x="11493" y="35241"/>
                  <a:pt x="14766" y="31892"/>
                  <a:pt x="14766" y="27858"/>
                </a:cubicBezTo>
                <a:moveTo>
                  <a:pt x="6423457" y="1639983"/>
                </a:moveTo>
                <a:cubicBezTo>
                  <a:pt x="6397197" y="1650715"/>
                  <a:pt x="6378701" y="1676442"/>
                  <a:pt x="6378701" y="1706508"/>
                </a:cubicBezTo>
                <a:cubicBezTo>
                  <a:pt x="6378701" y="1736574"/>
                  <a:pt x="6397197" y="1762300"/>
                  <a:pt x="6423457" y="1773033"/>
                </a:cubicBezTo>
                <a:lnTo>
                  <a:pt x="6423457" y="1639983"/>
                </a:lnTo>
                <a:close/>
                <a:moveTo>
                  <a:pt x="6423457" y="1523679"/>
                </a:moveTo>
                <a:cubicBezTo>
                  <a:pt x="6410594" y="1502823"/>
                  <a:pt x="6387759" y="1488818"/>
                  <a:pt x="6361423" y="1488818"/>
                </a:cubicBezTo>
                <a:cubicBezTo>
                  <a:pt x="6321082" y="1488818"/>
                  <a:pt x="6288428" y="1521471"/>
                  <a:pt x="6288428" y="1561812"/>
                </a:cubicBezTo>
                <a:cubicBezTo>
                  <a:pt x="6288428" y="1602154"/>
                  <a:pt x="6321082" y="1634807"/>
                  <a:pt x="6361423" y="1634807"/>
                </a:cubicBezTo>
                <a:cubicBezTo>
                  <a:pt x="6387683" y="1634807"/>
                  <a:pt x="6410594" y="1620802"/>
                  <a:pt x="6423457" y="1599946"/>
                </a:cubicBezTo>
                <a:lnTo>
                  <a:pt x="6423457" y="1523679"/>
                </a:lnTo>
                <a:moveTo>
                  <a:pt x="6341328" y="1420238"/>
                </a:moveTo>
                <a:cubicBezTo>
                  <a:pt x="6341328" y="1379364"/>
                  <a:pt x="6308142" y="1346177"/>
                  <a:pt x="6267268" y="1346177"/>
                </a:cubicBezTo>
                <a:cubicBezTo>
                  <a:pt x="6226394" y="1346177"/>
                  <a:pt x="6193208" y="1379364"/>
                  <a:pt x="6193208" y="1420238"/>
                </a:cubicBezTo>
                <a:cubicBezTo>
                  <a:pt x="6193208" y="1461112"/>
                  <a:pt x="6226394" y="1494298"/>
                  <a:pt x="6267268" y="1494298"/>
                </a:cubicBezTo>
                <a:cubicBezTo>
                  <a:pt x="6308218" y="1494298"/>
                  <a:pt x="6341328" y="1461188"/>
                  <a:pt x="6341328" y="1420238"/>
                </a:cubicBezTo>
                <a:moveTo>
                  <a:pt x="6243444" y="1282012"/>
                </a:moveTo>
                <a:cubicBezTo>
                  <a:pt x="6243444" y="1240529"/>
                  <a:pt x="6209801" y="1206886"/>
                  <a:pt x="6168318" y="1206886"/>
                </a:cubicBezTo>
                <a:cubicBezTo>
                  <a:pt x="6126835" y="1206886"/>
                  <a:pt x="6093192" y="1240529"/>
                  <a:pt x="6093192" y="1282012"/>
                </a:cubicBezTo>
                <a:cubicBezTo>
                  <a:pt x="6093192" y="1323495"/>
                  <a:pt x="6126835" y="1357138"/>
                  <a:pt x="6168318" y="1357138"/>
                </a:cubicBezTo>
                <a:cubicBezTo>
                  <a:pt x="6209801" y="1357138"/>
                  <a:pt x="6243444" y="1323495"/>
                  <a:pt x="6243444" y="1282012"/>
                </a:cubicBezTo>
                <a:moveTo>
                  <a:pt x="6140232" y="1147288"/>
                </a:moveTo>
                <a:cubicBezTo>
                  <a:pt x="6140232" y="1105501"/>
                  <a:pt x="6106360" y="1071629"/>
                  <a:pt x="6064572" y="1071629"/>
                </a:cubicBezTo>
                <a:cubicBezTo>
                  <a:pt x="6022785" y="1071629"/>
                  <a:pt x="5988914" y="1105501"/>
                  <a:pt x="5988914" y="1147288"/>
                </a:cubicBezTo>
                <a:cubicBezTo>
                  <a:pt x="5988914" y="1189075"/>
                  <a:pt x="6022785" y="1222947"/>
                  <a:pt x="6064572" y="1222947"/>
                </a:cubicBezTo>
                <a:cubicBezTo>
                  <a:pt x="6106360" y="1222947"/>
                  <a:pt x="6140232" y="1189075"/>
                  <a:pt x="6140232" y="1147288"/>
                </a:cubicBezTo>
                <a:moveTo>
                  <a:pt x="6032528" y="1016217"/>
                </a:moveTo>
                <a:cubicBezTo>
                  <a:pt x="6032528" y="974125"/>
                  <a:pt x="5998429" y="940026"/>
                  <a:pt x="5956337" y="940026"/>
                </a:cubicBezTo>
                <a:cubicBezTo>
                  <a:pt x="5914244" y="940026"/>
                  <a:pt x="5880145" y="974125"/>
                  <a:pt x="5880145" y="1016217"/>
                </a:cubicBezTo>
                <a:cubicBezTo>
                  <a:pt x="5880145" y="1058309"/>
                  <a:pt x="5914244" y="1092409"/>
                  <a:pt x="5956337" y="1092409"/>
                </a:cubicBezTo>
                <a:cubicBezTo>
                  <a:pt x="5998429" y="1092409"/>
                  <a:pt x="6032528" y="1058309"/>
                  <a:pt x="6032528" y="1016217"/>
                </a:cubicBezTo>
                <a:moveTo>
                  <a:pt x="5920258" y="888952"/>
                </a:moveTo>
                <a:cubicBezTo>
                  <a:pt x="5920258" y="846632"/>
                  <a:pt x="5885930" y="812228"/>
                  <a:pt x="5843534" y="812228"/>
                </a:cubicBezTo>
                <a:cubicBezTo>
                  <a:pt x="5801137" y="812228"/>
                  <a:pt x="5766809" y="846556"/>
                  <a:pt x="5766809" y="888952"/>
                </a:cubicBezTo>
                <a:cubicBezTo>
                  <a:pt x="5766809" y="931272"/>
                  <a:pt x="5801137" y="965676"/>
                  <a:pt x="5843534" y="965676"/>
                </a:cubicBezTo>
                <a:cubicBezTo>
                  <a:pt x="5885930" y="965676"/>
                  <a:pt x="5920258" y="931272"/>
                  <a:pt x="5920258" y="888952"/>
                </a:cubicBezTo>
                <a:moveTo>
                  <a:pt x="5803192" y="765645"/>
                </a:moveTo>
                <a:cubicBezTo>
                  <a:pt x="5803192" y="723325"/>
                  <a:pt x="5768864" y="688921"/>
                  <a:pt x="5726468" y="688921"/>
                </a:cubicBezTo>
                <a:cubicBezTo>
                  <a:pt x="5684148" y="688921"/>
                  <a:pt x="5649743" y="723249"/>
                  <a:pt x="5649743" y="765645"/>
                </a:cubicBezTo>
                <a:cubicBezTo>
                  <a:pt x="5649743" y="807965"/>
                  <a:pt x="5684072" y="842369"/>
                  <a:pt x="5726468" y="842369"/>
                </a:cubicBezTo>
                <a:cubicBezTo>
                  <a:pt x="5768864" y="842369"/>
                  <a:pt x="5803192" y="808041"/>
                  <a:pt x="5803192" y="765645"/>
                </a:cubicBezTo>
                <a:moveTo>
                  <a:pt x="5681940" y="646448"/>
                </a:moveTo>
                <a:cubicBezTo>
                  <a:pt x="5681940" y="604128"/>
                  <a:pt x="5647612" y="569724"/>
                  <a:pt x="5605216" y="569724"/>
                </a:cubicBezTo>
                <a:cubicBezTo>
                  <a:pt x="5562895" y="569724"/>
                  <a:pt x="5528568" y="604052"/>
                  <a:pt x="5528568" y="646448"/>
                </a:cubicBezTo>
                <a:cubicBezTo>
                  <a:pt x="5528568" y="688769"/>
                  <a:pt x="5562895" y="723173"/>
                  <a:pt x="5605216" y="723173"/>
                </a:cubicBezTo>
                <a:cubicBezTo>
                  <a:pt x="5647612" y="723173"/>
                  <a:pt x="5681940" y="688845"/>
                  <a:pt x="5681940" y="646448"/>
                </a:cubicBezTo>
                <a:moveTo>
                  <a:pt x="5556122" y="531514"/>
                </a:moveTo>
                <a:cubicBezTo>
                  <a:pt x="5556122" y="489422"/>
                  <a:pt x="5522021" y="455323"/>
                  <a:pt x="5479930" y="455323"/>
                </a:cubicBezTo>
                <a:cubicBezTo>
                  <a:pt x="5437838" y="455323"/>
                  <a:pt x="5403739" y="489422"/>
                  <a:pt x="5403739" y="531514"/>
                </a:cubicBezTo>
                <a:cubicBezTo>
                  <a:pt x="5403739" y="573606"/>
                  <a:pt x="5437838" y="607706"/>
                  <a:pt x="5479930" y="607706"/>
                </a:cubicBezTo>
                <a:cubicBezTo>
                  <a:pt x="5522021" y="607706"/>
                  <a:pt x="5556122" y="573606"/>
                  <a:pt x="5556122" y="531514"/>
                </a:cubicBezTo>
                <a:moveTo>
                  <a:pt x="5426953" y="420994"/>
                </a:moveTo>
                <a:cubicBezTo>
                  <a:pt x="5426953" y="378903"/>
                  <a:pt x="5392854" y="344803"/>
                  <a:pt x="5350762" y="344803"/>
                </a:cubicBezTo>
                <a:cubicBezTo>
                  <a:pt x="5308671" y="344803"/>
                  <a:pt x="5274571" y="378903"/>
                  <a:pt x="5274571" y="420994"/>
                </a:cubicBezTo>
                <a:cubicBezTo>
                  <a:pt x="5274571" y="463086"/>
                  <a:pt x="5308671" y="497186"/>
                  <a:pt x="5350762" y="497186"/>
                </a:cubicBezTo>
                <a:cubicBezTo>
                  <a:pt x="5392854" y="497186"/>
                  <a:pt x="5426953" y="463086"/>
                  <a:pt x="5426953" y="420994"/>
                </a:cubicBezTo>
                <a:moveTo>
                  <a:pt x="5292990" y="315042"/>
                </a:moveTo>
                <a:cubicBezTo>
                  <a:pt x="5292990" y="273559"/>
                  <a:pt x="5259348" y="239916"/>
                  <a:pt x="5217865" y="239916"/>
                </a:cubicBezTo>
                <a:cubicBezTo>
                  <a:pt x="5176382" y="239916"/>
                  <a:pt x="5142739" y="273559"/>
                  <a:pt x="5142739" y="315042"/>
                </a:cubicBezTo>
                <a:cubicBezTo>
                  <a:pt x="5142739" y="356525"/>
                  <a:pt x="5176382" y="390168"/>
                  <a:pt x="5217865" y="390168"/>
                </a:cubicBezTo>
                <a:cubicBezTo>
                  <a:pt x="5259348" y="390092"/>
                  <a:pt x="5292990" y="356525"/>
                  <a:pt x="5292990" y="315042"/>
                </a:cubicBezTo>
                <a:moveTo>
                  <a:pt x="5155906" y="213656"/>
                </a:moveTo>
                <a:cubicBezTo>
                  <a:pt x="5155906" y="172478"/>
                  <a:pt x="5122492" y="139063"/>
                  <a:pt x="5081314" y="139063"/>
                </a:cubicBezTo>
                <a:cubicBezTo>
                  <a:pt x="5040135" y="139063"/>
                  <a:pt x="5006720" y="172478"/>
                  <a:pt x="5006720" y="213656"/>
                </a:cubicBezTo>
                <a:cubicBezTo>
                  <a:pt x="5006720" y="254834"/>
                  <a:pt x="5040135" y="288249"/>
                  <a:pt x="5081314" y="288249"/>
                </a:cubicBezTo>
                <a:cubicBezTo>
                  <a:pt x="5122568" y="288249"/>
                  <a:pt x="5155906" y="254834"/>
                  <a:pt x="5155906" y="213656"/>
                </a:cubicBezTo>
                <a:moveTo>
                  <a:pt x="5014941" y="117066"/>
                </a:moveTo>
                <a:cubicBezTo>
                  <a:pt x="5014941" y="76420"/>
                  <a:pt x="4981983" y="43538"/>
                  <a:pt x="4941414" y="43538"/>
                </a:cubicBezTo>
                <a:cubicBezTo>
                  <a:pt x="4900767" y="43538"/>
                  <a:pt x="4867886" y="76496"/>
                  <a:pt x="4867886" y="117066"/>
                </a:cubicBezTo>
                <a:cubicBezTo>
                  <a:pt x="4867886" y="157711"/>
                  <a:pt x="4900844" y="190593"/>
                  <a:pt x="4941414" y="190593"/>
                </a:cubicBezTo>
                <a:cubicBezTo>
                  <a:pt x="4982059" y="190593"/>
                  <a:pt x="5014941" y="157711"/>
                  <a:pt x="5014941" y="117066"/>
                </a:cubicBezTo>
                <a:moveTo>
                  <a:pt x="4730573" y="0"/>
                </a:moveTo>
                <a:cubicBezTo>
                  <a:pt x="4727605" y="7916"/>
                  <a:pt x="4725778" y="16365"/>
                  <a:pt x="4725778" y="25346"/>
                </a:cubicBezTo>
                <a:cubicBezTo>
                  <a:pt x="4725778" y="65383"/>
                  <a:pt x="4758203" y="97808"/>
                  <a:pt x="4798240" y="97808"/>
                </a:cubicBezTo>
                <a:cubicBezTo>
                  <a:pt x="4838277" y="97808"/>
                  <a:pt x="4870702" y="65383"/>
                  <a:pt x="4870702" y="25346"/>
                </a:cubicBezTo>
                <a:cubicBezTo>
                  <a:pt x="4870702" y="16365"/>
                  <a:pt x="4868876" y="7916"/>
                  <a:pt x="4865907" y="0"/>
                </a:cubicBezTo>
                <a:lnTo>
                  <a:pt x="4730573" y="0"/>
                </a:lnTo>
                <a:close/>
                <a:moveTo>
                  <a:pt x="6423457" y="1304086"/>
                </a:moveTo>
                <a:cubicBezTo>
                  <a:pt x="6400165" y="1317863"/>
                  <a:pt x="6384333" y="1343057"/>
                  <a:pt x="6384333" y="1372133"/>
                </a:cubicBezTo>
                <a:cubicBezTo>
                  <a:pt x="6384333" y="1401209"/>
                  <a:pt x="6400165" y="1426327"/>
                  <a:pt x="6423457" y="1440180"/>
                </a:cubicBezTo>
                <a:lnTo>
                  <a:pt x="6423457" y="1304086"/>
                </a:lnTo>
                <a:close/>
                <a:moveTo>
                  <a:pt x="6423457" y="1175603"/>
                </a:moveTo>
                <a:cubicBezTo>
                  <a:pt x="6408919" y="1161141"/>
                  <a:pt x="6388824" y="1152083"/>
                  <a:pt x="6366675" y="1152083"/>
                </a:cubicBezTo>
                <a:cubicBezTo>
                  <a:pt x="6322299" y="1152083"/>
                  <a:pt x="6286297" y="1188086"/>
                  <a:pt x="6286297" y="1232461"/>
                </a:cubicBezTo>
                <a:cubicBezTo>
                  <a:pt x="6286297" y="1276836"/>
                  <a:pt x="6322299" y="1312839"/>
                  <a:pt x="6366675" y="1312839"/>
                </a:cubicBezTo>
                <a:cubicBezTo>
                  <a:pt x="6388824" y="1312839"/>
                  <a:pt x="6408919" y="1303857"/>
                  <a:pt x="6423457" y="1289319"/>
                </a:cubicBezTo>
                <a:lnTo>
                  <a:pt x="6423457" y="1175603"/>
                </a:lnTo>
                <a:close/>
                <a:moveTo>
                  <a:pt x="6346047" y="1096062"/>
                </a:moveTo>
                <a:cubicBezTo>
                  <a:pt x="6346047" y="1051382"/>
                  <a:pt x="6309816" y="1015152"/>
                  <a:pt x="6265136" y="1015152"/>
                </a:cubicBezTo>
                <a:cubicBezTo>
                  <a:pt x="6220457" y="1015152"/>
                  <a:pt x="6184226" y="1051382"/>
                  <a:pt x="6184226" y="1096062"/>
                </a:cubicBezTo>
                <a:cubicBezTo>
                  <a:pt x="6184226" y="1140742"/>
                  <a:pt x="6220457" y="1176973"/>
                  <a:pt x="6265136" y="1176973"/>
                </a:cubicBezTo>
                <a:cubicBezTo>
                  <a:pt x="6309816" y="1176973"/>
                  <a:pt x="6346047" y="1140742"/>
                  <a:pt x="6346047" y="1096062"/>
                </a:cubicBezTo>
                <a:moveTo>
                  <a:pt x="6240551" y="963165"/>
                </a:moveTo>
                <a:cubicBezTo>
                  <a:pt x="6240551" y="918180"/>
                  <a:pt x="6204093" y="881721"/>
                  <a:pt x="6159108" y="881721"/>
                </a:cubicBezTo>
                <a:cubicBezTo>
                  <a:pt x="6114124" y="881721"/>
                  <a:pt x="6077664" y="918180"/>
                  <a:pt x="6077664" y="963165"/>
                </a:cubicBezTo>
                <a:cubicBezTo>
                  <a:pt x="6077664" y="1008149"/>
                  <a:pt x="6114124" y="1044608"/>
                  <a:pt x="6159108" y="1044608"/>
                </a:cubicBezTo>
                <a:cubicBezTo>
                  <a:pt x="6204093" y="1044608"/>
                  <a:pt x="6240551" y="1008149"/>
                  <a:pt x="6240551" y="963165"/>
                </a:cubicBezTo>
                <a:moveTo>
                  <a:pt x="6130717" y="833845"/>
                </a:moveTo>
                <a:cubicBezTo>
                  <a:pt x="6130717" y="788556"/>
                  <a:pt x="6094029" y="751868"/>
                  <a:pt x="6048741" y="751868"/>
                </a:cubicBezTo>
                <a:cubicBezTo>
                  <a:pt x="6003452" y="751868"/>
                  <a:pt x="5966764" y="788556"/>
                  <a:pt x="5966764" y="833845"/>
                </a:cubicBezTo>
                <a:cubicBezTo>
                  <a:pt x="5966764" y="879133"/>
                  <a:pt x="6003452" y="915821"/>
                  <a:pt x="6048741" y="915821"/>
                </a:cubicBezTo>
                <a:cubicBezTo>
                  <a:pt x="6094029" y="915745"/>
                  <a:pt x="6130717" y="879057"/>
                  <a:pt x="6130717" y="833845"/>
                </a:cubicBezTo>
                <a:moveTo>
                  <a:pt x="6016163" y="708254"/>
                </a:moveTo>
                <a:cubicBezTo>
                  <a:pt x="6016163" y="662965"/>
                  <a:pt x="5979476" y="626278"/>
                  <a:pt x="5934187" y="626278"/>
                </a:cubicBezTo>
                <a:cubicBezTo>
                  <a:pt x="5888898" y="626278"/>
                  <a:pt x="5852210" y="662965"/>
                  <a:pt x="5852210" y="708254"/>
                </a:cubicBezTo>
                <a:cubicBezTo>
                  <a:pt x="5852210" y="753543"/>
                  <a:pt x="5888898" y="790230"/>
                  <a:pt x="5934187" y="790230"/>
                </a:cubicBezTo>
                <a:cubicBezTo>
                  <a:pt x="5979476" y="790154"/>
                  <a:pt x="6016163" y="753467"/>
                  <a:pt x="6016163" y="708254"/>
                </a:cubicBezTo>
                <a:moveTo>
                  <a:pt x="5897956" y="586546"/>
                </a:moveTo>
                <a:cubicBezTo>
                  <a:pt x="5897956" y="541028"/>
                  <a:pt x="5861040" y="504112"/>
                  <a:pt x="5815447" y="504112"/>
                </a:cubicBezTo>
                <a:cubicBezTo>
                  <a:pt x="5769930" y="504112"/>
                  <a:pt x="5733014" y="541028"/>
                  <a:pt x="5733014" y="586546"/>
                </a:cubicBezTo>
                <a:cubicBezTo>
                  <a:pt x="5733014" y="632063"/>
                  <a:pt x="5769930" y="669055"/>
                  <a:pt x="5815447" y="669055"/>
                </a:cubicBezTo>
                <a:cubicBezTo>
                  <a:pt x="5861040" y="668979"/>
                  <a:pt x="5897956" y="632063"/>
                  <a:pt x="5897956" y="586546"/>
                </a:cubicBezTo>
                <a:moveTo>
                  <a:pt x="5774725" y="468795"/>
                </a:moveTo>
                <a:cubicBezTo>
                  <a:pt x="5774725" y="423506"/>
                  <a:pt x="5738037" y="386819"/>
                  <a:pt x="5692749" y="386819"/>
                </a:cubicBezTo>
                <a:cubicBezTo>
                  <a:pt x="5647537" y="386819"/>
                  <a:pt x="5610772" y="423506"/>
                  <a:pt x="5610772" y="468795"/>
                </a:cubicBezTo>
                <a:cubicBezTo>
                  <a:pt x="5610772" y="514084"/>
                  <a:pt x="5647460" y="550771"/>
                  <a:pt x="5692749" y="550771"/>
                </a:cubicBezTo>
                <a:cubicBezTo>
                  <a:pt x="5738037" y="550771"/>
                  <a:pt x="5774725" y="514084"/>
                  <a:pt x="5774725" y="468795"/>
                </a:cubicBezTo>
                <a:moveTo>
                  <a:pt x="5648145" y="355307"/>
                </a:moveTo>
                <a:cubicBezTo>
                  <a:pt x="5648145" y="310018"/>
                  <a:pt x="5611457" y="273331"/>
                  <a:pt x="5566169" y="273331"/>
                </a:cubicBezTo>
                <a:cubicBezTo>
                  <a:pt x="5520881" y="273331"/>
                  <a:pt x="5484192" y="310018"/>
                  <a:pt x="5484192" y="355307"/>
                </a:cubicBezTo>
                <a:cubicBezTo>
                  <a:pt x="5484192" y="400596"/>
                  <a:pt x="5520881" y="437283"/>
                  <a:pt x="5566169" y="437283"/>
                </a:cubicBezTo>
                <a:cubicBezTo>
                  <a:pt x="5611457" y="437207"/>
                  <a:pt x="5648145" y="400519"/>
                  <a:pt x="5648145" y="355307"/>
                </a:cubicBezTo>
                <a:moveTo>
                  <a:pt x="5517379" y="246005"/>
                </a:moveTo>
                <a:cubicBezTo>
                  <a:pt x="5517379" y="201021"/>
                  <a:pt x="5480920" y="164562"/>
                  <a:pt x="5435935" y="164562"/>
                </a:cubicBezTo>
                <a:cubicBezTo>
                  <a:pt x="5390951" y="164562"/>
                  <a:pt x="5354492" y="201021"/>
                  <a:pt x="5354492" y="246005"/>
                </a:cubicBezTo>
                <a:cubicBezTo>
                  <a:pt x="5354492" y="290989"/>
                  <a:pt x="5390951" y="327449"/>
                  <a:pt x="5435935" y="327449"/>
                </a:cubicBezTo>
                <a:cubicBezTo>
                  <a:pt x="5480996" y="327372"/>
                  <a:pt x="5517379" y="290913"/>
                  <a:pt x="5517379" y="246005"/>
                </a:cubicBezTo>
                <a:moveTo>
                  <a:pt x="5383111" y="141118"/>
                </a:moveTo>
                <a:cubicBezTo>
                  <a:pt x="5383111" y="96438"/>
                  <a:pt x="5346881" y="60207"/>
                  <a:pt x="5302200" y="60207"/>
                </a:cubicBezTo>
                <a:cubicBezTo>
                  <a:pt x="5257520" y="60207"/>
                  <a:pt x="5221290" y="96438"/>
                  <a:pt x="5221290" y="141118"/>
                </a:cubicBezTo>
                <a:cubicBezTo>
                  <a:pt x="5221290" y="185798"/>
                  <a:pt x="5257520" y="222029"/>
                  <a:pt x="5302200" y="222029"/>
                </a:cubicBezTo>
                <a:cubicBezTo>
                  <a:pt x="5346881" y="221953"/>
                  <a:pt x="5383111" y="185722"/>
                  <a:pt x="5383111" y="141118"/>
                </a:cubicBezTo>
                <a:moveTo>
                  <a:pt x="5096613" y="0"/>
                </a:moveTo>
                <a:cubicBezTo>
                  <a:pt x="5089458" y="11950"/>
                  <a:pt x="5085120" y="25727"/>
                  <a:pt x="5085120" y="40646"/>
                </a:cubicBezTo>
                <a:cubicBezTo>
                  <a:pt x="5085120" y="84716"/>
                  <a:pt x="5120894" y="120491"/>
                  <a:pt x="5164965" y="120491"/>
                </a:cubicBezTo>
                <a:cubicBezTo>
                  <a:pt x="5209035" y="120491"/>
                  <a:pt x="5244810" y="84716"/>
                  <a:pt x="5244810" y="40646"/>
                </a:cubicBezTo>
                <a:cubicBezTo>
                  <a:pt x="5244810" y="25727"/>
                  <a:pt x="5240471" y="11950"/>
                  <a:pt x="5233316" y="0"/>
                </a:cubicBezTo>
                <a:lnTo>
                  <a:pt x="5096613" y="0"/>
                </a:lnTo>
                <a:close/>
                <a:moveTo>
                  <a:pt x="6423457" y="969863"/>
                </a:moveTo>
                <a:cubicBezTo>
                  <a:pt x="6396512" y="984553"/>
                  <a:pt x="6378016" y="1012792"/>
                  <a:pt x="6378016" y="1045674"/>
                </a:cubicBezTo>
                <a:cubicBezTo>
                  <a:pt x="6378016" y="1078556"/>
                  <a:pt x="6396512" y="1106794"/>
                  <a:pt x="6423457" y="1121485"/>
                </a:cubicBezTo>
                <a:lnTo>
                  <a:pt x="6423457" y="969863"/>
                </a:lnTo>
                <a:close/>
                <a:moveTo>
                  <a:pt x="6423457" y="849829"/>
                </a:moveTo>
                <a:cubicBezTo>
                  <a:pt x="6407549" y="833540"/>
                  <a:pt x="6385399" y="823417"/>
                  <a:pt x="6360814" y="823417"/>
                </a:cubicBezTo>
                <a:cubicBezTo>
                  <a:pt x="6312329" y="823417"/>
                  <a:pt x="6273053" y="862692"/>
                  <a:pt x="6273053" y="911178"/>
                </a:cubicBezTo>
                <a:cubicBezTo>
                  <a:pt x="6273053" y="959587"/>
                  <a:pt x="6312329" y="998863"/>
                  <a:pt x="6360814" y="998863"/>
                </a:cubicBezTo>
                <a:cubicBezTo>
                  <a:pt x="6385399" y="998863"/>
                  <a:pt x="6407549" y="988739"/>
                  <a:pt x="6423457" y="972451"/>
                </a:cubicBezTo>
                <a:lnTo>
                  <a:pt x="6423457" y="849829"/>
                </a:lnTo>
                <a:moveTo>
                  <a:pt x="6340948" y="779879"/>
                </a:moveTo>
                <a:cubicBezTo>
                  <a:pt x="6340948" y="731165"/>
                  <a:pt x="6301444" y="691661"/>
                  <a:pt x="6252730" y="691661"/>
                </a:cubicBezTo>
                <a:cubicBezTo>
                  <a:pt x="6204016" y="691661"/>
                  <a:pt x="6164512" y="731165"/>
                  <a:pt x="6164512" y="779879"/>
                </a:cubicBezTo>
                <a:cubicBezTo>
                  <a:pt x="6164512" y="828593"/>
                  <a:pt x="6204016" y="868096"/>
                  <a:pt x="6252730" y="868096"/>
                </a:cubicBezTo>
                <a:cubicBezTo>
                  <a:pt x="6301444" y="868096"/>
                  <a:pt x="6340948" y="828593"/>
                  <a:pt x="6340948" y="779879"/>
                </a:cubicBezTo>
                <a:moveTo>
                  <a:pt x="6228678" y="652157"/>
                </a:moveTo>
                <a:cubicBezTo>
                  <a:pt x="6228678" y="603443"/>
                  <a:pt x="6189173" y="563939"/>
                  <a:pt x="6140459" y="563939"/>
                </a:cubicBezTo>
                <a:cubicBezTo>
                  <a:pt x="6091746" y="563939"/>
                  <a:pt x="6052242" y="603443"/>
                  <a:pt x="6052242" y="652157"/>
                </a:cubicBezTo>
                <a:cubicBezTo>
                  <a:pt x="6052242" y="700871"/>
                  <a:pt x="6091746" y="740375"/>
                  <a:pt x="6140459" y="740375"/>
                </a:cubicBezTo>
                <a:cubicBezTo>
                  <a:pt x="6189173" y="740451"/>
                  <a:pt x="6228678" y="700947"/>
                  <a:pt x="6228678" y="652157"/>
                </a:cubicBezTo>
                <a:moveTo>
                  <a:pt x="6112906" y="528165"/>
                </a:moveTo>
                <a:cubicBezTo>
                  <a:pt x="6112906" y="479147"/>
                  <a:pt x="6073174" y="439414"/>
                  <a:pt x="6024156" y="439414"/>
                </a:cubicBezTo>
                <a:cubicBezTo>
                  <a:pt x="5975137" y="439414"/>
                  <a:pt x="5935405" y="479147"/>
                  <a:pt x="5935405" y="528165"/>
                </a:cubicBezTo>
                <a:cubicBezTo>
                  <a:pt x="5935405" y="577183"/>
                  <a:pt x="5975137" y="616916"/>
                  <a:pt x="6024156" y="616916"/>
                </a:cubicBezTo>
                <a:cubicBezTo>
                  <a:pt x="6073174" y="616916"/>
                  <a:pt x="6112906" y="577183"/>
                  <a:pt x="6112906" y="528165"/>
                </a:cubicBezTo>
                <a:moveTo>
                  <a:pt x="5992644" y="407979"/>
                </a:moveTo>
                <a:cubicBezTo>
                  <a:pt x="5992644" y="358960"/>
                  <a:pt x="5952912" y="319228"/>
                  <a:pt x="5903893" y="319228"/>
                </a:cubicBezTo>
                <a:cubicBezTo>
                  <a:pt x="5854875" y="319228"/>
                  <a:pt x="5815142" y="358960"/>
                  <a:pt x="5815142" y="407979"/>
                </a:cubicBezTo>
                <a:cubicBezTo>
                  <a:pt x="5815142" y="456997"/>
                  <a:pt x="5854875" y="496729"/>
                  <a:pt x="5903893" y="496729"/>
                </a:cubicBezTo>
                <a:cubicBezTo>
                  <a:pt x="5952912" y="496729"/>
                  <a:pt x="5992644" y="456997"/>
                  <a:pt x="5992644" y="407979"/>
                </a:cubicBezTo>
                <a:moveTo>
                  <a:pt x="5868119" y="291674"/>
                </a:moveTo>
                <a:cubicBezTo>
                  <a:pt x="5868119" y="242960"/>
                  <a:pt x="5828615" y="203457"/>
                  <a:pt x="5779901" y="203457"/>
                </a:cubicBezTo>
                <a:cubicBezTo>
                  <a:pt x="5731187" y="203457"/>
                  <a:pt x="5691683" y="242960"/>
                  <a:pt x="5691683" y="291674"/>
                </a:cubicBezTo>
                <a:cubicBezTo>
                  <a:pt x="5691683" y="340388"/>
                  <a:pt x="5731187" y="379892"/>
                  <a:pt x="5779901" y="379892"/>
                </a:cubicBezTo>
                <a:cubicBezTo>
                  <a:pt x="5828615" y="379892"/>
                  <a:pt x="5868119" y="340388"/>
                  <a:pt x="5868119" y="291674"/>
                </a:cubicBezTo>
                <a:moveTo>
                  <a:pt x="5740397" y="179328"/>
                </a:moveTo>
                <a:cubicBezTo>
                  <a:pt x="5740397" y="130614"/>
                  <a:pt x="5700893" y="91110"/>
                  <a:pt x="5652180" y="91110"/>
                </a:cubicBezTo>
                <a:cubicBezTo>
                  <a:pt x="5603466" y="91110"/>
                  <a:pt x="5563961" y="130614"/>
                  <a:pt x="5563961" y="179328"/>
                </a:cubicBezTo>
                <a:cubicBezTo>
                  <a:pt x="5563961" y="228042"/>
                  <a:pt x="5603466" y="267546"/>
                  <a:pt x="5652180" y="267546"/>
                </a:cubicBezTo>
                <a:cubicBezTo>
                  <a:pt x="5700893" y="267622"/>
                  <a:pt x="5740397" y="228118"/>
                  <a:pt x="5740397" y="179328"/>
                </a:cubicBezTo>
                <a:moveTo>
                  <a:pt x="5470111" y="0"/>
                </a:moveTo>
                <a:cubicBezTo>
                  <a:pt x="5447885" y="15908"/>
                  <a:pt x="5433272" y="41787"/>
                  <a:pt x="5433272" y="71244"/>
                </a:cubicBezTo>
                <a:cubicBezTo>
                  <a:pt x="5433272" y="119730"/>
                  <a:pt x="5472546" y="158929"/>
                  <a:pt x="5520957" y="158929"/>
                </a:cubicBezTo>
                <a:cubicBezTo>
                  <a:pt x="5569366" y="158929"/>
                  <a:pt x="5608641" y="119653"/>
                  <a:pt x="5608641" y="71244"/>
                </a:cubicBezTo>
                <a:cubicBezTo>
                  <a:pt x="5608641" y="41787"/>
                  <a:pt x="5594027" y="15908"/>
                  <a:pt x="5571801" y="0"/>
                </a:cubicBezTo>
                <a:lnTo>
                  <a:pt x="5470111" y="0"/>
                </a:lnTo>
                <a:close/>
                <a:moveTo>
                  <a:pt x="5306158" y="0"/>
                </a:moveTo>
                <a:cubicBezTo>
                  <a:pt x="5319022" y="31664"/>
                  <a:pt x="5350077" y="54042"/>
                  <a:pt x="5386384" y="54042"/>
                </a:cubicBezTo>
                <a:cubicBezTo>
                  <a:pt x="5422691" y="54042"/>
                  <a:pt x="5453670" y="31664"/>
                  <a:pt x="5466610" y="0"/>
                </a:cubicBezTo>
                <a:lnTo>
                  <a:pt x="5306158" y="0"/>
                </a:lnTo>
                <a:close/>
                <a:moveTo>
                  <a:pt x="6423457" y="638837"/>
                </a:moveTo>
                <a:cubicBezTo>
                  <a:pt x="6387302" y="651929"/>
                  <a:pt x="6361346" y="686257"/>
                  <a:pt x="6361346" y="726902"/>
                </a:cubicBezTo>
                <a:cubicBezTo>
                  <a:pt x="6361346" y="767548"/>
                  <a:pt x="6387302" y="801876"/>
                  <a:pt x="6423457" y="814968"/>
                </a:cubicBezTo>
                <a:lnTo>
                  <a:pt x="6423457" y="638837"/>
                </a:lnTo>
                <a:close/>
                <a:moveTo>
                  <a:pt x="6423457" y="544149"/>
                </a:moveTo>
                <a:cubicBezTo>
                  <a:pt x="6406407" y="519183"/>
                  <a:pt x="6377788" y="502819"/>
                  <a:pt x="6345362" y="502819"/>
                </a:cubicBezTo>
                <a:cubicBezTo>
                  <a:pt x="6293147" y="502819"/>
                  <a:pt x="6250827" y="545139"/>
                  <a:pt x="6250827" y="597354"/>
                </a:cubicBezTo>
                <a:cubicBezTo>
                  <a:pt x="6250827" y="649569"/>
                  <a:pt x="6293147" y="691889"/>
                  <a:pt x="6345362" y="691889"/>
                </a:cubicBezTo>
                <a:cubicBezTo>
                  <a:pt x="6377864" y="691889"/>
                  <a:pt x="6406483" y="675448"/>
                  <a:pt x="6423457" y="650559"/>
                </a:cubicBezTo>
                <a:lnTo>
                  <a:pt x="6423457" y="544149"/>
                </a:lnTo>
                <a:moveTo>
                  <a:pt x="6325877" y="471231"/>
                </a:moveTo>
                <a:cubicBezTo>
                  <a:pt x="6325877" y="419015"/>
                  <a:pt x="6283557" y="376695"/>
                  <a:pt x="6231342" y="376695"/>
                </a:cubicBezTo>
                <a:cubicBezTo>
                  <a:pt x="6179127" y="376695"/>
                  <a:pt x="6136806" y="419015"/>
                  <a:pt x="6136806" y="471231"/>
                </a:cubicBezTo>
                <a:cubicBezTo>
                  <a:pt x="6136806" y="523446"/>
                  <a:pt x="6179127" y="565766"/>
                  <a:pt x="6231342" y="565766"/>
                </a:cubicBezTo>
                <a:cubicBezTo>
                  <a:pt x="6283480" y="565766"/>
                  <a:pt x="6325877" y="523446"/>
                  <a:pt x="6325877" y="471231"/>
                </a:cubicBezTo>
                <a:moveTo>
                  <a:pt x="6207974" y="348685"/>
                </a:moveTo>
                <a:cubicBezTo>
                  <a:pt x="6207974" y="296470"/>
                  <a:pt x="6165654" y="254149"/>
                  <a:pt x="6113439" y="254149"/>
                </a:cubicBezTo>
                <a:cubicBezTo>
                  <a:pt x="6061224" y="254149"/>
                  <a:pt x="6018903" y="296470"/>
                  <a:pt x="6018903" y="348685"/>
                </a:cubicBezTo>
                <a:cubicBezTo>
                  <a:pt x="6018903" y="400900"/>
                  <a:pt x="6061224" y="443220"/>
                  <a:pt x="6113439" y="443220"/>
                </a:cubicBezTo>
                <a:cubicBezTo>
                  <a:pt x="6165654" y="443220"/>
                  <a:pt x="6207974" y="400900"/>
                  <a:pt x="6207974" y="348685"/>
                </a:cubicBezTo>
                <a:moveTo>
                  <a:pt x="6086341" y="229869"/>
                </a:moveTo>
                <a:cubicBezTo>
                  <a:pt x="6086341" y="177653"/>
                  <a:pt x="6044022" y="135333"/>
                  <a:pt x="5991807" y="135333"/>
                </a:cubicBezTo>
                <a:cubicBezTo>
                  <a:pt x="5939592" y="135333"/>
                  <a:pt x="5897271" y="177653"/>
                  <a:pt x="5897271" y="229869"/>
                </a:cubicBezTo>
                <a:cubicBezTo>
                  <a:pt x="5897271" y="282084"/>
                  <a:pt x="5939592" y="324404"/>
                  <a:pt x="5991807" y="324404"/>
                </a:cubicBezTo>
                <a:cubicBezTo>
                  <a:pt x="6044022" y="324404"/>
                  <a:pt x="6086341" y="282084"/>
                  <a:pt x="6086341" y="229869"/>
                </a:cubicBezTo>
                <a:moveTo>
                  <a:pt x="5961132" y="114858"/>
                </a:moveTo>
                <a:cubicBezTo>
                  <a:pt x="5961132" y="62643"/>
                  <a:pt x="5918811" y="20323"/>
                  <a:pt x="5866596" y="20323"/>
                </a:cubicBezTo>
                <a:cubicBezTo>
                  <a:pt x="5814381" y="20323"/>
                  <a:pt x="5772061" y="62643"/>
                  <a:pt x="5772061" y="114858"/>
                </a:cubicBezTo>
                <a:cubicBezTo>
                  <a:pt x="5772061" y="167073"/>
                  <a:pt x="5814381" y="209394"/>
                  <a:pt x="5866596" y="209394"/>
                </a:cubicBezTo>
                <a:cubicBezTo>
                  <a:pt x="5918811" y="209394"/>
                  <a:pt x="5961132" y="167073"/>
                  <a:pt x="5961132" y="114858"/>
                </a:cubicBezTo>
                <a:moveTo>
                  <a:pt x="5644187" y="0"/>
                </a:moveTo>
                <a:cubicBezTo>
                  <a:pt x="5644111" y="1294"/>
                  <a:pt x="5643806" y="2512"/>
                  <a:pt x="5643806" y="3806"/>
                </a:cubicBezTo>
                <a:cubicBezTo>
                  <a:pt x="5643806" y="55716"/>
                  <a:pt x="5685898" y="97808"/>
                  <a:pt x="5737809" y="97808"/>
                </a:cubicBezTo>
                <a:cubicBezTo>
                  <a:pt x="5789720" y="97808"/>
                  <a:pt x="5831812" y="55716"/>
                  <a:pt x="5831812" y="3806"/>
                </a:cubicBezTo>
                <a:cubicBezTo>
                  <a:pt x="5831812" y="2512"/>
                  <a:pt x="5831507" y="1294"/>
                  <a:pt x="5831431" y="0"/>
                </a:cubicBezTo>
                <a:lnTo>
                  <a:pt x="5644187" y="0"/>
                </a:lnTo>
                <a:close/>
                <a:moveTo>
                  <a:pt x="6423457" y="316031"/>
                </a:moveTo>
                <a:cubicBezTo>
                  <a:pt x="6374287" y="322806"/>
                  <a:pt x="6336305" y="364517"/>
                  <a:pt x="6336305" y="415514"/>
                </a:cubicBezTo>
                <a:cubicBezTo>
                  <a:pt x="6336305" y="466511"/>
                  <a:pt x="6374287" y="508223"/>
                  <a:pt x="6423457" y="514997"/>
                </a:cubicBezTo>
                <a:lnTo>
                  <a:pt x="6423457" y="316031"/>
                </a:lnTo>
                <a:close/>
                <a:moveTo>
                  <a:pt x="6422924" y="290837"/>
                </a:moveTo>
                <a:cubicBezTo>
                  <a:pt x="6422924" y="234816"/>
                  <a:pt x="6377559" y="189451"/>
                  <a:pt x="6321538" y="189451"/>
                </a:cubicBezTo>
                <a:cubicBezTo>
                  <a:pt x="6265517" y="189451"/>
                  <a:pt x="6220153" y="234816"/>
                  <a:pt x="6220153" y="290837"/>
                </a:cubicBezTo>
                <a:cubicBezTo>
                  <a:pt x="6220153" y="346858"/>
                  <a:pt x="6265517" y="392223"/>
                  <a:pt x="6321538" y="392223"/>
                </a:cubicBezTo>
                <a:cubicBezTo>
                  <a:pt x="6377483" y="392223"/>
                  <a:pt x="6422924" y="346858"/>
                  <a:pt x="6422924" y="290837"/>
                </a:cubicBezTo>
                <a:moveTo>
                  <a:pt x="6303575" y="169737"/>
                </a:moveTo>
                <a:cubicBezTo>
                  <a:pt x="6303575" y="113716"/>
                  <a:pt x="6258211" y="68352"/>
                  <a:pt x="6202190" y="68352"/>
                </a:cubicBezTo>
                <a:cubicBezTo>
                  <a:pt x="6146168" y="68352"/>
                  <a:pt x="6100803" y="113716"/>
                  <a:pt x="6100803" y="169737"/>
                </a:cubicBezTo>
                <a:cubicBezTo>
                  <a:pt x="6100803" y="225758"/>
                  <a:pt x="6146168" y="271123"/>
                  <a:pt x="6202190" y="271123"/>
                </a:cubicBezTo>
                <a:cubicBezTo>
                  <a:pt x="6258211" y="271123"/>
                  <a:pt x="6303575" y="225758"/>
                  <a:pt x="6303575" y="169737"/>
                </a:cubicBezTo>
                <a:moveTo>
                  <a:pt x="5992796" y="0"/>
                </a:moveTo>
                <a:cubicBezTo>
                  <a:pt x="5983509" y="15299"/>
                  <a:pt x="5977877" y="33034"/>
                  <a:pt x="5977877" y="52215"/>
                </a:cubicBezTo>
                <a:cubicBezTo>
                  <a:pt x="5977877" y="108236"/>
                  <a:pt x="6023242" y="153601"/>
                  <a:pt x="6079263" y="153601"/>
                </a:cubicBezTo>
                <a:cubicBezTo>
                  <a:pt x="6135284" y="153601"/>
                  <a:pt x="6180648" y="108236"/>
                  <a:pt x="6180648" y="52215"/>
                </a:cubicBezTo>
                <a:cubicBezTo>
                  <a:pt x="6180648" y="33034"/>
                  <a:pt x="6175016" y="15299"/>
                  <a:pt x="6165730" y="0"/>
                </a:cubicBezTo>
                <a:lnTo>
                  <a:pt x="5992796" y="0"/>
                </a:lnTo>
                <a:close/>
                <a:moveTo>
                  <a:pt x="5873599" y="0"/>
                </a:moveTo>
                <a:cubicBezTo>
                  <a:pt x="5892019" y="23748"/>
                  <a:pt x="5920563" y="39352"/>
                  <a:pt x="5952987" y="39352"/>
                </a:cubicBezTo>
                <a:cubicBezTo>
                  <a:pt x="5985412" y="39352"/>
                  <a:pt x="6013956" y="23824"/>
                  <a:pt x="6032376" y="0"/>
                </a:cubicBezTo>
                <a:lnTo>
                  <a:pt x="5873599" y="0"/>
                </a:lnTo>
                <a:close/>
                <a:moveTo>
                  <a:pt x="6423457" y="4110"/>
                </a:moveTo>
                <a:cubicBezTo>
                  <a:pt x="6419346" y="3654"/>
                  <a:pt x="6415388" y="2892"/>
                  <a:pt x="6411126" y="2892"/>
                </a:cubicBezTo>
                <a:cubicBezTo>
                  <a:pt x="6351376" y="2892"/>
                  <a:pt x="6302890" y="51302"/>
                  <a:pt x="6302890" y="111129"/>
                </a:cubicBezTo>
                <a:cubicBezTo>
                  <a:pt x="6302890" y="170879"/>
                  <a:pt x="6351376" y="219365"/>
                  <a:pt x="6411126" y="219365"/>
                </a:cubicBezTo>
                <a:cubicBezTo>
                  <a:pt x="6415313" y="219365"/>
                  <a:pt x="6419346" y="218604"/>
                  <a:pt x="6423457" y="218147"/>
                </a:cubicBezTo>
                <a:lnTo>
                  <a:pt x="6423457" y="4110"/>
                </a:lnTo>
                <a:close/>
                <a:moveTo>
                  <a:pt x="6183161" y="0"/>
                </a:moveTo>
                <a:cubicBezTo>
                  <a:pt x="6187651" y="55640"/>
                  <a:pt x="6233701" y="99483"/>
                  <a:pt x="6290483" y="99483"/>
                </a:cubicBezTo>
                <a:cubicBezTo>
                  <a:pt x="6347265" y="99483"/>
                  <a:pt x="6393315" y="55640"/>
                  <a:pt x="6397806" y="0"/>
                </a:cubicBezTo>
                <a:lnTo>
                  <a:pt x="6183161" y="0"/>
                </a:lnTo>
                <a:close/>
              </a:path>
            </a:pathLst>
          </a:custGeom>
          <a:solidFill>
            <a:schemeClr val="tx1">
              <a:lumMod val="75000"/>
              <a:lumOff val="25000"/>
              <a:alpha val="20000"/>
            </a:schemeClr>
          </a:solidFill>
          <a:ln w="7608" cap="flat">
            <a:noFill/>
            <a:prstDash val="solid"/>
            <a:miter/>
          </a:ln>
        </p:spPr>
        <p:txBody>
          <a:bodyPr rtlCol="0" anchor="ctr"/>
          <a:lstStyle/>
          <a:p>
            <a:endParaRPr lang="hi-IN"/>
          </a:p>
        </p:txBody>
      </p:sp>
      <p:grpSp>
        <p:nvGrpSpPr>
          <p:cNvPr id="9" name="Group 8"/>
          <p:cNvGrpSpPr/>
          <p:nvPr userDrawn="1"/>
        </p:nvGrpSpPr>
        <p:grpSpPr>
          <a:xfrm>
            <a:off x="5160514" y="6853"/>
            <a:ext cx="1316470" cy="2762564"/>
            <a:chOff x="5190415" y="-55104"/>
            <a:chExt cx="1316470" cy="2762564"/>
          </a:xfrm>
        </p:grpSpPr>
        <p:sp>
          <p:nvSpPr>
            <p:cNvPr id="10" name="Line 5"/>
            <p:cNvSpPr>
              <a:spLocks noChangeShapeType="1"/>
            </p:cNvSpPr>
            <p:nvPr userDrawn="1"/>
          </p:nvSpPr>
          <p:spPr bwMode="auto">
            <a:xfrm flipH="1">
              <a:off x="5266371" y="-55104"/>
              <a:ext cx="1240514" cy="2690333"/>
            </a:xfrm>
            <a:prstGeom prst="line">
              <a:avLst/>
            </a:prstGeom>
            <a:noFill/>
            <a:ln w="19050" cap="rnd">
              <a:solidFill>
                <a:srgbClr val="224F90"/>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hi-IN"/>
            </a:p>
          </p:txBody>
        </p:sp>
        <p:grpSp>
          <p:nvGrpSpPr>
            <p:cNvPr id="11" name="Group 10"/>
            <p:cNvGrpSpPr/>
            <p:nvPr userDrawn="1"/>
          </p:nvGrpSpPr>
          <p:grpSpPr>
            <a:xfrm>
              <a:off x="5190415" y="2562997"/>
              <a:ext cx="150813" cy="144463"/>
              <a:chOff x="12565131" y="2706279"/>
              <a:chExt cx="150813" cy="144463"/>
            </a:xfrm>
          </p:grpSpPr>
          <p:sp>
            <p:nvSpPr>
              <p:cNvPr id="12" name="Freeform 19"/>
              <p:cNvSpPr/>
              <p:nvPr/>
            </p:nvSpPr>
            <p:spPr bwMode="auto">
              <a:xfrm>
                <a:off x="12565131" y="2706279"/>
                <a:ext cx="150813" cy="144463"/>
              </a:xfrm>
              <a:custGeom>
                <a:avLst/>
                <a:gdLst>
                  <a:gd name="T0" fmla="*/ 65 w 79"/>
                  <a:gd name="T1" fmla="*/ 14 h 76"/>
                  <a:gd name="T2" fmla="*/ 14 w 79"/>
                  <a:gd name="T3" fmla="*/ 14 h 76"/>
                  <a:gd name="T4" fmla="*/ 14 w 79"/>
                  <a:gd name="T5" fmla="*/ 66 h 76"/>
                  <a:gd name="T6" fmla="*/ 40 w 79"/>
                  <a:gd name="T7" fmla="*/ 76 h 76"/>
                  <a:gd name="T8" fmla="*/ 65 w 79"/>
                  <a:gd name="T9" fmla="*/ 66 h 76"/>
                  <a:gd name="T10" fmla="*/ 65 w 79"/>
                  <a:gd name="T11" fmla="*/ 14 h 76"/>
                </a:gdLst>
                <a:ahLst/>
                <a:cxnLst>
                  <a:cxn ang="0">
                    <a:pos x="T0" y="T1"/>
                  </a:cxn>
                  <a:cxn ang="0">
                    <a:pos x="T2" y="T3"/>
                  </a:cxn>
                  <a:cxn ang="0">
                    <a:pos x="T4" y="T5"/>
                  </a:cxn>
                  <a:cxn ang="0">
                    <a:pos x="T6" y="T7"/>
                  </a:cxn>
                  <a:cxn ang="0">
                    <a:pos x="T8" y="T9"/>
                  </a:cxn>
                  <a:cxn ang="0">
                    <a:pos x="T10" y="T11"/>
                  </a:cxn>
                </a:cxnLst>
                <a:rect l="0" t="0" r="r" b="b"/>
                <a:pathLst>
                  <a:path w="79" h="76">
                    <a:moveTo>
                      <a:pt x="65" y="14"/>
                    </a:moveTo>
                    <a:cubicBezTo>
                      <a:pt x="51" y="0"/>
                      <a:pt x="28" y="0"/>
                      <a:pt x="14" y="14"/>
                    </a:cubicBezTo>
                    <a:cubicBezTo>
                      <a:pt x="0" y="29"/>
                      <a:pt x="0" y="51"/>
                      <a:pt x="14" y="66"/>
                    </a:cubicBezTo>
                    <a:cubicBezTo>
                      <a:pt x="21" y="73"/>
                      <a:pt x="30" y="76"/>
                      <a:pt x="40" y="76"/>
                    </a:cubicBezTo>
                    <a:cubicBezTo>
                      <a:pt x="49" y="76"/>
                      <a:pt x="58" y="73"/>
                      <a:pt x="65" y="66"/>
                    </a:cubicBezTo>
                    <a:cubicBezTo>
                      <a:pt x="79" y="51"/>
                      <a:pt x="79" y="29"/>
                      <a:pt x="65" y="14"/>
                    </a:cubicBezTo>
                    <a:close/>
                  </a:path>
                </a:pathLst>
              </a:custGeom>
              <a:solidFill>
                <a:srgbClr val="72C4E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13" name="Freeform 20"/>
              <p:cNvSpPr/>
              <p:nvPr/>
            </p:nvSpPr>
            <p:spPr bwMode="auto">
              <a:xfrm>
                <a:off x="12579419" y="2718979"/>
                <a:ext cx="125413" cy="125413"/>
              </a:xfrm>
              <a:custGeom>
                <a:avLst/>
                <a:gdLst>
                  <a:gd name="T0" fmla="*/ 54 w 66"/>
                  <a:gd name="T1" fmla="*/ 54 h 66"/>
                  <a:gd name="T2" fmla="*/ 54 w 66"/>
                  <a:gd name="T3" fmla="*/ 12 h 66"/>
                  <a:gd name="T4" fmla="*/ 11 w 66"/>
                  <a:gd name="T5" fmla="*/ 12 h 66"/>
                  <a:gd name="T6" fmla="*/ 11 w 66"/>
                  <a:gd name="T7" fmla="*/ 54 h 66"/>
                  <a:gd name="T8" fmla="*/ 54 w 66"/>
                  <a:gd name="T9" fmla="*/ 54 h 66"/>
                </a:gdLst>
                <a:ahLst/>
                <a:cxnLst>
                  <a:cxn ang="0">
                    <a:pos x="T0" y="T1"/>
                  </a:cxn>
                  <a:cxn ang="0">
                    <a:pos x="T2" y="T3"/>
                  </a:cxn>
                  <a:cxn ang="0">
                    <a:pos x="T4" y="T5"/>
                  </a:cxn>
                  <a:cxn ang="0">
                    <a:pos x="T6" y="T7"/>
                  </a:cxn>
                  <a:cxn ang="0">
                    <a:pos x="T8" y="T9"/>
                  </a:cxn>
                </a:cxnLst>
                <a:rect l="0" t="0" r="r" b="b"/>
                <a:pathLst>
                  <a:path w="66" h="66">
                    <a:moveTo>
                      <a:pt x="54" y="54"/>
                    </a:moveTo>
                    <a:cubicBezTo>
                      <a:pt x="66" y="43"/>
                      <a:pt x="66" y="23"/>
                      <a:pt x="54" y="12"/>
                    </a:cubicBezTo>
                    <a:cubicBezTo>
                      <a:pt x="42" y="0"/>
                      <a:pt x="23" y="0"/>
                      <a:pt x="11" y="12"/>
                    </a:cubicBezTo>
                    <a:cubicBezTo>
                      <a:pt x="0" y="23"/>
                      <a:pt x="0" y="43"/>
                      <a:pt x="11" y="54"/>
                    </a:cubicBezTo>
                    <a:cubicBezTo>
                      <a:pt x="23" y="66"/>
                      <a:pt x="42" y="66"/>
                      <a:pt x="54" y="54"/>
                    </a:cubicBezTo>
                    <a:close/>
                  </a:path>
                </a:pathLst>
              </a:custGeom>
              <a:solidFill>
                <a:srgbClr val="C1D9F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14" name="Freeform 21"/>
              <p:cNvSpPr/>
              <p:nvPr/>
            </p:nvSpPr>
            <p:spPr bwMode="auto">
              <a:xfrm>
                <a:off x="12592119" y="2728504"/>
                <a:ext cx="103188" cy="103188"/>
              </a:xfrm>
              <a:custGeom>
                <a:avLst/>
                <a:gdLst>
                  <a:gd name="T0" fmla="*/ 26 w 54"/>
                  <a:gd name="T1" fmla="*/ 54 h 54"/>
                  <a:gd name="T2" fmla="*/ 7 w 54"/>
                  <a:gd name="T3" fmla="*/ 46 h 54"/>
                  <a:gd name="T4" fmla="*/ 0 w 54"/>
                  <a:gd name="T5" fmla="*/ 28 h 54"/>
                  <a:gd name="T6" fmla="*/ 7 w 54"/>
                  <a:gd name="T7" fmla="*/ 10 h 54"/>
                  <a:gd name="T8" fmla="*/ 44 w 54"/>
                  <a:gd name="T9" fmla="*/ 10 h 54"/>
                  <a:gd name="T10" fmla="*/ 44 w 54"/>
                  <a:gd name="T11" fmla="*/ 46 h 54"/>
                  <a:gd name="T12" fmla="*/ 26 w 54"/>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26" y="54"/>
                    </a:moveTo>
                    <a:cubicBezTo>
                      <a:pt x="19" y="54"/>
                      <a:pt x="12" y="51"/>
                      <a:pt x="7" y="46"/>
                    </a:cubicBezTo>
                    <a:cubicBezTo>
                      <a:pt x="3" y="41"/>
                      <a:pt x="0" y="35"/>
                      <a:pt x="0" y="28"/>
                    </a:cubicBezTo>
                    <a:cubicBezTo>
                      <a:pt x="0" y="21"/>
                      <a:pt x="3" y="15"/>
                      <a:pt x="7" y="10"/>
                    </a:cubicBezTo>
                    <a:cubicBezTo>
                      <a:pt x="17" y="0"/>
                      <a:pt x="34" y="0"/>
                      <a:pt x="44" y="10"/>
                    </a:cubicBezTo>
                    <a:cubicBezTo>
                      <a:pt x="54" y="20"/>
                      <a:pt x="54" y="36"/>
                      <a:pt x="44" y="46"/>
                    </a:cubicBezTo>
                    <a:cubicBezTo>
                      <a:pt x="39" y="51"/>
                      <a:pt x="32" y="54"/>
                      <a:pt x="26" y="54"/>
                    </a:cubicBezTo>
                    <a:close/>
                  </a:path>
                </a:pathLst>
              </a:custGeom>
              <a:solidFill>
                <a:srgbClr val="2050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15" name="Freeform 22"/>
              <p:cNvSpPr/>
              <p:nvPr/>
            </p:nvSpPr>
            <p:spPr bwMode="auto">
              <a:xfrm>
                <a:off x="12620694" y="2763429"/>
                <a:ext cx="39688" cy="38100"/>
              </a:xfrm>
              <a:custGeom>
                <a:avLst/>
                <a:gdLst>
                  <a:gd name="T0" fmla="*/ 17 w 21"/>
                  <a:gd name="T1" fmla="*/ 17 h 20"/>
                  <a:gd name="T2" fmla="*/ 17 w 21"/>
                  <a:gd name="T3" fmla="*/ 3 h 20"/>
                  <a:gd name="T4" fmla="*/ 11 w 21"/>
                  <a:gd name="T5" fmla="*/ 0 h 20"/>
                  <a:gd name="T6" fmla="*/ 4 w 21"/>
                  <a:gd name="T7" fmla="*/ 3 h 20"/>
                  <a:gd name="T8" fmla="*/ 4 w 21"/>
                  <a:gd name="T9" fmla="*/ 17 h 20"/>
                  <a:gd name="T10" fmla="*/ 17 w 21"/>
                  <a:gd name="T11" fmla="*/ 17 h 20"/>
                </a:gdLst>
                <a:ahLst/>
                <a:cxnLst>
                  <a:cxn ang="0">
                    <a:pos x="T0" y="T1"/>
                  </a:cxn>
                  <a:cxn ang="0">
                    <a:pos x="T2" y="T3"/>
                  </a:cxn>
                  <a:cxn ang="0">
                    <a:pos x="T4" y="T5"/>
                  </a:cxn>
                  <a:cxn ang="0">
                    <a:pos x="T6" y="T7"/>
                  </a:cxn>
                  <a:cxn ang="0">
                    <a:pos x="T8" y="T9"/>
                  </a:cxn>
                  <a:cxn ang="0">
                    <a:pos x="T10" y="T11"/>
                  </a:cxn>
                </a:cxnLst>
                <a:rect l="0" t="0" r="r" b="b"/>
                <a:pathLst>
                  <a:path w="21" h="20">
                    <a:moveTo>
                      <a:pt x="17" y="17"/>
                    </a:moveTo>
                    <a:cubicBezTo>
                      <a:pt x="21" y="13"/>
                      <a:pt x="21" y="7"/>
                      <a:pt x="17" y="3"/>
                    </a:cubicBezTo>
                    <a:cubicBezTo>
                      <a:pt x="15" y="1"/>
                      <a:pt x="13" y="0"/>
                      <a:pt x="11" y="0"/>
                    </a:cubicBezTo>
                    <a:cubicBezTo>
                      <a:pt x="8" y="0"/>
                      <a:pt x="6" y="1"/>
                      <a:pt x="4" y="3"/>
                    </a:cubicBezTo>
                    <a:cubicBezTo>
                      <a:pt x="0" y="7"/>
                      <a:pt x="0" y="13"/>
                      <a:pt x="4" y="17"/>
                    </a:cubicBezTo>
                    <a:cubicBezTo>
                      <a:pt x="7" y="20"/>
                      <a:pt x="14" y="20"/>
                      <a:pt x="17" y="17"/>
                    </a:cubicBezTo>
                    <a:close/>
                  </a:path>
                </a:pathLst>
              </a:custGeom>
              <a:solidFill>
                <a:srgbClr val="D2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grpSp>
      </p:grpSp>
      <p:grpSp>
        <p:nvGrpSpPr>
          <p:cNvPr id="16" name="Group 15"/>
          <p:cNvGrpSpPr/>
          <p:nvPr userDrawn="1"/>
        </p:nvGrpSpPr>
        <p:grpSpPr>
          <a:xfrm>
            <a:off x="8060386" y="1784907"/>
            <a:ext cx="2383599" cy="5066165"/>
            <a:chOff x="8060386" y="1784907"/>
            <a:chExt cx="2383599" cy="5066165"/>
          </a:xfrm>
        </p:grpSpPr>
        <p:sp>
          <p:nvSpPr>
            <p:cNvPr id="17" name="Freeform: Shape 16"/>
            <p:cNvSpPr/>
            <p:nvPr userDrawn="1"/>
          </p:nvSpPr>
          <p:spPr>
            <a:xfrm>
              <a:off x="8060386" y="1864142"/>
              <a:ext cx="2305079" cy="4986930"/>
            </a:xfrm>
            <a:custGeom>
              <a:avLst/>
              <a:gdLst>
                <a:gd name="connsiteX0" fmla="*/ 0 w 2305079"/>
                <a:gd name="connsiteY0" fmla="*/ 4986931 h 4986930"/>
                <a:gd name="connsiteX1" fmla="*/ 2305080 w 2305079"/>
                <a:gd name="connsiteY1" fmla="*/ 0 h 4986930"/>
              </a:gdLst>
              <a:ahLst/>
              <a:cxnLst>
                <a:cxn ang="0">
                  <a:pos x="connsiteX0" y="connsiteY0"/>
                </a:cxn>
                <a:cxn ang="0">
                  <a:pos x="connsiteX1" y="connsiteY1"/>
                </a:cxn>
              </a:cxnLst>
              <a:rect l="l" t="t" r="r" b="b"/>
              <a:pathLst>
                <a:path w="2305079" h="4986930">
                  <a:moveTo>
                    <a:pt x="0" y="4986931"/>
                  </a:moveTo>
                  <a:lnTo>
                    <a:pt x="2305080" y="0"/>
                  </a:lnTo>
                </a:path>
              </a:pathLst>
            </a:custGeom>
            <a:noFill/>
            <a:ln w="19050" cap="rnd">
              <a:solidFill>
                <a:srgbClr val="D1247C"/>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hi-IN"/>
            </a:p>
          </p:txBody>
        </p:sp>
        <p:grpSp>
          <p:nvGrpSpPr>
            <p:cNvPr id="18" name="Group 17"/>
            <p:cNvGrpSpPr/>
            <p:nvPr userDrawn="1"/>
          </p:nvGrpSpPr>
          <p:grpSpPr>
            <a:xfrm>
              <a:off x="10293172" y="1784907"/>
              <a:ext cx="150813" cy="144463"/>
              <a:chOff x="12565131" y="2914241"/>
              <a:chExt cx="150813" cy="144463"/>
            </a:xfrm>
          </p:grpSpPr>
          <p:sp>
            <p:nvSpPr>
              <p:cNvPr id="19" name="Freeform 23"/>
              <p:cNvSpPr/>
              <p:nvPr/>
            </p:nvSpPr>
            <p:spPr bwMode="auto">
              <a:xfrm>
                <a:off x="12565131" y="2914241"/>
                <a:ext cx="150813" cy="144463"/>
              </a:xfrm>
              <a:custGeom>
                <a:avLst/>
                <a:gdLst>
                  <a:gd name="T0" fmla="*/ 65 w 79"/>
                  <a:gd name="T1" fmla="*/ 14 h 76"/>
                  <a:gd name="T2" fmla="*/ 14 w 79"/>
                  <a:gd name="T3" fmla="*/ 14 h 76"/>
                  <a:gd name="T4" fmla="*/ 14 w 79"/>
                  <a:gd name="T5" fmla="*/ 65 h 76"/>
                  <a:gd name="T6" fmla="*/ 40 w 79"/>
                  <a:gd name="T7" fmla="*/ 76 h 76"/>
                  <a:gd name="T8" fmla="*/ 65 w 79"/>
                  <a:gd name="T9" fmla="*/ 65 h 76"/>
                  <a:gd name="T10" fmla="*/ 65 w 79"/>
                  <a:gd name="T11" fmla="*/ 14 h 76"/>
                </a:gdLst>
                <a:ahLst/>
                <a:cxnLst>
                  <a:cxn ang="0">
                    <a:pos x="T0" y="T1"/>
                  </a:cxn>
                  <a:cxn ang="0">
                    <a:pos x="T2" y="T3"/>
                  </a:cxn>
                  <a:cxn ang="0">
                    <a:pos x="T4" y="T5"/>
                  </a:cxn>
                  <a:cxn ang="0">
                    <a:pos x="T6" y="T7"/>
                  </a:cxn>
                  <a:cxn ang="0">
                    <a:pos x="T8" y="T9"/>
                  </a:cxn>
                  <a:cxn ang="0">
                    <a:pos x="T10" y="T11"/>
                  </a:cxn>
                </a:cxnLst>
                <a:rect l="0" t="0" r="r" b="b"/>
                <a:pathLst>
                  <a:path w="79" h="76">
                    <a:moveTo>
                      <a:pt x="65" y="14"/>
                    </a:moveTo>
                    <a:cubicBezTo>
                      <a:pt x="51" y="0"/>
                      <a:pt x="28" y="0"/>
                      <a:pt x="14" y="14"/>
                    </a:cubicBezTo>
                    <a:cubicBezTo>
                      <a:pt x="0" y="28"/>
                      <a:pt x="0" y="51"/>
                      <a:pt x="14" y="65"/>
                    </a:cubicBezTo>
                    <a:cubicBezTo>
                      <a:pt x="21" y="72"/>
                      <a:pt x="30" y="76"/>
                      <a:pt x="40" y="76"/>
                    </a:cubicBezTo>
                    <a:cubicBezTo>
                      <a:pt x="49" y="76"/>
                      <a:pt x="58" y="72"/>
                      <a:pt x="65" y="65"/>
                    </a:cubicBezTo>
                    <a:cubicBezTo>
                      <a:pt x="79" y="51"/>
                      <a:pt x="79" y="28"/>
                      <a:pt x="65" y="14"/>
                    </a:cubicBezTo>
                    <a:close/>
                  </a:path>
                </a:pathLst>
              </a:custGeom>
              <a:solidFill>
                <a:srgbClr val="EC83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20" name="Freeform 24"/>
              <p:cNvSpPr/>
              <p:nvPr/>
            </p:nvSpPr>
            <p:spPr bwMode="auto">
              <a:xfrm>
                <a:off x="12579419" y="2926941"/>
                <a:ext cx="125413" cy="125413"/>
              </a:xfrm>
              <a:custGeom>
                <a:avLst/>
                <a:gdLst>
                  <a:gd name="T0" fmla="*/ 54 w 66"/>
                  <a:gd name="T1" fmla="*/ 54 h 66"/>
                  <a:gd name="T2" fmla="*/ 54 w 66"/>
                  <a:gd name="T3" fmla="*/ 11 h 66"/>
                  <a:gd name="T4" fmla="*/ 11 w 66"/>
                  <a:gd name="T5" fmla="*/ 11 h 66"/>
                  <a:gd name="T6" fmla="*/ 11 w 66"/>
                  <a:gd name="T7" fmla="*/ 54 h 66"/>
                  <a:gd name="T8" fmla="*/ 54 w 66"/>
                  <a:gd name="T9" fmla="*/ 54 h 66"/>
                </a:gdLst>
                <a:ahLst/>
                <a:cxnLst>
                  <a:cxn ang="0">
                    <a:pos x="T0" y="T1"/>
                  </a:cxn>
                  <a:cxn ang="0">
                    <a:pos x="T2" y="T3"/>
                  </a:cxn>
                  <a:cxn ang="0">
                    <a:pos x="T4" y="T5"/>
                  </a:cxn>
                  <a:cxn ang="0">
                    <a:pos x="T6" y="T7"/>
                  </a:cxn>
                  <a:cxn ang="0">
                    <a:pos x="T8" y="T9"/>
                  </a:cxn>
                </a:cxnLst>
                <a:rect l="0" t="0" r="r" b="b"/>
                <a:pathLst>
                  <a:path w="66" h="66">
                    <a:moveTo>
                      <a:pt x="54" y="54"/>
                    </a:moveTo>
                    <a:cubicBezTo>
                      <a:pt x="66" y="42"/>
                      <a:pt x="66" y="23"/>
                      <a:pt x="54" y="11"/>
                    </a:cubicBezTo>
                    <a:cubicBezTo>
                      <a:pt x="42" y="0"/>
                      <a:pt x="23" y="0"/>
                      <a:pt x="11" y="11"/>
                    </a:cubicBezTo>
                    <a:cubicBezTo>
                      <a:pt x="0" y="23"/>
                      <a:pt x="0" y="42"/>
                      <a:pt x="11" y="54"/>
                    </a:cubicBezTo>
                    <a:cubicBezTo>
                      <a:pt x="23" y="66"/>
                      <a:pt x="42" y="66"/>
                      <a:pt x="54" y="54"/>
                    </a:cubicBezTo>
                    <a:close/>
                  </a:path>
                </a:pathLst>
              </a:custGeom>
              <a:solidFill>
                <a:srgbClr val="F9C5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21" name="Freeform 25"/>
              <p:cNvSpPr/>
              <p:nvPr/>
            </p:nvSpPr>
            <p:spPr bwMode="auto">
              <a:xfrm>
                <a:off x="12592119" y="2936466"/>
                <a:ext cx="103188" cy="101600"/>
              </a:xfrm>
              <a:custGeom>
                <a:avLst/>
                <a:gdLst>
                  <a:gd name="T0" fmla="*/ 26 w 54"/>
                  <a:gd name="T1" fmla="*/ 53 h 53"/>
                  <a:gd name="T2" fmla="*/ 7 w 54"/>
                  <a:gd name="T3" fmla="*/ 46 h 53"/>
                  <a:gd name="T4" fmla="*/ 0 w 54"/>
                  <a:gd name="T5" fmla="*/ 28 h 53"/>
                  <a:gd name="T6" fmla="*/ 7 w 54"/>
                  <a:gd name="T7" fmla="*/ 10 h 53"/>
                  <a:gd name="T8" fmla="*/ 44 w 54"/>
                  <a:gd name="T9" fmla="*/ 10 h 53"/>
                  <a:gd name="T10" fmla="*/ 44 w 54"/>
                  <a:gd name="T11" fmla="*/ 46 h 53"/>
                  <a:gd name="T12" fmla="*/ 26 w 54"/>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54" h="53">
                    <a:moveTo>
                      <a:pt x="26" y="53"/>
                    </a:moveTo>
                    <a:cubicBezTo>
                      <a:pt x="19" y="53"/>
                      <a:pt x="12" y="51"/>
                      <a:pt x="7" y="46"/>
                    </a:cubicBezTo>
                    <a:cubicBezTo>
                      <a:pt x="3" y="41"/>
                      <a:pt x="0" y="35"/>
                      <a:pt x="0" y="28"/>
                    </a:cubicBezTo>
                    <a:cubicBezTo>
                      <a:pt x="0" y="21"/>
                      <a:pt x="3" y="14"/>
                      <a:pt x="7" y="10"/>
                    </a:cubicBezTo>
                    <a:cubicBezTo>
                      <a:pt x="17" y="0"/>
                      <a:pt x="34" y="0"/>
                      <a:pt x="44" y="10"/>
                    </a:cubicBezTo>
                    <a:cubicBezTo>
                      <a:pt x="54" y="20"/>
                      <a:pt x="54" y="36"/>
                      <a:pt x="44" y="46"/>
                    </a:cubicBezTo>
                    <a:cubicBezTo>
                      <a:pt x="39" y="51"/>
                      <a:pt x="32" y="53"/>
                      <a:pt x="26" y="53"/>
                    </a:cubicBezTo>
                    <a:close/>
                  </a:path>
                </a:pathLst>
              </a:custGeom>
              <a:solidFill>
                <a:srgbClr val="2050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22" name="Freeform 26"/>
              <p:cNvSpPr/>
              <p:nvPr/>
            </p:nvSpPr>
            <p:spPr bwMode="auto">
              <a:xfrm>
                <a:off x="12620694" y="2971391"/>
                <a:ext cx="39688" cy="38100"/>
              </a:xfrm>
              <a:custGeom>
                <a:avLst/>
                <a:gdLst>
                  <a:gd name="T0" fmla="*/ 17 w 21"/>
                  <a:gd name="T1" fmla="*/ 17 h 20"/>
                  <a:gd name="T2" fmla="*/ 17 w 21"/>
                  <a:gd name="T3" fmla="*/ 3 h 20"/>
                  <a:gd name="T4" fmla="*/ 11 w 21"/>
                  <a:gd name="T5" fmla="*/ 0 h 20"/>
                  <a:gd name="T6" fmla="*/ 4 w 21"/>
                  <a:gd name="T7" fmla="*/ 3 h 20"/>
                  <a:gd name="T8" fmla="*/ 4 w 21"/>
                  <a:gd name="T9" fmla="*/ 17 h 20"/>
                  <a:gd name="T10" fmla="*/ 17 w 21"/>
                  <a:gd name="T11" fmla="*/ 17 h 20"/>
                </a:gdLst>
                <a:ahLst/>
                <a:cxnLst>
                  <a:cxn ang="0">
                    <a:pos x="T0" y="T1"/>
                  </a:cxn>
                  <a:cxn ang="0">
                    <a:pos x="T2" y="T3"/>
                  </a:cxn>
                  <a:cxn ang="0">
                    <a:pos x="T4" y="T5"/>
                  </a:cxn>
                  <a:cxn ang="0">
                    <a:pos x="T6" y="T7"/>
                  </a:cxn>
                  <a:cxn ang="0">
                    <a:pos x="T8" y="T9"/>
                  </a:cxn>
                  <a:cxn ang="0">
                    <a:pos x="T10" y="T11"/>
                  </a:cxn>
                </a:cxnLst>
                <a:rect l="0" t="0" r="r" b="b"/>
                <a:pathLst>
                  <a:path w="21" h="20">
                    <a:moveTo>
                      <a:pt x="17" y="17"/>
                    </a:moveTo>
                    <a:cubicBezTo>
                      <a:pt x="21" y="13"/>
                      <a:pt x="21" y="7"/>
                      <a:pt x="17" y="3"/>
                    </a:cubicBezTo>
                    <a:cubicBezTo>
                      <a:pt x="15" y="1"/>
                      <a:pt x="13" y="0"/>
                      <a:pt x="11" y="0"/>
                    </a:cubicBezTo>
                    <a:cubicBezTo>
                      <a:pt x="8" y="0"/>
                      <a:pt x="6" y="1"/>
                      <a:pt x="4" y="3"/>
                    </a:cubicBezTo>
                    <a:cubicBezTo>
                      <a:pt x="0" y="7"/>
                      <a:pt x="0" y="13"/>
                      <a:pt x="4" y="17"/>
                    </a:cubicBezTo>
                    <a:cubicBezTo>
                      <a:pt x="7" y="20"/>
                      <a:pt x="14" y="20"/>
                      <a:pt x="17" y="17"/>
                    </a:cubicBezTo>
                    <a:close/>
                  </a:path>
                </a:pathLst>
              </a:custGeom>
              <a:solidFill>
                <a:srgbClr val="D2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grpSp>
      </p:grpSp>
      <p:sp>
        <p:nvSpPr>
          <p:cNvPr id="2" name="Title 1"/>
          <p:cNvSpPr>
            <a:spLocks noGrp="1"/>
          </p:cNvSpPr>
          <p:nvPr>
            <p:ph type="title"/>
          </p:nvPr>
        </p:nvSpPr>
        <p:spPr>
          <a:xfrm>
            <a:off x="5496708" y="3840744"/>
            <a:ext cx="3143891" cy="764055"/>
          </a:xfrm>
        </p:spPr>
        <p:txBody>
          <a:bodyPr wrap="square">
            <a:spAutoFit/>
          </a:bodyPr>
          <a:lstStyle>
            <a:lvl1pPr algn="l" defTabSz="914400" rtl="0" eaLnBrk="1" latinLnBrk="0" hangingPunct="1">
              <a:lnSpc>
                <a:spcPct val="90000"/>
              </a:lnSpc>
              <a:spcBef>
                <a:spcPct val="0"/>
              </a:spcBef>
              <a:buNone/>
              <a:defRPr lang="hi-IN" sz="2400" b="1" kern="1200" dirty="0">
                <a:solidFill>
                  <a:schemeClr val="bg1"/>
                </a:solidFill>
                <a:latin typeface="Arial" panose="020B0604020202020204" pitchFamily="34" charset="0"/>
                <a:ea typeface="+mj-ea"/>
                <a:cs typeface="+mj-cs"/>
              </a:defRPr>
            </a:lvl1pPr>
          </a:lstStyle>
          <a:p>
            <a:r>
              <a:rPr lang="en-US"/>
              <a:t>Click to edit Master title style</a:t>
            </a:r>
            <a:endParaRPr lang="hi-IN"/>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617" name="Picture 616" descr="A hand holding a glass&#10;&#10;Description automatically generated"/>
          <p:cNvPicPr>
            <a:picLocks noChangeAspect="1"/>
          </p:cNvPicPr>
          <p:nvPr userDrawn="1"/>
        </p:nvPicPr>
        <p:blipFill rotWithShape="1">
          <a:blip r:embed="rId2" cstate="email"/>
          <a:srcRect/>
          <a:stretch>
            <a:fillRect/>
          </a:stretch>
        </p:blipFill>
        <p:spPr>
          <a:xfrm>
            <a:off x="2278742" y="-7724"/>
            <a:ext cx="9913257" cy="6865724"/>
          </a:xfrm>
          <a:prstGeom prst="rect">
            <a:avLst/>
          </a:prstGeom>
        </p:spPr>
      </p:pic>
      <p:sp>
        <p:nvSpPr>
          <p:cNvPr id="632" name="Freeform: Shape 631"/>
          <p:cNvSpPr/>
          <p:nvPr userDrawn="1"/>
        </p:nvSpPr>
        <p:spPr>
          <a:xfrm flipH="1">
            <a:off x="2814" y="0"/>
            <a:ext cx="6353216" cy="6854724"/>
          </a:xfrm>
          <a:custGeom>
            <a:avLst/>
            <a:gdLst>
              <a:gd name="connsiteX0" fmla="*/ 6353216 w 6353216"/>
              <a:gd name="connsiteY0" fmla="*/ 0 h 6858000"/>
              <a:gd name="connsiteX1" fmla="*/ 3704521 w 6353216"/>
              <a:gd name="connsiteY1" fmla="*/ 0 h 6858000"/>
              <a:gd name="connsiteX2" fmla="*/ 547654 w 6353216"/>
              <a:gd name="connsiteY2" fmla="*/ 6846454 h 6858000"/>
              <a:gd name="connsiteX3" fmla="*/ 0 w 6353216"/>
              <a:gd name="connsiteY3" fmla="*/ 6846454 h 6858000"/>
              <a:gd name="connsiteX4" fmla="*/ 0 w 6353216"/>
              <a:gd name="connsiteY4" fmla="*/ 6858000 h 6858000"/>
              <a:gd name="connsiteX5" fmla="*/ 6353216 w 6353216"/>
              <a:gd name="connsiteY5" fmla="*/ 6858000 h 6858000"/>
              <a:gd name="connsiteX6" fmla="*/ 6353216 w 6353216"/>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3216" h="6858000">
                <a:moveTo>
                  <a:pt x="6353216" y="0"/>
                </a:moveTo>
                <a:lnTo>
                  <a:pt x="3704521" y="0"/>
                </a:lnTo>
                <a:lnTo>
                  <a:pt x="547654" y="6846454"/>
                </a:lnTo>
                <a:lnTo>
                  <a:pt x="0" y="6846454"/>
                </a:lnTo>
                <a:lnTo>
                  <a:pt x="0" y="6858000"/>
                </a:lnTo>
                <a:lnTo>
                  <a:pt x="6353216" y="6858000"/>
                </a:lnTo>
                <a:lnTo>
                  <a:pt x="635321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i-IN"/>
          </a:p>
        </p:txBody>
      </p:sp>
      <p:sp>
        <p:nvSpPr>
          <p:cNvPr id="18" name="Freeform: Shape 17"/>
          <p:cNvSpPr/>
          <p:nvPr userDrawn="1"/>
        </p:nvSpPr>
        <p:spPr>
          <a:xfrm>
            <a:off x="5286844" y="4860"/>
            <a:ext cx="6901213" cy="6851544"/>
          </a:xfrm>
          <a:custGeom>
            <a:avLst/>
            <a:gdLst>
              <a:gd name="connsiteX0" fmla="*/ 2538296 w 6901213"/>
              <a:gd name="connsiteY0" fmla="*/ 4658732 h 6851544"/>
              <a:gd name="connsiteX1" fmla="*/ 2537764 w 6901213"/>
              <a:gd name="connsiteY1" fmla="*/ 4659263 h 6851544"/>
              <a:gd name="connsiteX2" fmla="*/ 2537156 w 6901213"/>
              <a:gd name="connsiteY2" fmla="*/ 4658732 h 6851544"/>
              <a:gd name="connsiteX3" fmla="*/ 2537764 w 6901213"/>
              <a:gd name="connsiteY3" fmla="*/ 4658200 h 6851544"/>
              <a:gd name="connsiteX4" fmla="*/ 2538296 w 6901213"/>
              <a:gd name="connsiteY4" fmla="*/ 4658732 h 6851544"/>
              <a:gd name="connsiteX5" fmla="*/ 2577636 w 6901213"/>
              <a:gd name="connsiteY5" fmla="*/ 4486560 h 6851544"/>
              <a:gd name="connsiteX6" fmla="*/ 2577104 w 6901213"/>
              <a:gd name="connsiteY6" fmla="*/ 4486028 h 6851544"/>
              <a:gd name="connsiteX7" fmla="*/ 2576573 w 6901213"/>
              <a:gd name="connsiteY7" fmla="*/ 4486560 h 6851544"/>
              <a:gd name="connsiteX8" fmla="*/ 2577104 w 6901213"/>
              <a:gd name="connsiteY8" fmla="*/ 4487092 h 6851544"/>
              <a:gd name="connsiteX9" fmla="*/ 2577636 w 6901213"/>
              <a:gd name="connsiteY9" fmla="*/ 4486560 h 6851544"/>
              <a:gd name="connsiteX10" fmla="*/ 2467513 w 6901213"/>
              <a:gd name="connsiteY10" fmla="*/ 4348489 h 6851544"/>
              <a:gd name="connsiteX11" fmla="*/ 2466981 w 6901213"/>
              <a:gd name="connsiteY11" fmla="*/ 4347957 h 6851544"/>
              <a:gd name="connsiteX12" fmla="*/ 2466450 w 6901213"/>
              <a:gd name="connsiteY12" fmla="*/ 4348489 h 6851544"/>
              <a:gd name="connsiteX13" fmla="*/ 2466981 w 6901213"/>
              <a:gd name="connsiteY13" fmla="*/ 4349021 h 6851544"/>
              <a:gd name="connsiteX14" fmla="*/ 2467513 w 6901213"/>
              <a:gd name="connsiteY14" fmla="*/ 4348489 h 6851544"/>
              <a:gd name="connsiteX15" fmla="*/ 2290861 w 6901213"/>
              <a:gd name="connsiteY15" fmla="*/ 4348489 h 6851544"/>
              <a:gd name="connsiteX16" fmla="*/ 2290329 w 6901213"/>
              <a:gd name="connsiteY16" fmla="*/ 4347957 h 6851544"/>
              <a:gd name="connsiteX17" fmla="*/ 2289797 w 6901213"/>
              <a:gd name="connsiteY17" fmla="*/ 4348489 h 6851544"/>
              <a:gd name="connsiteX18" fmla="*/ 2290329 w 6901213"/>
              <a:gd name="connsiteY18" fmla="*/ 4349021 h 6851544"/>
              <a:gd name="connsiteX19" fmla="*/ 2290861 w 6901213"/>
              <a:gd name="connsiteY19" fmla="*/ 4348489 h 6851544"/>
              <a:gd name="connsiteX20" fmla="*/ 2697404 w 6901213"/>
              <a:gd name="connsiteY20" fmla="*/ 4785639 h 6851544"/>
              <a:gd name="connsiteX21" fmla="*/ 2696873 w 6901213"/>
              <a:gd name="connsiteY21" fmla="*/ 4785107 h 6851544"/>
              <a:gd name="connsiteX22" fmla="*/ 2696341 w 6901213"/>
              <a:gd name="connsiteY22" fmla="*/ 4785639 h 6851544"/>
              <a:gd name="connsiteX23" fmla="*/ 2696873 w 6901213"/>
              <a:gd name="connsiteY23" fmla="*/ 4786171 h 6851544"/>
              <a:gd name="connsiteX24" fmla="*/ 2697404 w 6901213"/>
              <a:gd name="connsiteY24" fmla="*/ 4785639 h 6851544"/>
              <a:gd name="connsiteX25" fmla="*/ 2776009 w 6901213"/>
              <a:gd name="connsiteY25" fmla="*/ 4622429 h 6851544"/>
              <a:gd name="connsiteX26" fmla="*/ 2775478 w 6901213"/>
              <a:gd name="connsiteY26" fmla="*/ 4621897 h 6851544"/>
              <a:gd name="connsiteX27" fmla="*/ 2774946 w 6901213"/>
              <a:gd name="connsiteY27" fmla="*/ 4622429 h 6851544"/>
              <a:gd name="connsiteX28" fmla="*/ 2775478 w 6901213"/>
              <a:gd name="connsiteY28" fmla="*/ 4622960 h 6851544"/>
              <a:gd name="connsiteX29" fmla="*/ 2776009 w 6901213"/>
              <a:gd name="connsiteY29" fmla="*/ 4622429 h 6851544"/>
              <a:gd name="connsiteX30" fmla="*/ 2776617 w 6901213"/>
              <a:gd name="connsiteY30" fmla="*/ 4441296 h 6851544"/>
              <a:gd name="connsiteX31" fmla="*/ 2775478 w 6901213"/>
              <a:gd name="connsiteY31" fmla="*/ 4440157 h 6851544"/>
              <a:gd name="connsiteX32" fmla="*/ 2774338 w 6901213"/>
              <a:gd name="connsiteY32" fmla="*/ 4441296 h 6851544"/>
              <a:gd name="connsiteX33" fmla="*/ 2775478 w 6901213"/>
              <a:gd name="connsiteY33" fmla="*/ 4442435 h 6851544"/>
              <a:gd name="connsiteX34" fmla="*/ 2776617 w 6901213"/>
              <a:gd name="connsiteY34" fmla="*/ 4441296 h 6851544"/>
              <a:gd name="connsiteX35" fmla="*/ 2698012 w 6901213"/>
              <a:gd name="connsiteY35" fmla="*/ 4278086 h 6851544"/>
              <a:gd name="connsiteX36" fmla="*/ 2696873 w 6901213"/>
              <a:gd name="connsiteY36" fmla="*/ 4276947 h 6851544"/>
              <a:gd name="connsiteX37" fmla="*/ 2695733 w 6901213"/>
              <a:gd name="connsiteY37" fmla="*/ 4278086 h 6851544"/>
              <a:gd name="connsiteX38" fmla="*/ 2696873 w 6901213"/>
              <a:gd name="connsiteY38" fmla="*/ 4279225 h 6851544"/>
              <a:gd name="connsiteX39" fmla="*/ 2698012 w 6901213"/>
              <a:gd name="connsiteY39" fmla="*/ 4278086 h 6851544"/>
              <a:gd name="connsiteX40" fmla="*/ 2556371 w 6901213"/>
              <a:gd name="connsiteY40" fmla="*/ 4165153 h 6851544"/>
              <a:gd name="connsiteX41" fmla="*/ 2555232 w 6901213"/>
              <a:gd name="connsiteY41" fmla="*/ 4164014 h 6851544"/>
              <a:gd name="connsiteX42" fmla="*/ 2554092 w 6901213"/>
              <a:gd name="connsiteY42" fmla="*/ 4165153 h 6851544"/>
              <a:gd name="connsiteX43" fmla="*/ 2555232 w 6901213"/>
              <a:gd name="connsiteY43" fmla="*/ 4166292 h 6851544"/>
              <a:gd name="connsiteX44" fmla="*/ 2556371 w 6901213"/>
              <a:gd name="connsiteY44" fmla="*/ 4165153 h 6851544"/>
              <a:gd name="connsiteX45" fmla="*/ 2379718 w 6901213"/>
              <a:gd name="connsiteY45" fmla="*/ 4124825 h 6851544"/>
              <a:gd name="connsiteX46" fmla="*/ 2378579 w 6901213"/>
              <a:gd name="connsiteY46" fmla="*/ 4123686 h 6851544"/>
              <a:gd name="connsiteX47" fmla="*/ 2377440 w 6901213"/>
              <a:gd name="connsiteY47" fmla="*/ 4124825 h 6851544"/>
              <a:gd name="connsiteX48" fmla="*/ 2378579 w 6901213"/>
              <a:gd name="connsiteY48" fmla="*/ 4125964 h 6851544"/>
              <a:gd name="connsiteX49" fmla="*/ 2379718 w 6901213"/>
              <a:gd name="connsiteY49" fmla="*/ 4124825 h 6851544"/>
              <a:gd name="connsiteX50" fmla="*/ 2202610 w 6901213"/>
              <a:gd name="connsiteY50" fmla="*/ 4165153 h 6851544"/>
              <a:gd name="connsiteX51" fmla="*/ 2202079 w 6901213"/>
              <a:gd name="connsiteY51" fmla="*/ 4164621 h 6851544"/>
              <a:gd name="connsiteX52" fmla="*/ 2201547 w 6901213"/>
              <a:gd name="connsiteY52" fmla="*/ 4165153 h 6851544"/>
              <a:gd name="connsiteX53" fmla="*/ 2202079 w 6901213"/>
              <a:gd name="connsiteY53" fmla="*/ 4165685 h 6851544"/>
              <a:gd name="connsiteX54" fmla="*/ 2202610 w 6901213"/>
              <a:gd name="connsiteY54" fmla="*/ 4165153 h 6851544"/>
              <a:gd name="connsiteX55" fmla="*/ 2856589 w 6901213"/>
              <a:gd name="connsiteY55" fmla="*/ 4912546 h 6851544"/>
              <a:gd name="connsiteX56" fmla="*/ 2856057 w 6901213"/>
              <a:gd name="connsiteY56" fmla="*/ 4912014 h 6851544"/>
              <a:gd name="connsiteX57" fmla="*/ 2855525 w 6901213"/>
              <a:gd name="connsiteY57" fmla="*/ 4912546 h 6851544"/>
              <a:gd name="connsiteX58" fmla="*/ 2856057 w 6901213"/>
              <a:gd name="connsiteY58" fmla="*/ 4913077 h 6851544"/>
              <a:gd name="connsiteX59" fmla="*/ 2856589 w 6901213"/>
              <a:gd name="connsiteY59" fmla="*/ 4912546 h 6851544"/>
              <a:gd name="connsiteX60" fmla="*/ 2947573 w 6901213"/>
              <a:gd name="connsiteY60" fmla="*/ 4754956 h 6851544"/>
              <a:gd name="connsiteX61" fmla="*/ 2947041 w 6901213"/>
              <a:gd name="connsiteY61" fmla="*/ 4754424 h 6851544"/>
              <a:gd name="connsiteX62" fmla="*/ 2946510 w 6901213"/>
              <a:gd name="connsiteY62" fmla="*/ 4754956 h 6851544"/>
              <a:gd name="connsiteX63" fmla="*/ 2947041 w 6901213"/>
              <a:gd name="connsiteY63" fmla="*/ 4755488 h 6851544"/>
              <a:gd name="connsiteX64" fmla="*/ 2947573 w 6901213"/>
              <a:gd name="connsiteY64" fmla="*/ 4754956 h 6851544"/>
              <a:gd name="connsiteX65" fmla="*/ 2988584 w 6901213"/>
              <a:gd name="connsiteY65" fmla="*/ 4577468 h 6851544"/>
              <a:gd name="connsiteX66" fmla="*/ 2987445 w 6901213"/>
              <a:gd name="connsiteY66" fmla="*/ 4576329 h 6851544"/>
              <a:gd name="connsiteX67" fmla="*/ 2986306 w 6901213"/>
              <a:gd name="connsiteY67" fmla="*/ 4577468 h 6851544"/>
              <a:gd name="connsiteX68" fmla="*/ 2987445 w 6901213"/>
              <a:gd name="connsiteY68" fmla="*/ 4578608 h 6851544"/>
              <a:gd name="connsiteX69" fmla="*/ 2988584 w 6901213"/>
              <a:gd name="connsiteY69" fmla="*/ 4577468 h 6851544"/>
              <a:gd name="connsiteX70" fmla="*/ 2975597 w 6901213"/>
              <a:gd name="connsiteY70" fmla="*/ 4396031 h 6851544"/>
              <a:gd name="connsiteX71" fmla="*/ 2973926 w 6901213"/>
              <a:gd name="connsiteY71" fmla="*/ 4394361 h 6851544"/>
              <a:gd name="connsiteX72" fmla="*/ 2972256 w 6901213"/>
              <a:gd name="connsiteY72" fmla="*/ 4396031 h 6851544"/>
              <a:gd name="connsiteX73" fmla="*/ 2973926 w 6901213"/>
              <a:gd name="connsiteY73" fmla="*/ 4397702 h 6851544"/>
              <a:gd name="connsiteX74" fmla="*/ 2975597 w 6901213"/>
              <a:gd name="connsiteY74" fmla="*/ 4396031 h 6851544"/>
              <a:gd name="connsiteX75" fmla="*/ 2909068 w 6901213"/>
              <a:gd name="connsiteY75" fmla="*/ 4226594 h 6851544"/>
              <a:gd name="connsiteX76" fmla="*/ 2907397 w 6901213"/>
              <a:gd name="connsiteY76" fmla="*/ 4224923 h 6851544"/>
              <a:gd name="connsiteX77" fmla="*/ 2905726 w 6901213"/>
              <a:gd name="connsiteY77" fmla="*/ 4226594 h 6851544"/>
              <a:gd name="connsiteX78" fmla="*/ 2907397 w 6901213"/>
              <a:gd name="connsiteY78" fmla="*/ 4228265 h 6851544"/>
              <a:gd name="connsiteX79" fmla="*/ 2909068 w 6901213"/>
              <a:gd name="connsiteY79" fmla="*/ 4226594 h 6851544"/>
              <a:gd name="connsiteX80" fmla="*/ 2796135 w 6901213"/>
              <a:gd name="connsiteY80" fmla="*/ 4084269 h 6851544"/>
              <a:gd name="connsiteX81" fmla="*/ 2793857 w 6901213"/>
              <a:gd name="connsiteY81" fmla="*/ 4081991 h 6851544"/>
              <a:gd name="connsiteX82" fmla="*/ 2791578 w 6901213"/>
              <a:gd name="connsiteY82" fmla="*/ 4084269 h 6851544"/>
              <a:gd name="connsiteX83" fmla="*/ 2793857 w 6901213"/>
              <a:gd name="connsiteY83" fmla="*/ 4086548 h 6851544"/>
              <a:gd name="connsiteX84" fmla="*/ 2796135 w 6901213"/>
              <a:gd name="connsiteY84" fmla="*/ 4084269 h 6851544"/>
              <a:gd name="connsiteX85" fmla="*/ 2645229 w 6901213"/>
              <a:gd name="connsiteY85" fmla="*/ 3981741 h 6851544"/>
              <a:gd name="connsiteX86" fmla="*/ 2643558 w 6901213"/>
              <a:gd name="connsiteY86" fmla="*/ 3980071 h 6851544"/>
              <a:gd name="connsiteX87" fmla="*/ 2641887 w 6901213"/>
              <a:gd name="connsiteY87" fmla="*/ 3981741 h 6851544"/>
              <a:gd name="connsiteX88" fmla="*/ 2643558 w 6901213"/>
              <a:gd name="connsiteY88" fmla="*/ 3983412 h 6851544"/>
              <a:gd name="connsiteX89" fmla="*/ 2645229 w 6901213"/>
              <a:gd name="connsiteY89" fmla="*/ 3981741 h 6851544"/>
              <a:gd name="connsiteX90" fmla="*/ 2471310 w 6901213"/>
              <a:gd name="connsiteY90" fmla="*/ 3928123 h 6851544"/>
              <a:gd name="connsiteX91" fmla="*/ 2469639 w 6901213"/>
              <a:gd name="connsiteY91" fmla="*/ 3926452 h 6851544"/>
              <a:gd name="connsiteX92" fmla="*/ 2467969 w 6901213"/>
              <a:gd name="connsiteY92" fmla="*/ 3928123 h 6851544"/>
              <a:gd name="connsiteX93" fmla="*/ 2469639 w 6901213"/>
              <a:gd name="connsiteY93" fmla="*/ 3929794 h 6851544"/>
              <a:gd name="connsiteX94" fmla="*/ 2471310 w 6901213"/>
              <a:gd name="connsiteY94" fmla="*/ 3928123 h 6851544"/>
              <a:gd name="connsiteX95" fmla="*/ 2288734 w 6901213"/>
              <a:gd name="connsiteY95" fmla="*/ 3928123 h 6851544"/>
              <a:gd name="connsiteX96" fmla="*/ 2287595 w 6901213"/>
              <a:gd name="connsiteY96" fmla="*/ 3926984 h 6851544"/>
              <a:gd name="connsiteX97" fmla="*/ 2286456 w 6901213"/>
              <a:gd name="connsiteY97" fmla="*/ 3928123 h 6851544"/>
              <a:gd name="connsiteX98" fmla="*/ 2287595 w 6901213"/>
              <a:gd name="connsiteY98" fmla="*/ 3929262 h 6851544"/>
              <a:gd name="connsiteX99" fmla="*/ 2288734 w 6901213"/>
              <a:gd name="connsiteY99" fmla="*/ 3928123 h 6851544"/>
              <a:gd name="connsiteX100" fmla="*/ 2114284 w 6901213"/>
              <a:gd name="connsiteY100" fmla="*/ 3981741 h 6851544"/>
              <a:gd name="connsiteX101" fmla="*/ 2113753 w 6901213"/>
              <a:gd name="connsiteY101" fmla="*/ 3981209 h 6851544"/>
              <a:gd name="connsiteX102" fmla="*/ 2113221 w 6901213"/>
              <a:gd name="connsiteY102" fmla="*/ 3981741 h 6851544"/>
              <a:gd name="connsiteX103" fmla="*/ 2113753 w 6901213"/>
              <a:gd name="connsiteY103" fmla="*/ 3982349 h 6851544"/>
              <a:gd name="connsiteX104" fmla="*/ 2114284 w 6901213"/>
              <a:gd name="connsiteY104" fmla="*/ 3981741 h 6851544"/>
              <a:gd name="connsiteX105" fmla="*/ 1963909 w 6901213"/>
              <a:gd name="connsiteY105" fmla="*/ 4084269 h 6851544"/>
              <a:gd name="connsiteX106" fmla="*/ 1963378 w 6901213"/>
              <a:gd name="connsiteY106" fmla="*/ 4083738 h 6851544"/>
              <a:gd name="connsiteX107" fmla="*/ 1962846 w 6901213"/>
              <a:gd name="connsiteY107" fmla="*/ 4084269 h 6851544"/>
              <a:gd name="connsiteX108" fmla="*/ 1963378 w 6901213"/>
              <a:gd name="connsiteY108" fmla="*/ 4084801 h 6851544"/>
              <a:gd name="connsiteX109" fmla="*/ 1963909 w 6901213"/>
              <a:gd name="connsiteY109" fmla="*/ 4084269 h 6851544"/>
              <a:gd name="connsiteX110" fmla="*/ 3015697 w 6901213"/>
              <a:gd name="connsiteY110" fmla="*/ 5039453 h 6851544"/>
              <a:gd name="connsiteX111" fmla="*/ 3015166 w 6901213"/>
              <a:gd name="connsiteY111" fmla="*/ 5038921 h 6851544"/>
              <a:gd name="connsiteX112" fmla="*/ 3014634 w 6901213"/>
              <a:gd name="connsiteY112" fmla="*/ 5039453 h 6851544"/>
              <a:gd name="connsiteX113" fmla="*/ 3015166 w 6901213"/>
              <a:gd name="connsiteY113" fmla="*/ 5039985 h 6851544"/>
              <a:gd name="connsiteX114" fmla="*/ 3015697 w 6901213"/>
              <a:gd name="connsiteY114" fmla="*/ 5039453 h 6851544"/>
              <a:gd name="connsiteX115" fmla="*/ 3112682 w 6901213"/>
              <a:gd name="connsiteY115" fmla="*/ 4885053 h 6851544"/>
              <a:gd name="connsiteX116" fmla="*/ 3112150 w 6901213"/>
              <a:gd name="connsiteY116" fmla="*/ 4884521 h 6851544"/>
              <a:gd name="connsiteX117" fmla="*/ 3111618 w 6901213"/>
              <a:gd name="connsiteY117" fmla="*/ 4885053 h 6851544"/>
              <a:gd name="connsiteX118" fmla="*/ 3112150 w 6901213"/>
              <a:gd name="connsiteY118" fmla="*/ 4885585 h 6851544"/>
              <a:gd name="connsiteX119" fmla="*/ 3112682 w 6901213"/>
              <a:gd name="connsiteY119" fmla="*/ 4885053 h 6851544"/>
              <a:gd name="connsiteX120" fmla="*/ 3173439 w 6901213"/>
              <a:gd name="connsiteY120" fmla="*/ 4713034 h 6851544"/>
              <a:gd name="connsiteX121" fmla="*/ 3172300 w 6901213"/>
              <a:gd name="connsiteY121" fmla="*/ 4711894 h 6851544"/>
              <a:gd name="connsiteX122" fmla="*/ 3171160 w 6901213"/>
              <a:gd name="connsiteY122" fmla="*/ 4713034 h 6851544"/>
              <a:gd name="connsiteX123" fmla="*/ 3172300 w 6901213"/>
              <a:gd name="connsiteY123" fmla="*/ 4714173 h 6851544"/>
              <a:gd name="connsiteX124" fmla="*/ 3173439 w 6901213"/>
              <a:gd name="connsiteY124" fmla="*/ 4713034 h 6851544"/>
              <a:gd name="connsiteX125" fmla="*/ 3194400 w 6901213"/>
              <a:gd name="connsiteY125" fmla="*/ 4531824 h 6851544"/>
              <a:gd name="connsiteX126" fmla="*/ 3192730 w 6901213"/>
              <a:gd name="connsiteY126" fmla="*/ 4530154 h 6851544"/>
              <a:gd name="connsiteX127" fmla="*/ 3191059 w 6901213"/>
              <a:gd name="connsiteY127" fmla="*/ 4531824 h 6851544"/>
              <a:gd name="connsiteX128" fmla="*/ 3192730 w 6901213"/>
              <a:gd name="connsiteY128" fmla="*/ 4533495 h 6851544"/>
              <a:gd name="connsiteX129" fmla="*/ 3194400 w 6901213"/>
              <a:gd name="connsiteY129" fmla="*/ 4531824 h 6851544"/>
              <a:gd name="connsiteX130" fmla="*/ 3174578 w 6901213"/>
              <a:gd name="connsiteY130" fmla="*/ 4350691 h 6851544"/>
              <a:gd name="connsiteX131" fmla="*/ 3172300 w 6901213"/>
              <a:gd name="connsiteY131" fmla="*/ 4348413 h 6851544"/>
              <a:gd name="connsiteX132" fmla="*/ 3170021 w 6901213"/>
              <a:gd name="connsiteY132" fmla="*/ 4350691 h 6851544"/>
              <a:gd name="connsiteX133" fmla="*/ 3172300 w 6901213"/>
              <a:gd name="connsiteY133" fmla="*/ 4352969 h 6851544"/>
              <a:gd name="connsiteX134" fmla="*/ 3174578 w 6901213"/>
              <a:gd name="connsiteY134" fmla="*/ 4350691 h 6851544"/>
              <a:gd name="connsiteX135" fmla="*/ 3114884 w 6901213"/>
              <a:gd name="connsiteY135" fmla="*/ 4178671 h 6851544"/>
              <a:gd name="connsiteX136" fmla="*/ 3112074 w 6901213"/>
              <a:gd name="connsiteY136" fmla="*/ 4175861 h 6851544"/>
              <a:gd name="connsiteX137" fmla="*/ 3109264 w 6901213"/>
              <a:gd name="connsiteY137" fmla="*/ 4178671 h 6851544"/>
              <a:gd name="connsiteX138" fmla="*/ 3112074 w 6901213"/>
              <a:gd name="connsiteY138" fmla="*/ 4181481 h 6851544"/>
              <a:gd name="connsiteX139" fmla="*/ 3114884 w 6901213"/>
              <a:gd name="connsiteY139" fmla="*/ 4178671 h 6851544"/>
              <a:gd name="connsiteX140" fmla="*/ 3017900 w 6901213"/>
              <a:gd name="connsiteY140" fmla="*/ 4024272 h 6851544"/>
              <a:gd name="connsiteX141" fmla="*/ 3015090 w 6901213"/>
              <a:gd name="connsiteY141" fmla="*/ 4021462 h 6851544"/>
              <a:gd name="connsiteX142" fmla="*/ 3012280 w 6901213"/>
              <a:gd name="connsiteY142" fmla="*/ 4024272 h 6851544"/>
              <a:gd name="connsiteX143" fmla="*/ 3015090 w 6901213"/>
              <a:gd name="connsiteY143" fmla="*/ 4027082 h 6851544"/>
              <a:gd name="connsiteX144" fmla="*/ 3017900 w 6901213"/>
              <a:gd name="connsiteY144" fmla="*/ 4024272 h 6851544"/>
              <a:gd name="connsiteX145" fmla="*/ 2889018 w 6901213"/>
              <a:gd name="connsiteY145" fmla="*/ 3895390 h 6851544"/>
              <a:gd name="connsiteX146" fmla="*/ 2886208 w 6901213"/>
              <a:gd name="connsiteY146" fmla="*/ 3892580 h 6851544"/>
              <a:gd name="connsiteX147" fmla="*/ 2883398 w 6901213"/>
              <a:gd name="connsiteY147" fmla="*/ 3895390 h 6851544"/>
              <a:gd name="connsiteX148" fmla="*/ 2886208 w 6901213"/>
              <a:gd name="connsiteY148" fmla="*/ 3898200 h 6851544"/>
              <a:gd name="connsiteX149" fmla="*/ 2889018 w 6901213"/>
              <a:gd name="connsiteY149" fmla="*/ 3895390 h 6851544"/>
              <a:gd name="connsiteX150" fmla="*/ 2734694 w 6901213"/>
              <a:gd name="connsiteY150" fmla="*/ 3798406 h 6851544"/>
              <a:gd name="connsiteX151" fmla="*/ 2731884 w 6901213"/>
              <a:gd name="connsiteY151" fmla="*/ 3795596 h 6851544"/>
              <a:gd name="connsiteX152" fmla="*/ 2729074 w 6901213"/>
              <a:gd name="connsiteY152" fmla="*/ 3798406 h 6851544"/>
              <a:gd name="connsiteX153" fmla="*/ 2731884 w 6901213"/>
              <a:gd name="connsiteY153" fmla="*/ 3801216 h 6851544"/>
              <a:gd name="connsiteX154" fmla="*/ 2734694 w 6901213"/>
              <a:gd name="connsiteY154" fmla="*/ 3798406 h 6851544"/>
              <a:gd name="connsiteX155" fmla="*/ 2562067 w 6901213"/>
              <a:gd name="connsiteY155" fmla="*/ 3738180 h 6851544"/>
              <a:gd name="connsiteX156" fmla="*/ 2559788 w 6901213"/>
              <a:gd name="connsiteY156" fmla="*/ 3735901 h 6851544"/>
              <a:gd name="connsiteX157" fmla="*/ 2557510 w 6901213"/>
              <a:gd name="connsiteY157" fmla="*/ 3738180 h 6851544"/>
              <a:gd name="connsiteX158" fmla="*/ 2559788 w 6901213"/>
              <a:gd name="connsiteY158" fmla="*/ 3740458 h 6851544"/>
              <a:gd name="connsiteX159" fmla="*/ 2562067 w 6901213"/>
              <a:gd name="connsiteY159" fmla="*/ 3738180 h 6851544"/>
              <a:gd name="connsiteX160" fmla="*/ 2380326 w 6901213"/>
              <a:gd name="connsiteY160" fmla="*/ 3717750 h 6851544"/>
              <a:gd name="connsiteX161" fmla="*/ 2378655 w 6901213"/>
              <a:gd name="connsiteY161" fmla="*/ 3716079 h 6851544"/>
              <a:gd name="connsiteX162" fmla="*/ 2376984 w 6901213"/>
              <a:gd name="connsiteY162" fmla="*/ 3717750 h 6851544"/>
              <a:gd name="connsiteX163" fmla="*/ 2378655 w 6901213"/>
              <a:gd name="connsiteY163" fmla="*/ 3719421 h 6851544"/>
              <a:gd name="connsiteX164" fmla="*/ 2380326 w 6901213"/>
              <a:gd name="connsiteY164" fmla="*/ 3717750 h 6851544"/>
              <a:gd name="connsiteX165" fmla="*/ 2198585 w 6901213"/>
              <a:gd name="connsiteY165" fmla="*/ 3738180 h 6851544"/>
              <a:gd name="connsiteX166" fmla="*/ 2197446 w 6901213"/>
              <a:gd name="connsiteY166" fmla="*/ 3737041 h 6851544"/>
              <a:gd name="connsiteX167" fmla="*/ 2196307 w 6901213"/>
              <a:gd name="connsiteY167" fmla="*/ 3738180 h 6851544"/>
              <a:gd name="connsiteX168" fmla="*/ 2197446 w 6901213"/>
              <a:gd name="connsiteY168" fmla="*/ 3739319 h 6851544"/>
              <a:gd name="connsiteX169" fmla="*/ 2198585 w 6901213"/>
              <a:gd name="connsiteY169" fmla="*/ 3738180 h 6851544"/>
              <a:gd name="connsiteX170" fmla="*/ 2025958 w 6901213"/>
              <a:gd name="connsiteY170" fmla="*/ 3798406 h 6851544"/>
              <a:gd name="connsiteX171" fmla="*/ 2025426 w 6901213"/>
              <a:gd name="connsiteY171" fmla="*/ 3797874 h 6851544"/>
              <a:gd name="connsiteX172" fmla="*/ 2024895 w 6901213"/>
              <a:gd name="connsiteY172" fmla="*/ 3798406 h 6851544"/>
              <a:gd name="connsiteX173" fmla="*/ 2025426 w 6901213"/>
              <a:gd name="connsiteY173" fmla="*/ 3798937 h 6851544"/>
              <a:gd name="connsiteX174" fmla="*/ 2025958 w 6901213"/>
              <a:gd name="connsiteY174" fmla="*/ 3798406 h 6851544"/>
              <a:gd name="connsiteX175" fmla="*/ 1871634 w 6901213"/>
              <a:gd name="connsiteY175" fmla="*/ 3895390 h 6851544"/>
              <a:gd name="connsiteX176" fmla="*/ 1871102 w 6901213"/>
              <a:gd name="connsiteY176" fmla="*/ 3894858 h 6851544"/>
              <a:gd name="connsiteX177" fmla="*/ 1870571 w 6901213"/>
              <a:gd name="connsiteY177" fmla="*/ 3895390 h 6851544"/>
              <a:gd name="connsiteX178" fmla="*/ 1871102 w 6901213"/>
              <a:gd name="connsiteY178" fmla="*/ 3895921 h 6851544"/>
              <a:gd name="connsiteX179" fmla="*/ 1871634 w 6901213"/>
              <a:gd name="connsiteY179" fmla="*/ 3895390 h 6851544"/>
              <a:gd name="connsiteX180" fmla="*/ 3174806 w 6901213"/>
              <a:gd name="connsiteY180" fmla="*/ 5166284 h 6851544"/>
              <a:gd name="connsiteX181" fmla="*/ 3174274 w 6901213"/>
              <a:gd name="connsiteY181" fmla="*/ 5165753 h 6851544"/>
              <a:gd name="connsiteX182" fmla="*/ 3173743 w 6901213"/>
              <a:gd name="connsiteY182" fmla="*/ 5166284 h 6851544"/>
              <a:gd name="connsiteX183" fmla="*/ 3174274 w 6901213"/>
              <a:gd name="connsiteY183" fmla="*/ 5166816 h 6851544"/>
              <a:gd name="connsiteX184" fmla="*/ 3174806 w 6901213"/>
              <a:gd name="connsiteY184" fmla="*/ 5166284 h 6851544"/>
              <a:gd name="connsiteX185" fmla="*/ 3275815 w 6901213"/>
              <a:gd name="connsiteY185" fmla="*/ 5014087 h 6851544"/>
              <a:gd name="connsiteX186" fmla="*/ 3274676 w 6901213"/>
              <a:gd name="connsiteY186" fmla="*/ 5012948 h 6851544"/>
              <a:gd name="connsiteX187" fmla="*/ 3273537 w 6901213"/>
              <a:gd name="connsiteY187" fmla="*/ 5014087 h 6851544"/>
              <a:gd name="connsiteX188" fmla="*/ 3274676 w 6901213"/>
              <a:gd name="connsiteY188" fmla="*/ 5015226 h 6851544"/>
              <a:gd name="connsiteX189" fmla="*/ 3275815 w 6901213"/>
              <a:gd name="connsiteY189" fmla="*/ 5014087 h 6851544"/>
              <a:gd name="connsiteX190" fmla="*/ 3347585 w 6901213"/>
              <a:gd name="connsiteY190" fmla="*/ 4846320 h 6851544"/>
              <a:gd name="connsiteX191" fmla="*/ 3346446 w 6901213"/>
              <a:gd name="connsiteY191" fmla="*/ 4845181 h 6851544"/>
              <a:gd name="connsiteX192" fmla="*/ 3345307 w 6901213"/>
              <a:gd name="connsiteY192" fmla="*/ 4846320 h 6851544"/>
              <a:gd name="connsiteX193" fmla="*/ 3346446 w 6901213"/>
              <a:gd name="connsiteY193" fmla="*/ 4847459 h 6851544"/>
              <a:gd name="connsiteX194" fmla="*/ 3347585 w 6901213"/>
              <a:gd name="connsiteY194" fmla="*/ 4846320 h 6851544"/>
              <a:gd name="connsiteX195" fmla="*/ 3389280 w 6901213"/>
              <a:gd name="connsiteY195" fmla="*/ 4668453 h 6851544"/>
              <a:gd name="connsiteX196" fmla="*/ 3387001 w 6901213"/>
              <a:gd name="connsiteY196" fmla="*/ 4666174 h 6851544"/>
              <a:gd name="connsiteX197" fmla="*/ 3384723 w 6901213"/>
              <a:gd name="connsiteY197" fmla="*/ 4668453 h 6851544"/>
              <a:gd name="connsiteX198" fmla="*/ 3387001 w 6901213"/>
              <a:gd name="connsiteY198" fmla="*/ 4670731 h 6851544"/>
              <a:gd name="connsiteX199" fmla="*/ 3389280 w 6901213"/>
              <a:gd name="connsiteY199" fmla="*/ 4668453 h 6851544"/>
              <a:gd name="connsiteX200" fmla="*/ 3398014 w 6901213"/>
              <a:gd name="connsiteY200" fmla="*/ 4486181 h 6851544"/>
              <a:gd name="connsiteX201" fmla="*/ 3395204 w 6901213"/>
              <a:gd name="connsiteY201" fmla="*/ 4483370 h 6851544"/>
              <a:gd name="connsiteX202" fmla="*/ 3392394 w 6901213"/>
              <a:gd name="connsiteY202" fmla="*/ 4486181 h 6851544"/>
              <a:gd name="connsiteX203" fmla="*/ 3395204 w 6901213"/>
              <a:gd name="connsiteY203" fmla="*/ 4488991 h 6851544"/>
              <a:gd name="connsiteX204" fmla="*/ 3398014 w 6901213"/>
              <a:gd name="connsiteY204" fmla="*/ 4486181 h 6851544"/>
              <a:gd name="connsiteX205" fmla="*/ 3374090 w 6901213"/>
              <a:gd name="connsiteY205" fmla="*/ 4305427 h 6851544"/>
              <a:gd name="connsiteX206" fmla="*/ 3370673 w 6901213"/>
              <a:gd name="connsiteY206" fmla="*/ 4302009 h 6851544"/>
              <a:gd name="connsiteX207" fmla="*/ 3367255 w 6901213"/>
              <a:gd name="connsiteY207" fmla="*/ 4305427 h 6851544"/>
              <a:gd name="connsiteX208" fmla="*/ 3370673 w 6901213"/>
              <a:gd name="connsiteY208" fmla="*/ 4308844 h 6851544"/>
              <a:gd name="connsiteX209" fmla="*/ 3374090 w 6901213"/>
              <a:gd name="connsiteY209" fmla="*/ 4305427 h 6851544"/>
              <a:gd name="connsiteX210" fmla="*/ 3318270 w 6901213"/>
              <a:gd name="connsiteY210" fmla="*/ 4131888 h 6851544"/>
              <a:gd name="connsiteX211" fmla="*/ 3314320 w 6901213"/>
              <a:gd name="connsiteY211" fmla="*/ 4127939 h 6851544"/>
              <a:gd name="connsiteX212" fmla="*/ 3310371 w 6901213"/>
              <a:gd name="connsiteY212" fmla="*/ 4131888 h 6851544"/>
              <a:gd name="connsiteX213" fmla="*/ 3314320 w 6901213"/>
              <a:gd name="connsiteY213" fmla="*/ 4135838 h 6851544"/>
              <a:gd name="connsiteX214" fmla="*/ 3318270 w 6901213"/>
              <a:gd name="connsiteY214" fmla="*/ 4131888 h 6851544"/>
              <a:gd name="connsiteX215" fmla="*/ 3231842 w 6901213"/>
              <a:gd name="connsiteY215" fmla="*/ 3971260 h 6851544"/>
              <a:gd name="connsiteX216" fmla="*/ 3227893 w 6901213"/>
              <a:gd name="connsiteY216" fmla="*/ 3967312 h 6851544"/>
              <a:gd name="connsiteX217" fmla="*/ 3223944 w 6901213"/>
              <a:gd name="connsiteY217" fmla="*/ 3971260 h 6851544"/>
              <a:gd name="connsiteX218" fmla="*/ 3227893 w 6901213"/>
              <a:gd name="connsiteY218" fmla="*/ 3975210 h 6851544"/>
              <a:gd name="connsiteX219" fmla="*/ 3231842 w 6901213"/>
              <a:gd name="connsiteY219" fmla="*/ 3971260 h 6851544"/>
              <a:gd name="connsiteX220" fmla="*/ 3118681 w 6901213"/>
              <a:gd name="connsiteY220" fmla="*/ 3828632 h 6851544"/>
              <a:gd name="connsiteX221" fmla="*/ 3114125 w 6901213"/>
              <a:gd name="connsiteY221" fmla="*/ 3824152 h 6851544"/>
              <a:gd name="connsiteX222" fmla="*/ 3109644 w 6901213"/>
              <a:gd name="connsiteY222" fmla="*/ 3828632 h 6851544"/>
              <a:gd name="connsiteX223" fmla="*/ 3114125 w 6901213"/>
              <a:gd name="connsiteY223" fmla="*/ 3833113 h 6851544"/>
              <a:gd name="connsiteX224" fmla="*/ 3118681 w 6901213"/>
              <a:gd name="connsiteY224" fmla="*/ 3828632 h 6851544"/>
              <a:gd name="connsiteX225" fmla="*/ 2981293 w 6901213"/>
              <a:gd name="connsiteY225" fmla="*/ 3708636 h 6851544"/>
              <a:gd name="connsiteX226" fmla="*/ 2976737 w 6901213"/>
              <a:gd name="connsiteY226" fmla="*/ 3704156 h 6851544"/>
              <a:gd name="connsiteX227" fmla="*/ 2972256 w 6901213"/>
              <a:gd name="connsiteY227" fmla="*/ 3708636 h 6851544"/>
              <a:gd name="connsiteX228" fmla="*/ 2976737 w 6901213"/>
              <a:gd name="connsiteY228" fmla="*/ 3713193 h 6851544"/>
              <a:gd name="connsiteX229" fmla="*/ 2981293 w 6901213"/>
              <a:gd name="connsiteY229" fmla="*/ 3708636 h 6851544"/>
              <a:gd name="connsiteX230" fmla="*/ 2824084 w 6901213"/>
              <a:gd name="connsiteY230" fmla="*/ 3615070 h 6851544"/>
              <a:gd name="connsiteX231" fmla="*/ 2820134 w 6901213"/>
              <a:gd name="connsiteY231" fmla="*/ 3611121 h 6851544"/>
              <a:gd name="connsiteX232" fmla="*/ 2816185 w 6901213"/>
              <a:gd name="connsiteY232" fmla="*/ 3615070 h 6851544"/>
              <a:gd name="connsiteX233" fmla="*/ 2820134 w 6901213"/>
              <a:gd name="connsiteY233" fmla="*/ 3619019 h 6851544"/>
              <a:gd name="connsiteX234" fmla="*/ 2824084 w 6901213"/>
              <a:gd name="connsiteY234" fmla="*/ 3615070 h 6851544"/>
              <a:gd name="connsiteX235" fmla="*/ 2652747 w 6901213"/>
              <a:gd name="connsiteY235" fmla="*/ 3550895 h 6851544"/>
              <a:gd name="connsiteX236" fmla="*/ 2649330 w 6901213"/>
              <a:gd name="connsiteY236" fmla="*/ 3547477 h 6851544"/>
              <a:gd name="connsiteX237" fmla="*/ 2645912 w 6901213"/>
              <a:gd name="connsiteY237" fmla="*/ 3550895 h 6851544"/>
              <a:gd name="connsiteX238" fmla="*/ 2649330 w 6901213"/>
              <a:gd name="connsiteY238" fmla="*/ 3554313 h 6851544"/>
              <a:gd name="connsiteX239" fmla="*/ 2652747 w 6901213"/>
              <a:gd name="connsiteY239" fmla="*/ 3550895 h 6851544"/>
              <a:gd name="connsiteX240" fmla="*/ 2472677 w 6901213"/>
              <a:gd name="connsiteY240" fmla="*/ 3518390 h 6851544"/>
              <a:gd name="connsiteX241" fmla="*/ 2469867 w 6901213"/>
              <a:gd name="connsiteY241" fmla="*/ 3515580 h 6851544"/>
              <a:gd name="connsiteX242" fmla="*/ 2467057 w 6901213"/>
              <a:gd name="connsiteY242" fmla="*/ 3518390 h 6851544"/>
              <a:gd name="connsiteX243" fmla="*/ 2469867 w 6901213"/>
              <a:gd name="connsiteY243" fmla="*/ 3521200 h 6851544"/>
              <a:gd name="connsiteX244" fmla="*/ 2472677 w 6901213"/>
              <a:gd name="connsiteY244" fmla="*/ 3518390 h 6851544"/>
              <a:gd name="connsiteX245" fmla="*/ 2289646 w 6901213"/>
              <a:gd name="connsiteY245" fmla="*/ 3518390 h 6851544"/>
              <a:gd name="connsiteX246" fmla="*/ 2287367 w 6901213"/>
              <a:gd name="connsiteY246" fmla="*/ 3516111 h 6851544"/>
              <a:gd name="connsiteX247" fmla="*/ 2285089 w 6901213"/>
              <a:gd name="connsiteY247" fmla="*/ 3518390 h 6851544"/>
              <a:gd name="connsiteX248" fmla="*/ 2287367 w 6901213"/>
              <a:gd name="connsiteY248" fmla="*/ 3520668 h 6851544"/>
              <a:gd name="connsiteX249" fmla="*/ 2289646 w 6901213"/>
              <a:gd name="connsiteY249" fmla="*/ 3518390 h 6851544"/>
              <a:gd name="connsiteX250" fmla="*/ 2109575 w 6901213"/>
              <a:gd name="connsiteY250" fmla="*/ 3550895 h 6851544"/>
              <a:gd name="connsiteX251" fmla="*/ 2107905 w 6901213"/>
              <a:gd name="connsiteY251" fmla="*/ 3549224 h 6851544"/>
              <a:gd name="connsiteX252" fmla="*/ 2106234 w 6901213"/>
              <a:gd name="connsiteY252" fmla="*/ 3550895 h 6851544"/>
              <a:gd name="connsiteX253" fmla="*/ 2107905 w 6901213"/>
              <a:gd name="connsiteY253" fmla="*/ 3552566 h 6851544"/>
              <a:gd name="connsiteX254" fmla="*/ 2109575 w 6901213"/>
              <a:gd name="connsiteY254" fmla="*/ 3550895 h 6851544"/>
              <a:gd name="connsiteX255" fmla="*/ 1938239 w 6901213"/>
              <a:gd name="connsiteY255" fmla="*/ 3615070 h 6851544"/>
              <a:gd name="connsiteX256" fmla="*/ 1937100 w 6901213"/>
              <a:gd name="connsiteY256" fmla="*/ 3613931 h 6851544"/>
              <a:gd name="connsiteX257" fmla="*/ 1935961 w 6901213"/>
              <a:gd name="connsiteY257" fmla="*/ 3615070 h 6851544"/>
              <a:gd name="connsiteX258" fmla="*/ 1937100 w 6901213"/>
              <a:gd name="connsiteY258" fmla="*/ 3616209 h 6851544"/>
              <a:gd name="connsiteX259" fmla="*/ 1938239 w 6901213"/>
              <a:gd name="connsiteY259" fmla="*/ 3615070 h 6851544"/>
              <a:gd name="connsiteX260" fmla="*/ 1781029 w 6901213"/>
              <a:gd name="connsiteY260" fmla="*/ 3708636 h 6851544"/>
              <a:gd name="connsiteX261" fmla="*/ 1780498 w 6901213"/>
              <a:gd name="connsiteY261" fmla="*/ 3708105 h 6851544"/>
              <a:gd name="connsiteX262" fmla="*/ 1779966 w 6901213"/>
              <a:gd name="connsiteY262" fmla="*/ 3708636 h 6851544"/>
              <a:gd name="connsiteX263" fmla="*/ 1780498 w 6901213"/>
              <a:gd name="connsiteY263" fmla="*/ 3709168 h 6851544"/>
              <a:gd name="connsiteX264" fmla="*/ 1781029 w 6901213"/>
              <a:gd name="connsiteY264" fmla="*/ 3708636 h 6851544"/>
              <a:gd name="connsiteX265" fmla="*/ 3333915 w 6901213"/>
              <a:gd name="connsiteY265" fmla="*/ 5293191 h 6851544"/>
              <a:gd name="connsiteX266" fmla="*/ 3333383 w 6901213"/>
              <a:gd name="connsiteY266" fmla="*/ 5292584 h 6851544"/>
              <a:gd name="connsiteX267" fmla="*/ 3332851 w 6901213"/>
              <a:gd name="connsiteY267" fmla="*/ 5293191 h 6851544"/>
              <a:gd name="connsiteX268" fmla="*/ 3333383 w 6901213"/>
              <a:gd name="connsiteY268" fmla="*/ 5293723 h 6851544"/>
              <a:gd name="connsiteX269" fmla="*/ 3333915 w 6901213"/>
              <a:gd name="connsiteY269" fmla="*/ 5293191 h 6851544"/>
              <a:gd name="connsiteX270" fmla="*/ 3437278 w 6901213"/>
              <a:gd name="connsiteY270" fmla="*/ 5142437 h 6851544"/>
              <a:gd name="connsiteX271" fmla="*/ 3436139 w 6901213"/>
              <a:gd name="connsiteY271" fmla="*/ 5141298 h 6851544"/>
              <a:gd name="connsiteX272" fmla="*/ 3435000 w 6901213"/>
              <a:gd name="connsiteY272" fmla="*/ 5142437 h 6851544"/>
              <a:gd name="connsiteX273" fmla="*/ 3436139 w 6901213"/>
              <a:gd name="connsiteY273" fmla="*/ 5143576 h 6851544"/>
              <a:gd name="connsiteX274" fmla="*/ 3437278 w 6901213"/>
              <a:gd name="connsiteY274" fmla="*/ 5142437 h 6851544"/>
              <a:gd name="connsiteX275" fmla="*/ 3517022 w 6901213"/>
              <a:gd name="connsiteY275" fmla="*/ 4978012 h 6851544"/>
              <a:gd name="connsiteX276" fmla="*/ 3515352 w 6901213"/>
              <a:gd name="connsiteY276" fmla="*/ 4976341 h 6851544"/>
              <a:gd name="connsiteX277" fmla="*/ 3513681 w 6901213"/>
              <a:gd name="connsiteY277" fmla="*/ 4978012 h 6851544"/>
              <a:gd name="connsiteX278" fmla="*/ 3515352 w 6901213"/>
              <a:gd name="connsiteY278" fmla="*/ 4979683 h 6851544"/>
              <a:gd name="connsiteX279" fmla="*/ 3517022 w 6901213"/>
              <a:gd name="connsiteY279" fmla="*/ 4978012 h 6851544"/>
              <a:gd name="connsiteX280" fmla="*/ 3571400 w 6901213"/>
              <a:gd name="connsiteY280" fmla="*/ 4803562 h 6851544"/>
              <a:gd name="connsiteX281" fmla="*/ 3569122 w 6901213"/>
              <a:gd name="connsiteY281" fmla="*/ 4801284 h 6851544"/>
              <a:gd name="connsiteX282" fmla="*/ 3566844 w 6901213"/>
              <a:gd name="connsiteY282" fmla="*/ 4803562 h 6851544"/>
              <a:gd name="connsiteX283" fmla="*/ 3569122 w 6901213"/>
              <a:gd name="connsiteY283" fmla="*/ 4805841 h 6851544"/>
              <a:gd name="connsiteX284" fmla="*/ 3571400 w 6901213"/>
              <a:gd name="connsiteY284" fmla="*/ 4803562 h 6851544"/>
              <a:gd name="connsiteX285" fmla="*/ 3599121 w 6901213"/>
              <a:gd name="connsiteY285" fmla="*/ 4623112 h 6851544"/>
              <a:gd name="connsiteX286" fmla="*/ 3596311 w 6901213"/>
              <a:gd name="connsiteY286" fmla="*/ 4620302 h 6851544"/>
              <a:gd name="connsiteX287" fmla="*/ 3593501 w 6901213"/>
              <a:gd name="connsiteY287" fmla="*/ 4623112 h 6851544"/>
              <a:gd name="connsiteX288" fmla="*/ 3596311 w 6901213"/>
              <a:gd name="connsiteY288" fmla="*/ 4625922 h 6851544"/>
              <a:gd name="connsiteX289" fmla="*/ 3599121 w 6901213"/>
              <a:gd name="connsiteY289" fmla="*/ 4623112 h 6851544"/>
              <a:gd name="connsiteX290" fmla="*/ 3600260 w 6901213"/>
              <a:gd name="connsiteY290" fmla="*/ 4440612 h 6851544"/>
              <a:gd name="connsiteX291" fmla="*/ 3596311 w 6901213"/>
              <a:gd name="connsiteY291" fmla="*/ 4436663 h 6851544"/>
              <a:gd name="connsiteX292" fmla="*/ 3592362 w 6901213"/>
              <a:gd name="connsiteY292" fmla="*/ 4440612 h 6851544"/>
              <a:gd name="connsiteX293" fmla="*/ 3596311 w 6901213"/>
              <a:gd name="connsiteY293" fmla="*/ 4444561 h 6851544"/>
              <a:gd name="connsiteX294" fmla="*/ 3600260 w 6901213"/>
              <a:gd name="connsiteY294" fmla="*/ 4440612 h 6851544"/>
              <a:gd name="connsiteX295" fmla="*/ 3573679 w 6901213"/>
              <a:gd name="connsiteY295" fmla="*/ 4260163 h 6851544"/>
              <a:gd name="connsiteX296" fmla="*/ 3569122 w 6901213"/>
              <a:gd name="connsiteY296" fmla="*/ 4255682 h 6851544"/>
              <a:gd name="connsiteX297" fmla="*/ 3564641 w 6901213"/>
              <a:gd name="connsiteY297" fmla="*/ 4260163 h 6851544"/>
              <a:gd name="connsiteX298" fmla="*/ 3569122 w 6901213"/>
              <a:gd name="connsiteY298" fmla="*/ 4264719 h 6851544"/>
              <a:gd name="connsiteX299" fmla="*/ 3573679 w 6901213"/>
              <a:gd name="connsiteY299" fmla="*/ 4260163 h 6851544"/>
              <a:gd name="connsiteX300" fmla="*/ 3520440 w 6901213"/>
              <a:gd name="connsiteY300" fmla="*/ 4085712 h 6851544"/>
              <a:gd name="connsiteX301" fmla="*/ 3515352 w 6901213"/>
              <a:gd name="connsiteY301" fmla="*/ 4080624 h 6851544"/>
              <a:gd name="connsiteX302" fmla="*/ 3510263 w 6901213"/>
              <a:gd name="connsiteY302" fmla="*/ 4085712 h 6851544"/>
              <a:gd name="connsiteX303" fmla="*/ 3515352 w 6901213"/>
              <a:gd name="connsiteY303" fmla="*/ 4090801 h 6851544"/>
              <a:gd name="connsiteX304" fmla="*/ 3520440 w 6901213"/>
              <a:gd name="connsiteY304" fmla="*/ 4085712 h 6851544"/>
              <a:gd name="connsiteX305" fmla="*/ 3441759 w 6901213"/>
              <a:gd name="connsiteY305" fmla="*/ 3921288 h 6851544"/>
              <a:gd name="connsiteX306" fmla="*/ 3436139 w 6901213"/>
              <a:gd name="connsiteY306" fmla="*/ 3915667 h 6851544"/>
              <a:gd name="connsiteX307" fmla="*/ 3430519 w 6901213"/>
              <a:gd name="connsiteY307" fmla="*/ 3921288 h 6851544"/>
              <a:gd name="connsiteX308" fmla="*/ 3436139 w 6901213"/>
              <a:gd name="connsiteY308" fmla="*/ 3926908 h 6851544"/>
              <a:gd name="connsiteX309" fmla="*/ 3441759 w 6901213"/>
              <a:gd name="connsiteY309" fmla="*/ 3921288 h 6851544"/>
              <a:gd name="connsiteX310" fmla="*/ 3339003 w 6901213"/>
              <a:gd name="connsiteY310" fmla="*/ 3770533 h 6851544"/>
              <a:gd name="connsiteX311" fmla="*/ 3333383 w 6901213"/>
              <a:gd name="connsiteY311" fmla="*/ 3764913 h 6851544"/>
              <a:gd name="connsiteX312" fmla="*/ 3327763 w 6901213"/>
              <a:gd name="connsiteY312" fmla="*/ 3770533 h 6851544"/>
              <a:gd name="connsiteX313" fmla="*/ 3333383 w 6901213"/>
              <a:gd name="connsiteY313" fmla="*/ 3776153 h 6851544"/>
              <a:gd name="connsiteX314" fmla="*/ 3339003 w 6901213"/>
              <a:gd name="connsiteY314" fmla="*/ 3770533 h 6851544"/>
              <a:gd name="connsiteX315" fmla="*/ 3214830 w 6901213"/>
              <a:gd name="connsiteY315" fmla="*/ 3636715 h 6851544"/>
              <a:gd name="connsiteX316" fmla="*/ 3209210 w 6901213"/>
              <a:gd name="connsiteY316" fmla="*/ 3631095 h 6851544"/>
              <a:gd name="connsiteX317" fmla="*/ 3203590 w 6901213"/>
              <a:gd name="connsiteY317" fmla="*/ 3636715 h 6851544"/>
              <a:gd name="connsiteX318" fmla="*/ 3209210 w 6901213"/>
              <a:gd name="connsiteY318" fmla="*/ 3642335 h 6851544"/>
              <a:gd name="connsiteX319" fmla="*/ 3214830 w 6901213"/>
              <a:gd name="connsiteY319" fmla="*/ 3636715 h 6851544"/>
              <a:gd name="connsiteX320" fmla="*/ 3072126 w 6901213"/>
              <a:gd name="connsiteY320" fmla="*/ 3522946 h 6851544"/>
              <a:gd name="connsiteX321" fmla="*/ 3066506 w 6901213"/>
              <a:gd name="connsiteY321" fmla="*/ 3517326 h 6851544"/>
              <a:gd name="connsiteX322" fmla="*/ 3060886 w 6901213"/>
              <a:gd name="connsiteY322" fmla="*/ 3522946 h 6851544"/>
              <a:gd name="connsiteX323" fmla="*/ 3066506 w 6901213"/>
              <a:gd name="connsiteY323" fmla="*/ 3528566 h 6851544"/>
              <a:gd name="connsiteX324" fmla="*/ 3072126 w 6901213"/>
              <a:gd name="connsiteY324" fmla="*/ 3522946 h 6851544"/>
              <a:gd name="connsiteX325" fmla="*/ 2913549 w 6901213"/>
              <a:gd name="connsiteY325" fmla="*/ 3431658 h 6851544"/>
              <a:gd name="connsiteX326" fmla="*/ 2908460 w 6901213"/>
              <a:gd name="connsiteY326" fmla="*/ 3426570 h 6851544"/>
              <a:gd name="connsiteX327" fmla="*/ 2903372 w 6901213"/>
              <a:gd name="connsiteY327" fmla="*/ 3431658 h 6851544"/>
              <a:gd name="connsiteX328" fmla="*/ 2908460 w 6901213"/>
              <a:gd name="connsiteY328" fmla="*/ 3436747 h 6851544"/>
              <a:gd name="connsiteX329" fmla="*/ 2913549 w 6901213"/>
              <a:gd name="connsiteY329" fmla="*/ 3431658 h 6851544"/>
              <a:gd name="connsiteX330" fmla="*/ 2743048 w 6901213"/>
              <a:gd name="connsiteY330" fmla="*/ 3364977 h 6851544"/>
              <a:gd name="connsiteX331" fmla="*/ 2738491 w 6901213"/>
              <a:gd name="connsiteY331" fmla="*/ 3360496 h 6851544"/>
              <a:gd name="connsiteX332" fmla="*/ 2734010 w 6901213"/>
              <a:gd name="connsiteY332" fmla="*/ 3364977 h 6851544"/>
              <a:gd name="connsiteX333" fmla="*/ 2738491 w 6901213"/>
              <a:gd name="connsiteY333" fmla="*/ 3369534 h 6851544"/>
              <a:gd name="connsiteX334" fmla="*/ 2743048 w 6901213"/>
              <a:gd name="connsiteY334" fmla="*/ 3364977 h 6851544"/>
              <a:gd name="connsiteX335" fmla="*/ 2564573 w 6901213"/>
              <a:gd name="connsiteY335" fmla="*/ 3324345 h 6851544"/>
              <a:gd name="connsiteX336" fmla="*/ 2560624 w 6901213"/>
              <a:gd name="connsiteY336" fmla="*/ 3320396 h 6851544"/>
              <a:gd name="connsiteX337" fmla="*/ 2556675 w 6901213"/>
              <a:gd name="connsiteY337" fmla="*/ 3324345 h 6851544"/>
              <a:gd name="connsiteX338" fmla="*/ 2560624 w 6901213"/>
              <a:gd name="connsiteY338" fmla="*/ 3328295 h 6851544"/>
              <a:gd name="connsiteX339" fmla="*/ 2564573 w 6901213"/>
              <a:gd name="connsiteY339" fmla="*/ 3324345 h 6851544"/>
              <a:gd name="connsiteX340" fmla="*/ 2381997 w 6901213"/>
              <a:gd name="connsiteY340" fmla="*/ 3310751 h 6851544"/>
              <a:gd name="connsiteX341" fmla="*/ 2378579 w 6901213"/>
              <a:gd name="connsiteY341" fmla="*/ 3307409 h 6851544"/>
              <a:gd name="connsiteX342" fmla="*/ 2375162 w 6901213"/>
              <a:gd name="connsiteY342" fmla="*/ 3310751 h 6851544"/>
              <a:gd name="connsiteX343" fmla="*/ 2378579 w 6901213"/>
              <a:gd name="connsiteY343" fmla="*/ 3314168 h 6851544"/>
              <a:gd name="connsiteX344" fmla="*/ 2381997 w 6901213"/>
              <a:gd name="connsiteY344" fmla="*/ 3310751 h 6851544"/>
              <a:gd name="connsiteX345" fmla="*/ 2199421 w 6901213"/>
              <a:gd name="connsiteY345" fmla="*/ 3324345 h 6851544"/>
              <a:gd name="connsiteX346" fmla="*/ 2196611 w 6901213"/>
              <a:gd name="connsiteY346" fmla="*/ 3321535 h 6851544"/>
              <a:gd name="connsiteX347" fmla="*/ 2193801 w 6901213"/>
              <a:gd name="connsiteY347" fmla="*/ 3324345 h 6851544"/>
              <a:gd name="connsiteX348" fmla="*/ 2196611 w 6901213"/>
              <a:gd name="connsiteY348" fmla="*/ 3327155 h 6851544"/>
              <a:gd name="connsiteX349" fmla="*/ 2199421 w 6901213"/>
              <a:gd name="connsiteY349" fmla="*/ 3324345 h 6851544"/>
              <a:gd name="connsiteX350" fmla="*/ 2020414 w 6901213"/>
              <a:gd name="connsiteY350" fmla="*/ 3364977 h 6851544"/>
              <a:gd name="connsiteX351" fmla="*/ 2018743 w 6901213"/>
              <a:gd name="connsiteY351" fmla="*/ 3363306 h 6851544"/>
              <a:gd name="connsiteX352" fmla="*/ 2017072 w 6901213"/>
              <a:gd name="connsiteY352" fmla="*/ 3364977 h 6851544"/>
              <a:gd name="connsiteX353" fmla="*/ 2018743 w 6901213"/>
              <a:gd name="connsiteY353" fmla="*/ 3366648 h 6851544"/>
              <a:gd name="connsiteX354" fmla="*/ 2020414 w 6901213"/>
              <a:gd name="connsiteY354" fmla="*/ 3364977 h 6851544"/>
              <a:gd name="connsiteX355" fmla="*/ 1849913 w 6901213"/>
              <a:gd name="connsiteY355" fmla="*/ 3431658 h 6851544"/>
              <a:gd name="connsiteX356" fmla="*/ 1848774 w 6901213"/>
              <a:gd name="connsiteY356" fmla="*/ 3430519 h 6851544"/>
              <a:gd name="connsiteX357" fmla="*/ 1847635 w 6901213"/>
              <a:gd name="connsiteY357" fmla="*/ 3431658 h 6851544"/>
              <a:gd name="connsiteX358" fmla="*/ 1848774 w 6901213"/>
              <a:gd name="connsiteY358" fmla="*/ 3432798 h 6851544"/>
              <a:gd name="connsiteX359" fmla="*/ 1849913 w 6901213"/>
              <a:gd name="connsiteY359" fmla="*/ 3431658 h 6851544"/>
              <a:gd name="connsiteX360" fmla="*/ 1691336 w 6901213"/>
              <a:gd name="connsiteY360" fmla="*/ 3522946 h 6851544"/>
              <a:gd name="connsiteX361" fmla="*/ 1690805 w 6901213"/>
              <a:gd name="connsiteY361" fmla="*/ 3522415 h 6851544"/>
              <a:gd name="connsiteX362" fmla="*/ 1690273 w 6901213"/>
              <a:gd name="connsiteY362" fmla="*/ 3522946 h 6851544"/>
              <a:gd name="connsiteX363" fmla="*/ 1690805 w 6901213"/>
              <a:gd name="connsiteY363" fmla="*/ 3523478 h 6851544"/>
              <a:gd name="connsiteX364" fmla="*/ 1691336 w 6901213"/>
              <a:gd name="connsiteY364" fmla="*/ 3522946 h 6851544"/>
              <a:gd name="connsiteX365" fmla="*/ 1548632 w 6901213"/>
              <a:gd name="connsiteY365" fmla="*/ 3636715 h 6851544"/>
              <a:gd name="connsiteX366" fmla="*/ 1548100 w 6901213"/>
              <a:gd name="connsiteY366" fmla="*/ 3636183 h 6851544"/>
              <a:gd name="connsiteX367" fmla="*/ 1547569 w 6901213"/>
              <a:gd name="connsiteY367" fmla="*/ 3636715 h 6851544"/>
              <a:gd name="connsiteX368" fmla="*/ 1548100 w 6901213"/>
              <a:gd name="connsiteY368" fmla="*/ 3637246 h 6851544"/>
              <a:gd name="connsiteX369" fmla="*/ 1548632 w 6901213"/>
              <a:gd name="connsiteY369" fmla="*/ 3636715 h 6851544"/>
              <a:gd name="connsiteX370" fmla="*/ 3493023 w 6901213"/>
              <a:gd name="connsiteY370" fmla="*/ 5420099 h 6851544"/>
              <a:gd name="connsiteX371" fmla="*/ 3492492 w 6901213"/>
              <a:gd name="connsiteY371" fmla="*/ 5419567 h 6851544"/>
              <a:gd name="connsiteX372" fmla="*/ 3491960 w 6901213"/>
              <a:gd name="connsiteY372" fmla="*/ 5420099 h 6851544"/>
              <a:gd name="connsiteX373" fmla="*/ 3492492 w 6901213"/>
              <a:gd name="connsiteY373" fmla="*/ 5420630 h 6851544"/>
              <a:gd name="connsiteX374" fmla="*/ 3493023 w 6901213"/>
              <a:gd name="connsiteY374" fmla="*/ 5420099 h 6851544"/>
              <a:gd name="connsiteX375" fmla="*/ 3598058 w 6901213"/>
              <a:gd name="connsiteY375" fmla="*/ 5270407 h 6851544"/>
              <a:gd name="connsiteX376" fmla="*/ 3596918 w 6901213"/>
              <a:gd name="connsiteY376" fmla="*/ 5269268 h 6851544"/>
              <a:gd name="connsiteX377" fmla="*/ 3595779 w 6901213"/>
              <a:gd name="connsiteY377" fmla="*/ 5270407 h 6851544"/>
              <a:gd name="connsiteX378" fmla="*/ 3596918 w 6901213"/>
              <a:gd name="connsiteY378" fmla="*/ 5271547 h 6851544"/>
              <a:gd name="connsiteX379" fmla="*/ 3598058 w 6901213"/>
              <a:gd name="connsiteY379" fmla="*/ 5270407 h 6851544"/>
              <a:gd name="connsiteX380" fmla="*/ 3683042 w 6901213"/>
              <a:gd name="connsiteY380" fmla="*/ 5108565 h 6851544"/>
              <a:gd name="connsiteX381" fmla="*/ 3681372 w 6901213"/>
              <a:gd name="connsiteY381" fmla="*/ 5106894 h 6851544"/>
              <a:gd name="connsiteX382" fmla="*/ 3679701 w 6901213"/>
              <a:gd name="connsiteY382" fmla="*/ 5108565 h 6851544"/>
              <a:gd name="connsiteX383" fmla="*/ 3681372 w 6901213"/>
              <a:gd name="connsiteY383" fmla="*/ 5110236 h 6851544"/>
              <a:gd name="connsiteX384" fmla="*/ 3683042 w 6901213"/>
              <a:gd name="connsiteY384" fmla="*/ 5108565 h 6851544"/>
              <a:gd name="connsiteX385" fmla="*/ 3746610 w 6901213"/>
              <a:gd name="connsiteY385" fmla="*/ 4937228 h 6851544"/>
              <a:gd name="connsiteX386" fmla="*/ 3744331 w 6901213"/>
              <a:gd name="connsiteY386" fmla="*/ 4934950 h 6851544"/>
              <a:gd name="connsiteX387" fmla="*/ 3742053 w 6901213"/>
              <a:gd name="connsiteY387" fmla="*/ 4937228 h 6851544"/>
              <a:gd name="connsiteX388" fmla="*/ 3744331 w 6901213"/>
              <a:gd name="connsiteY388" fmla="*/ 4939507 h 6851544"/>
              <a:gd name="connsiteX389" fmla="*/ 3746610 w 6901213"/>
              <a:gd name="connsiteY389" fmla="*/ 4937228 h 6851544"/>
              <a:gd name="connsiteX390" fmla="*/ 3788381 w 6901213"/>
              <a:gd name="connsiteY390" fmla="*/ 4759209 h 6851544"/>
              <a:gd name="connsiteX391" fmla="*/ 3784963 w 6901213"/>
              <a:gd name="connsiteY391" fmla="*/ 4755792 h 6851544"/>
              <a:gd name="connsiteX392" fmla="*/ 3781545 w 6901213"/>
              <a:gd name="connsiteY392" fmla="*/ 4759209 h 6851544"/>
              <a:gd name="connsiteX393" fmla="*/ 3784963 w 6901213"/>
              <a:gd name="connsiteY393" fmla="*/ 4762627 h 6851544"/>
              <a:gd name="connsiteX394" fmla="*/ 3788381 w 6901213"/>
              <a:gd name="connsiteY394" fmla="*/ 4759209 h 6851544"/>
              <a:gd name="connsiteX395" fmla="*/ 3806456 w 6901213"/>
              <a:gd name="connsiteY395" fmla="*/ 4577544 h 6851544"/>
              <a:gd name="connsiteX396" fmla="*/ 3802507 w 6901213"/>
              <a:gd name="connsiteY396" fmla="*/ 4573595 h 6851544"/>
              <a:gd name="connsiteX397" fmla="*/ 3798557 w 6901213"/>
              <a:gd name="connsiteY397" fmla="*/ 4577544 h 6851544"/>
              <a:gd name="connsiteX398" fmla="*/ 3802507 w 6901213"/>
              <a:gd name="connsiteY398" fmla="*/ 4581494 h 6851544"/>
              <a:gd name="connsiteX399" fmla="*/ 3806456 w 6901213"/>
              <a:gd name="connsiteY399" fmla="*/ 4577544 h 6851544"/>
              <a:gd name="connsiteX400" fmla="*/ 3801747 w 6901213"/>
              <a:gd name="connsiteY400" fmla="*/ 4395044 h 6851544"/>
              <a:gd name="connsiteX401" fmla="*/ 3796659 w 6901213"/>
              <a:gd name="connsiteY401" fmla="*/ 4389956 h 6851544"/>
              <a:gd name="connsiteX402" fmla="*/ 3791570 w 6901213"/>
              <a:gd name="connsiteY402" fmla="*/ 4395044 h 6851544"/>
              <a:gd name="connsiteX403" fmla="*/ 3796659 w 6901213"/>
              <a:gd name="connsiteY403" fmla="*/ 4400133 h 6851544"/>
              <a:gd name="connsiteX404" fmla="*/ 3801747 w 6901213"/>
              <a:gd name="connsiteY404" fmla="*/ 4395044 h 6851544"/>
              <a:gd name="connsiteX405" fmla="*/ 3773191 w 6901213"/>
              <a:gd name="connsiteY405" fmla="*/ 4214822 h 6851544"/>
              <a:gd name="connsiteX406" fmla="*/ 3767571 w 6901213"/>
              <a:gd name="connsiteY406" fmla="*/ 4209202 h 6851544"/>
              <a:gd name="connsiteX407" fmla="*/ 3761951 w 6901213"/>
              <a:gd name="connsiteY407" fmla="*/ 4214822 h 6851544"/>
              <a:gd name="connsiteX408" fmla="*/ 3767571 w 6901213"/>
              <a:gd name="connsiteY408" fmla="*/ 4220442 h 6851544"/>
              <a:gd name="connsiteX409" fmla="*/ 3773191 w 6901213"/>
              <a:gd name="connsiteY409" fmla="*/ 4214822 h 6851544"/>
              <a:gd name="connsiteX410" fmla="*/ 3721851 w 6901213"/>
              <a:gd name="connsiteY410" fmla="*/ 4039841 h 6851544"/>
              <a:gd name="connsiteX411" fmla="*/ 3715623 w 6901213"/>
              <a:gd name="connsiteY411" fmla="*/ 4033613 h 6851544"/>
              <a:gd name="connsiteX412" fmla="*/ 3709396 w 6901213"/>
              <a:gd name="connsiteY412" fmla="*/ 4039841 h 6851544"/>
              <a:gd name="connsiteX413" fmla="*/ 3715623 w 6901213"/>
              <a:gd name="connsiteY413" fmla="*/ 4046068 h 6851544"/>
              <a:gd name="connsiteX414" fmla="*/ 3721851 w 6901213"/>
              <a:gd name="connsiteY414" fmla="*/ 4039841 h 6851544"/>
              <a:gd name="connsiteX415" fmla="*/ 3648486 w 6901213"/>
              <a:gd name="connsiteY415" fmla="*/ 3872909 h 6851544"/>
              <a:gd name="connsiteX416" fmla="*/ 3641727 w 6901213"/>
              <a:gd name="connsiteY416" fmla="*/ 3866150 h 6851544"/>
              <a:gd name="connsiteX417" fmla="*/ 3634968 w 6901213"/>
              <a:gd name="connsiteY417" fmla="*/ 3872909 h 6851544"/>
              <a:gd name="connsiteX418" fmla="*/ 3641727 w 6901213"/>
              <a:gd name="connsiteY418" fmla="*/ 3879669 h 6851544"/>
              <a:gd name="connsiteX419" fmla="*/ 3648486 w 6901213"/>
              <a:gd name="connsiteY419" fmla="*/ 3872909 h 6851544"/>
              <a:gd name="connsiteX420" fmla="*/ 3554388 w 6901213"/>
              <a:gd name="connsiteY420" fmla="*/ 3716763 h 6851544"/>
              <a:gd name="connsiteX421" fmla="*/ 3547022 w 6901213"/>
              <a:gd name="connsiteY421" fmla="*/ 3709396 h 6851544"/>
              <a:gd name="connsiteX422" fmla="*/ 3539655 w 6901213"/>
              <a:gd name="connsiteY422" fmla="*/ 3716763 h 6851544"/>
              <a:gd name="connsiteX423" fmla="*/ 3547022 w 6901213"/>
              <a:gd name="connsiteY423" fmla="*/ 3724130 h 6851544"/>
              <a:gd name="connsiteX424" fmla="*/ 3554388 w 6901213"/>
              <a:gd name="connsiteY424" fmla="*/ 3716763 h 6851544"/>
              <a:gd name="connsiteX425" fmla="*/ 3440620 w 6901213"/>
              <a:gd name="connsiteY425" fmla="*/ 3574059 h 6851544"/>
              <a:gd name="connsiteX426" fmla="*/ 3433253 w 6901213"/>
              <a:gd name="connsiteY426" fmla="*/ 3566692 h 6851544"/>
              <a:gd name="connsiteX427" fmla="*/ 3425886 w 6901213"/>
              <a:gd name="connsiteY427" fmla="*/ 3574059 h 6851544"/>
              <a:gd name="connsiteX428" fmla="*/ 3433253 w 6901213"/>
              <a:gd name="connsiteY428" fmla="*/ 3581425 h 6851544"/>
              <a:gd name="connsiteX429" fmla="*/ 3440620 w 6901213"/>
              <a:gd name="connsiteY429" fmla="*/ 3574059 h 6851544"/>
              <a:gd name="connsiteX430" fmla="*/ 3309460 w 6901213"/>
              <a:gd name="connsiteY430" fmla="*/ 3447075 h 6851544"/>
              <a:gd name="connsiteX431" fmla="*/ 3302093 w 6901213"/>
              <a:gd name="connsiteY431" fmla="*/ 3439709 h 6851544"/>
              <a:gd name="connsiteX432" fmla="*/ 3294726 w 6901213"/>
              <a:gd name="connsiteY432" fmla="*/ 3447075 h 6851544"/>
              <a:gd name="connsiteX433" fmla="*/ 3302093 w 6901213"/>
              <a:gd name="connsiteY433" fmla="*/ 3454442 h 6851544"/>
              <a:gd name="connsiteX434" fmla="*/ 3309460 w 6901213"/>
              <a:gd name="connsiteY434" fmla="*/ 3447075 h 6851544"/>
              <a:gd name="connsiteX435" fmla="*/ 3163186 w 6901213"/>
              <a:gd name="connsiteY435" fmla="*/ 3337864 h 6851544"/>
              <a:gd name="connsiteX436" fmla="*/ 3155819 w 6901213"/>
              <a:gd name="connsiteY436" fmla="*/ 3330497 h 6851544"/>
              <a:gd name="connsiteX437" fmla="*/ 3148452 w 6901213"/>
              <a:gd name="connsiteY437" fmla="*/ 3337864 h 6851544"/>
              <a:gd name="connsiteX438" fmla="*/ 3155819 w 6901213"/>
              <a:gd name="connsiteY438" fmla="*/ 3345231 h 6851544"/>
              <a:gd name="connsiteX439" fmla="*/ 3163186 w 6901213"/>
              <a:gd name="connsiteY439" fmla="*/ 3337864 h 6851544"/>
              <a:gd name="connsiteX440" fmla="*/ 3003546 w 6901213"/>
              <a:gd name="connsiteY440" fmla="*/ 3248323 h 6851544"/>
              <a:gd name="connsiteX441" fmla="*/ 2996787 w 6901213"/>
              <a:gd name="connsiteY441" fmla="*/ 3241563 h 6851544"/>
              <a:gd name="connsiteX442" fmla="*/ 2990027 w 6901213"/>
              <a:gd name="connsiteY442" fmla="*/ 3248323 h 6851544"/>
              <a:gd name="connsiteX443" fmla="*/ 2996787 w 6901213"/>
              <a:gd name="connsiteY443" fmla="*/ 3255082 h 6851544"/>
              <a:gd name="connsiteX444" fmla="*/ 3003546 w 6901213"/>
              <a:gd name="connsiteY444" fmla="*/ 3248323 h 6851544"/>
              <a:gd name="connsiteX445" fmla="*/ 2833729 w 6901213"/>
              <a:gd name="connsiteY445" fmla="*/ 3179818 h 6851544"/>
              <a:gd name="connsiteX446" fmla="*/ 2827501 w 6901213"/>
              <a:gd name="connsiteY446" fmla="*/ 3173591 h 6851544"/>
              <a:gd name="connsiteX447" fmla="*/ 2821274 w 6901213"/>
              <a:gd name="connsiteY447" fmla="*/ 3179818 h 6851544"/>
              <a:gd name="connsiteX448" fmla="*/ 2827501 w 6901213"/>
              <a:gd name="connsiteY448" fmla="*/ 3186046 h 6851544"/>
              <a:gd name="connsiteX449" fmla="*/ 2833729 w 6901213"/>
              <a:gd name="connsiteY449" fmla="*/ 3179818 h 6851544"/>
              <a:gd name="connsiteX450" fmla="*/ 2656621 w 6901213"/>
              <a:gd name="connsiteY450" fmla="*/ 3133491 h 6851544"/>
              <a:gd name="connsiteX451" fmla="*/ 2651001 w 6901213"/>
              <a:gd name="connsiteY451" fmla="*/ 3127871 h 6851544"/>
              <a:gd name="connsiteX452" fmla="*/ 2645381 w 6901213"/>
              <a:gd name="connsiteY452" fmla="*/ 3133491 h 6851544"/>
              <a:gd name="connsiteX453" fmla="*/ 2651001 w 6901213"/>
              <a:gd name="connsiteY453" fmla="*/ 3139111 h 6851544"/>
              <a:gd name="connsiteX454" fmla="*/ 2656621 w 6901213"/>
              <a:gd name="connsiteY454" fmla="*/ 3133491 h 6851544"/>
              <a:gd name="connsiteX455" fmla="*/ 2474424 w 6901213"/>
              <a:gd name="connsiteY455" fmla="*/ 3110175 h 6851544"/>
              <a:gd name="connsiteX456" fmla="*/ 2469867 w 6901213"/>
              <a:gd name="connsiteY456" fmla="*/ 3105694 h 6851544"/>
              <a:gd name="connsiteX457" fmla="*/ 2465386 w 6901213"/>
              <a:gd name="connsiteY457" fmla="*/ 3110175 h 6851544"/>
              <a:gd name="connsiteX458" fmla="*/ 2469867 w 6901213"/>
              <a:gd name="connsiteY458" fmla="*/ 3114732 h 6851544"/>
              <a:gd name="connsiteX459" fmla="*/ 2474424 w 6901213"/>
              <a:gd name="connsiteY459" fmla="*/ 3110175 h 6851544"/>
              <a:gd name="connsiteX460" fmla="*/ 2291316 w 6901213"/>
              <a:gd name="connsiteY460" fmla="*/ 3110175 h 6851544"/>
              <a:gd name="connsiteX461" fmla="*/ 2287367 w 6901213"/>
              <a:gd name="connsiteY461" fmla="*/ 3106226 h 6851544"/>
              <a:gd name="connsiteX462" fmla="*/ 2283418 w 6901213"/>
              <a:gd name="connsiteY462" fmla="*/ 3110175 h 6851544"/>
              <a:gd name="connsiteX463" fmla="*/ 2287367 w 6901213"/>
              <a:gd name="connsiteY463" fmla="*/ 3114124 h 6851544"/>
              <a:gd name="connsiteX464" fmla="*/ 2291316 w 6901213"/>
              <a:gd name="connsiteY464" fmla="*/ 3110175 h 6851544"/>
              <a:gd name="connsiteX465" fmla="*/ 2109120 w 6901213"/>
              <a:gd name="connsiteY465" fmla="*/ 3133491 h 6851544"/>
              <a:gd name="connsiteX466" fmla="*/ 2106310 w 6901213"/>
              <a:gd name="connsiteY466" fmla="*/ 3130681 h 6851544"/>
              <a:gd name="connsiteX467" fmla="*/ 2103500 w 6901213"/>
              <a:gd name="connsiteY467" fmla="*/ 3133491 h 6851544"/>
              <a:gd name="connsiteX468" fmla="*/ 2106310 w 6901213"/>
              <a:gd name="connsiteY468" fmla="*/ 3136301 h 6851544"/>
              <a:gd name="connsiteX469" fmla="*/ 2109120 w 6901213"/>
              <a:gd name="connsiteY469" fmla="*/ 3133491 h 6851544"/>
              <a:gd name="connsiteX470" fmla="*/ 1931936 w 6901213"/>
              <a:gd name="connsiteY470" fmla="*/ 3179818 h 6851544"/>
              <a:gd name="connsiteX471" fmla="*/ 1929657 w 6901213"/>
              <a:gd name="connsiteY471" fmla="*/ 3177540 h 6851544"/>
              <a:gd name="connsiteX472" fmla="*/ 1927379 w 6901213"/>
              <a:gd name="connsiteY472" fmla="*/ 3179818 h 6851544"/>
              <a:gd name="connsiteX473" fmla="*/ 1929657 w 6901213"/>
              <a:gd name="connsiteY473" fmla="*/ 3182097 h 6851544"/>
              <a:gd name="connsiteX474" fmla="*/ 1931936 w 6901213"/>
              <a:gd name="connsiteY474" fmla="*/ 3179818 h 6851544"/>
              <a:gd name="connsiteX475" fmla="*/ 1761663 w 6901213"/>
              <a:gd name="connsiteY475" fmla="*/ 3248323 h 6851544"/>
              <a:gd name="connsiteX476" fmla="*/ 1760524 w 6901213"/>
              <a:gd name="connsiteY476" fmla="*/ 3247183 h 6851544"/>
              <a:gd name="connsiteX477" fmla="*/ 1759385 w 6901213"/>
              <a:gd name="connsiteY477" fmla="*/ 3248323 h 6851544"/>
              <a:gd name="connsiteX478" fmla="*/ 1760524 w 6901213"/>
              <a:gd name="connsiteY478" fmla="*/ 3249462 h 6851544"/>
              <a:gd name="connsiteX479" fmla="*/ 1761663 w 6901213"/>
              <a:gd name="connsiteY479" fmla="*/ 3248323 h 6851544"/>
              <a:gd name="connsiteX480" fmla="*/ 1602554 w 6901213"/>
              <a:gd name="connsiteY480" fmla="*/ 3337864 h 6851544"/>
              <a:gd name="connsiteX481" fmla="*/ 1601415 w 6901213"/>
              <a:gd name="connsiteY481" fmla="*/ 3336725 h 6851544"/>
              <a:gd name="connsiteX482" fmla="*/ 1600276 w 6901213"/>
              <a:gd name="connsiteY482" fmla="*/ 3337864 h 6851544"/>
              <a:gd name="connsiteX483" fmla="*/ 1601415 w 6901213"/>
              <a:gd name="connsiteY483" fmla="*/ 3339003 h 6851544"/>
              <a:gd name="connsiteX484" fmla="*/ 1602554 w 6901213"/>
              <a:gd name="connsiteY484" fmla="*/ 3337864 h 6851544"/>
              <a:gd name="connsiteX485" fmla="*/ 1455673 w 6901213"/>
              <a:gd name="connsiteY485" fmla="*/ 3447075 h 6851544"/>
              <a:gd name="connsiteX486" fmla="*/ 1455142 w 6901213"/>
              <a:gd name="connsiteY486" fmla="*/ 3446544 h 6851544"/>
              <a:gd name="connsiteX487" fmla="*/ 1454610 w 6901213"/>
              <a:gd name="connsiteY487" fmla="*/ 3447075 h 6851544"/>
              <a:gd name="connsiteX488" fmla="*/ 1455142 w 6901213"/>
              <a:gd name="connsiteY488" fmla="*/ 3447607 h 6851544"/>
              <a:gd name="connsiteX489" fmla="*/ 1455673 w 6901213"/>
              <a:gd name="connsiteY489" fmla="*/ 3447075 h 6851544"/>
              <a:gd name="connsiteX490" fmla="*/ 3652132 w 6901213"/>
              <a:gd name="connsiteY490" fmla="*/ 5547006 h 6851544"/>
              <a:gd name="connsiteX491" fmla="*/ 3651600 w 6901213"/>
              <a:gd name="connsiteY491" fmla="*/ 5546474 h 6851544"/>
              <a:gd name="connsiteX492" fmla="*/ 3651069 w 6901213"/>
              <a:gd name="connsiteY492" fmla="*/ 5547006 h 6851544"/>
              <a:gd name="connsiteX493" fmla="*/ 3651600 w 6901213"/>
              <a:gd name="connsiteY493" fmla="*/ 5547538 h 6851544"/>
              <a:gd name="connsiteX494" fmla="*/ 3652132 w 6901213"/>
              <a:gd name="connsiteY494" fmla="*/ 5547006 h 6851544"/>
              <a:gd name="connsiteX495" fmla="*/ 3758381 w 6901213"/>
              <a:gd name="connsiteY495" fmla="*/ 5398074 h 6851544"/>
              <a:gd name="connsiteX496" fmla="*/ 3757242 w 6901213"/>
              <a:gd name="connsiteY496" fmla="*/ 5396935 h 6851544"/>
              <a:gd name="connsiteX497" fmla="*/ 3756103 w 6901213"/>
              <a:gd name="connsiteY497" fmla="*/ 5398074 h 6851544"/>
              <a:gd name="connsiteX498" fmla="*/ 3757242 w 6901213"/>
              <a:gd name="connsiteY498" fmla="*/ 5399213 h 6851544"/>
              <a:gd name="connsiteX499" fmla="*/ 3758381 w 6901213"/>
              <a:gd name="connsiteY499" fmla="*/ 5398074 h 6851544"/>
              <a:gd name="connsiteX500" fmla="*/ 3847239 w 6901213"/>
              <a:gd name="connsiteY500" fmla="*/ 5238282 h 6851544"/>
              <a:gd name="connsiteX501" fmla="*/ 3845569 w 6901213"/>
              <a:gd name="connsiteY501" fmla="*/ 5236611 h 6851544"/>
              <a:gd name="connsiteX502" fmla="*/ 3843898 w 6901213"/>
              <a:gd name="connsiteY502" fmla="*/ 5238282 h 6851544"/>
              <a:gd name="connsiteX503" fmla="*/ 3845569 w 6901213"/>
              <a:gd name="connsiteY503" fmla="*/ 5239953 h 6851544"/>
              <a:gd name="connsiteX504" fmla="*/ 3847239 w 6901213"/>
              <a:gd name="connsiteY504" fmla="*/ 5238282 h 6851544"/>
              <a:gd name="connsiteX505" fmla="*/ 3918250 w 6901213"/>
              <a:gd name="connsiteY505" fmla="*/ 5069604 h 6851544"/>
              <a:gd name="connsiteX506" fmla="*/ 3915440 w 6901213"/>
              <a:gd name="connsiteY506" fmla="*/ 5066794 h 6851544"/>
              <a:gd name="connsiteX507" fmla="*/ 3912630 w 6901213"/>
              <a:gd name="connsiteY507" fmla="*/ 5069604 h 6851544"/>
              <a:gd name="connsiteX508" fmla="*/ 3915440 w 6901213"/>
              <a:gd name="connsiteY508" fmla="*/ 5072414 h 6851544"/>
              <a:gd name="connsiteX509" fmla="*/ 3918250 w 6901213"/>
              <a:gd name="connsiteY509" fmla="*/ 5069604 h 6851544"/>
              <a:gd name="connsiteX510" fmla="*/ 3969362 w 6901213"/>
              <a:gd name="connsiteY510" fmla="*/ 4894167 h 6851544"/>
              <a:gd name="connsiteX511" fmla="*/ 3965944 w 6901213"/>
              <a:gd name="connsiteY511" fmla="*/ 4890749 h 6851544"/>
              <a:gd name="connsiteX512" fmla="*/ 3962527 w 6901213"/>
              <a:gd name="connsiteY512" fmla="*/ 4894167 h 6851544"/>
              <a:gd name="connsiteX513" fmla="*/ 3965944 w 6901213"/>
              <a:gd name="connsiteY513" fmla="*/ 4897584 h 6851544"/>
              <a:gd name="connsiteX514" fmla="*/ 3969362 w 6901213"/>
              <a:gd name="connsiteY514" fmla="*/ 4894167 h 6851544"/>
              <a:gd name="connsiteX515" fmla="*/ 4001032 w 6901213"/>
              <a:gd name="connsiteY515" fmla="*/ 4714173 h 6851544"/>
              <a:gd name="connsiteX516" fmla="*/ 3996475 w 6901213"/>
              <a:gd name="connsiteY516" fmla="*/ 4709692 h 6851544"/>
              <a:gd name="connsiteX517" fmla="*/ 3991994 w 6901213"/>
              <a:gd name="connsiteY517" fmla="*/ 4714173 h 6851544"/>
              <a:gd name="connsiteX518" fmla="*/ 3996475 w 6901213"/>
              <a:gd name="connsiteY518" fmla="*/ 4718654 h 6851544"/>
              <a:gd name="connsiteX519" fmla="*/ 4001032 w 6901213"/>
              <a:gd name="connsiteY519" fmla="*/ 4714173 h 6851544"/>
              <a:gd name="connsiteX520" fmla="*/ 4011892 w 6901213"/>
              <a:gd name="connsiteY520" fmla="*/ 4531824 h 6851544"/>
              <a:gd name="connsiteX521" fmla="*/ 4006804 w 6901213"/>
              <a:gd name="connsiteY521" fmla="*/ 4526736 h 6851544"/>
              <a:gd name="connsiteX522" fmla="*/ 4001715 w 6901213"/>
              <a:gd name="connsiteY522" fmla="*/ 4531824 h 6851544"/>
              <a:gd name="connsiteX523" fmla="*/ 4006804 w 6901213"/>
              <a:gd name="connsiteY523" fmla="*/ 4536913 h 6851544"/>
              <a:gd name="connsiteX524" fmla="*/ 4011892 w 6901213"/>
              <a:gd name="connsiteY524" fmla="*/ 4531824 h 6851544"/>
              <a:gd name="connsiteX525" fmla="*/ 4002778 w 6901213"/>
              <a:gd name="connsiteY525" fmla="*/ 4349552 h 6851544"/>
              <a:gd name="connsiteX526" fmla="*/ 3996551 w 6901213"/>
              <a:gd name="connsiteY526" fmla="*/ 4343325 h 6851544"/>
              <a:gd name="connsiteX527" fmla="*/ 3990323 w 6901213"/>
              <a:gd name="connsiteY527" fmla="*/ 4349552 h 6851544"/>
              <a:gd name="connsiteX528" fmla="*/ 3996551 w 6901213"/>
              <a:gd name="connsiteY528" fmla="*/ 4355779 h 6851544"/>
              <a:gd name="connsiteX529" fmla="*/ 4002778 w 6901213"/>
              <a:gd name="connsiteY529" fmla="*/ 4349552 h 6851544"/>
              <a:gd name="connsiteX530" fmla="*/ 3972704 w 6901213"/>
              <a:gd name="connsiteY530" fmla="*/ 4169558 h 6851544"/>
              <a:gd name="connsiteX531" fmla="*/ 3965944 w 6901213"/>
              <a:gd name="connsiteY531" fmla="*/ 4162799 h 6851544"/>
              <a:gd name="connsiteX532" fmla="*/ 3959185 w 6901213"/>
              <a:gd name="connsiteY532" fmla="*/ 4169558 h 6851544"/>
              <a:gd name="connsiteX533" fmla="*/ 3965944 w 6901213"/>
              <a:gd name="connsiteY533" fmla="*/ 4176317 h 6851544"/>
              <a:gd name="connsiteX534" fmla="*/ 3972704 w 6901213"/>
              <a:gd name="connsiteY534" fmla="*/ 4169558 h 6851544"/>
              <a:gd name="connsiteX535" fmla="*/ 3923338 w 6901213"/>
              <a:gd name="connsiteY535" fmla="*/ 3994120 h 6851544"/>
              <a:gd name="connsiteX536" fmla="*/ 3915440 w 6901213"/>
              <a:gd name="connsiteY536" fmla="*/ 3986222 h 6851544"/>
              <a:gd name="connsiteX537" fmla="*/ 3907541 w 6901213"/>
              <a:gd name="connsiteY537" fmla="*/ 3994120 h 6851544"/>
              <a:gd name="connsiteX538" fmla="*/ 3915440 w 6901213"/>
              <a:gd name="connsiteY538" fmla="*/ 4002019 h 6851544"/>
              <a:gd name="connsiteX539" fmla="*/ 3923338 w 6901213"/>
              <a:gd name="connsiteY539" fmla="*/ 3994120 h 6851544"/>
              <a:gd name="connsiteX540" fmla="*/ 3853999 w 6901213"/>
              <a:gd name="connsiteY540" fmla="*/ 3825443 h 6851544"/>
              <a:gd name="connsiteX541" fmla="*/ 3845569 w 6901213"/>
              <a:gd name="connsiteY541" fmla="*/ 3817013 h 6851544"/>
              <a:gd name="connsiteX542" fmla="*/ 3837138 w 6901213"/>
              <a:gd name="connsiteY542" fmla="*/ 3825443 h 6851544"/>
              <a:gd name="connsiteX543" fmla="*/ 3845569 w 6901213"/>
              <a:gd name="connsiteY543" fmla="*/ 3833873 h 6851544"/>
              <a:gd name="connsiteX544" fmla="*/ 3853999 w 6901213"/>
              <a:gd name="connsiteY544" fmla="*/ 3825443 h 6851544"/>
              <a:gd name="connsiteX545" fmla="*/ 3765672 w 6901213"/>
              <a:gd name="connsiteY545" fmla="*/ 3665650 h 6851544"/>
              <a:gd name="connsiteX546" fmla="*/ 3757242 w 6901213"/>
              <a:gd name="connsiteY546" fmla="*/ 3657220 h 6851544"/>
              <a:gd name="connsiteX547" fmla="*/ 3748812 w 6901213"/>
              <a:gd name="connsiteY547" fmla="*/ 3665650 h 6851544"/>
              <a:gd name="connsiteX548" fmla="*/ 3757242 w 6901213"/>
              <a:gd name="connsiteY548" fmla="*/ 3674157 h 6851544"/>
              <a:gd name="connsiteX549" fmla="*/ 3765672 w 6901213"/>
              <a:gd name="connsiteY549" fmla="*/ 3665650 h 6851544"/>
              <a:gd name="connsiteX550" fmla="*/ 3660638 w 6901213"/>
              <a:gd name="connsiteY550" fmla="*/ 3516719 h 6851544"/>
              <a:gd name="connsiteX551" fmla="*/ 3651600 w 6901213"/>
              <a:gd name="connsiteY551" fmla="*/ 3507681 h 6851544"/>
              <a:gd name="connsiteX552" fmla="*/ 3642563 w 6901213"/>
              <a:gd name="connsiteY552" fmla="*/ 3516719 h 6851544"/>
              <a:gd name="connsiteX553" fmla="*/ 3651600 w 6901213"/>
              <a:gd name="connsiteY553" fmla="*/ 3525756 h 6851544"/>
              <a:gd name="connsiteX554" fmla="*/ 3660638 w 6901213"/>
              <a:gd name="connsiteY554" fmla="*/ 3516719 h 6851544"/>
              <a:gd name="connsiteX555" fmla="*/ 3538971 w 6901213"/>
              <a:gd name="connsiteY555" fmla="*/ 3380546 h 6851544"/>
              <a:gd name="connsiteX556" fmla="*/ 3529933 w 6901213"/>
              <a:gd name="connsiteY556" fmla="*/ 3371508 h 6851544"/>
              <a:gd name="connsiteX557" fmla="*/ 3520896 w 6901213"/>
              <a:gd name="connsiteY557" fmla="*/ 3380546 h 6851544"/>
              <a:gd name="connsiteX558" fmla="*/ 3529933 w 6901213"/>
              <a:gd name="connsiteY558" fmla="*/ 3389584 h 6851544"/>
              <a:gd name="connsiteX559" fmla="*/ 3538971 w 6901213"/>
              <a:gd name="connsiteY559" fmla="*/ 3380546 h 6851544"/>
              <a:gd name="connsiteX560" fmla="*/ 3402798 w 6901213"/>
              <a:gd name="connsiteY560" fmla="*/ 3258879 h 6851544"/>
              <a:gd name="connsiteX561" fmla="*/ 3393761 w 6901213"/>
              <a:gd name="connsiteY561" fmla="*/ 3249841 h 6851544"/>
              <a:gd name="connsiteX562" fmla="*/ 3384723 w 6901213"/>
              <a:gd name="connsiteY562" fmla="*/ 3258879 h 6851544"/>
              <a:gd name="connsiteX563" fmla="*/ 3393761 w 6901213"/>
              <a:gd name="connsiteY563" fmla="*/ 3267917 h 6851544"/>
              <a:gd name="connsiteX564" fmla="*/ 3402798 w 6901213"/>
              <a:gd name="connsiteY564" fmla="*/ 3258879 h 6851544"/>
              <a:gd name="connsiteX565" fmla="*/ 3253335 w 6901213"/>
              <a:gd name="connsiteY565" fmla="*/ 3153237 h 6851544"/>
              <a:gd name="connsiteX566" fmla="*/ 3244905 w 6901213"/>
              <a:gd name="connsiteY566" fmla="*/ 3144807 h 6851544"/>
              <a:gd name="connsiteX567" fmla="*/ 3236475 w 6901213"/>
              <a:gd name="connsiteY567" fmla="*/ 3153237 h 6851544"/>
              <a:gd name="connsiteX568" fmla="*/ 3244905 w 6901213"/>
              <a:gd name="connsiteY568" fmla="*/ 3161667 h 6851544"/>
              <a:gd name="connsiteX569" fmla="*/ 3253335 w 6901213"/>
              <a:gd name="connsiteY569" fmla="*/ 3153237 h 6851544"/>
              <a:gd name="connsiteX570" fmla="*/ 3093543 w 6901213"/>
              <a:gd name="connsiteY570" fmla="*/ 3064911 h 6851544"/>
              <a:gd name="connsiteX571" fmla="*/ 3085037 w 6901213"/>
              <a:gd name="connsiteY571" fmla="*/ 3056481 h 6851544"/>
              <a:gd name="connsiteX572" fmla="*/ 3076607 w 6901213"/>
              <a:gd name="connsiteY572" fmla="*/ 3064911 h 6851544"/>
              <a:gd name="connsiteX573" fmla="*/ 3085037 w 6901213"/>
              <a:gd name="connsiteY573" fmla="*/ 3073341 h 6851544"/>
              <a:gd name="connsiteX574" fmla="*/ 3093543 w 6901213"/>
              <a:gd name="connsiteY574" fmla="*/ 3064911 h 6851544"/>
              <a:gd name="connsiteX575" fmla="*/ 2924257 w 6901213"/>
              <a:gd name="connsiteY575" fmla="*/ 2995040 h 6851544"/>
              <a:gd name="connsiteX576" fmla="*/ 2916359 w 6901213"/>
              <a:gd name="connsiteY576" fmla="*/ 2987141 h 6851544"/>
              <a:gd name="connsiteX577" fmla="*/ 2908460 w 6901213"/>
              <a:gd name="connsiteY577" fmla="*/ 2995040 h 6851544"/>
              <a:gd name="connsiteX578" fmla="*/ 2916359 w 6901213"/>
              <a:gd name="connsiteY578" fmla="*/ 3002938 h 6851544"/>
              <a:gd name="connsiteX579" fmla="*/ 2924257 w 6901213"/>
              <a:gd name="connsiteY579" fmla="*/ 2995040 h 6851544"/>
              <a:gd name="connsiteX580" fmla="*/ 2747681 w 6901213"/>
              <a:gd name="connsiteY580" fmla="*/ 2944535 h 6851544"/>
              <a:gd name="connsiteX581" fmla="*/ 2740922 w 6901213"/>
              <a:gd name="connsiteY581" fmla="*/ 2937776 h 6851544"/>
              <a:gd name="connsiteX582" fmla="*/ 2734162 w 6901213"/>
              <a:gd name="connsiteY582" fmla="*/ 2944535 h 6851544"/>
              <a:gd name="connsiteX583" fmla="*/ 2740922 w 6901213"/>
              <a:gd name="connsiteY583" fmla="*/ 2951294 h 6851544"/>
              <a:gd name="connsiteX584" fmla="*/ 2747681 w 6901213"/>
              <a:gd name="connsiteY584" fmla="*/ 2944535 h 6851544"/>
              <a:gd name="connsiteX585" fmla="*/ 2567155 w 6901213"/>
              <a:gd name="connsiteY585" fmla="*/ 2913929 h 6851544"/>
              <a:gd name="connsiteX586" fmla="*/ 2560928 w 6901213"/>
              <a:gd name="connsiteY586" fmla="*/ 2907701 h 6851544"/>
              <a:gd name="connsiteX587" fmla="*/ 2554700 w 6901213"/>
              <a:gd name="connsiteY587" fmla="*/ 2913929 h 6851544"/>
              <a:gd name="connsiteX588" fmla="*/ 2560928 w 6901213"/>
              <a:gd name="connsiteY588" fmla="*/ 2920156 h 6851544"/>
              <a:gd name="connsiteX589" fmla="*/ 2567155 w 6901213"/>
              <a:gd name="connsiteY589" fmla="*/ 2913929 h 6851544"/>
              <a:gd name="connsiteX590" fmla="*/ 2383744 w 6901213"/>
              <a:gd name="connsiteY590" fmla="*/ 2903676 h 6851544"/>
              <a:gd name="connsiteX591" fmla="*/ 2378655 w 6901213"/>
              <a:gd name="connsiteY591" fmla="*/ 2898587 h 6851544"/>
              <a:gd name="connsiteX592" fmla="*/ 2373567 w 6901213"/>
              <a:gd name="connsiteY592" fmla="*/ 2903676 h 6851544"/>
              <a:gd name="connsiteX593" fmla="*/ 2378655 w 6901213"/>
              <a:gd name="connsiteY593" fmla="*/ 2908764 h 6851544"/>
              <a:gd name="connsiteX594" fmla="*/ 2383744 w 6901213"/>
              <a:gd name="connsiteY594" fmla="*/ 2903676 h 6851544"/>
              <a:gd name="connsiteX595" fmla="*/ 2200864 w 6901213"/>
              <a:gd name="connsiteY595" fmla="*/ 2913929 h 6851544"/>
              <a:gd name="connsiteX596" fmla="*/ 2196307 w 6901213"/>
              <a:gd name="connsiteY596" fmla="*/ 2909448 h 6851544"/>
              <a:gd name="connsiteX597" fmla="*/ 2191826 w 6901213"/>
              <a:gd name="connsiteY597" fmla="*/ 2913929 h 6851544"/>
              <a:gd name="connsiteX598" fmla="*/ 2196307 w 6901213"/>
              <a:gd name="connsiteY598" fmla="*/ 2918486 h 6851544"/>
              <a:gd name="connsiteX599" fmla="*/ 2200864 w 6901213"/>
              <a:gd name="connsiteY599" fmla="*/ 2913929 h 6851544"/>
              <a:gd name="connsiteX600" fmla="*/ 2019730 w 6901213"/>
              <a:gd name="connsiteY600" fmla="*/ 2944535 h 6851544"/>
              <a:gd name="connsiteX601" fmla="*/ 2016313 w 6901213"/>
              <a:gd name="connsiteY601" fmla="*/ 2941118 h 6851544"/>
              <a:gd name="connsiteX602" fmla="*/ 2012895 w 6901213"/>
              <a:gd name="connsiteY602" fmla="*/ 2944535 h 6851544"/>
              <a:gd name="connsiteX603" fmla="*/ 2016313 w 6901213"/>
              <a:gd name="connsiteY603" fmla="*/ 2947953 h 6851544"/>
              <a:gd name="connsiteX604" fmla="*/ 2019730 w 6901213"/>
              <a:gd name="connsiteY604" fmla="*/ 2944535 h 6851544"/>
              <a:gd name="connsiteX605" fmla="*/ 1843686 w 6901213"/>
              <a:gd name="connsiteY605" fmla="*/ 2995040 h 6851544"/>
              <a:gd name="connsiteX606" fmla="*/ 1840876 w 6901213"/>
              <a:gd name="connsiteY606" fmla="*/ 2992230 h 6851544"/>
              <a:gd name="connsiteX607" fmla="*/ 1838066 w 6901213"/>
              <a:gd name="connsiteY607" fmla="*/ 2995040 h 6851544"/>
              <a:gd name="connsiteX608" fmla="*/ 1840876 w 6901213"/>
              <a:gd name="connsiteY608" fmla="*/ 2997850 h 6851544"/>
              <a:gd name="connsiteX609" fmla="*/ 1843686 w 6901213"/>
              <a:gd name="connsiteY609" fmla="*/ 2995040 h 6851544"/>
              <a:gd name="connsiteX610" fmla="*/ 1673868 w 6901213"/>
              <a:gd name="connsiteY610" fmla="*/ 3064911 h 6851544"/>
              <a:gd name="connsiteX611" fmla="*/ 1672198 w 6901213"/>
              <a:gd name="connsiteY611" fmla="*/ 3063240 h 6851544"/>
              <a:gd name="connsiteX612" fmla="*/ 1670527 w 6901213"/>
              <a:gd name="connsiteY612" fmla="*/ 3064911 h 6851544"/>
              <a:gd name="connsiteX613" fmla="*/ 1672198 w 6901213"/>
              <a:gd name="connsiteY613" fmla="*/ 3066582 h 6851544"/>
              <a:gd name="connsiteX614" fmla="*/ 1673868 w 6901213"/>
              <a:gd name="connsiteY614" fmla="*/ 3064911 h 6851544"/>
              <a:gd name="connsiteX615" fmla="*/ 1513545 w 6901213"/>
              <a:gd name="connsiteY615" fmla="*/ 3153237 h 6851544"/>
              <a:gd name="connsiteX616" fmla="*/ 1512405 w 6901213"/>
              <a:gd name="connsiteY616" fmla="*/ 3152098 h 6851544"/>
              <a:gd name="connsiteX617" fmla="*/ 1511266 w 6901213"/>
              <a:gd name="connsiteY617" fmla="*/ 3153237 h 6851544"/>
              <a:gd name="connsiteX618" fmla="*/ 1512405 w 6901213"/>
              <a:gd name="connsiteY618" fmla="*/ 3154376 h 6851544"/>
              <a:gd name="connsiteX619" fmla="*/ 1513545 w 6901213"/>
              <a:gd name="connsiteY619" fmla="*/ 3153237 h 6851544"/>
              <a:gd name="connsiteX620" fmla="*/ 1364081 w 6901213"/>
              <a:gd name="connsiteY620" fmla="*/ 3258879 h 6851544"/>
              <a:gd name="connsiteX621" fmla="*/ 1363550 w 6901213"/>
              <a:gd name="connsiteY621" fmla="*/ 3258348 h 6851544"/>
              <a:gd name="connsiteX622" fmla="*/ 1363018 w 6901213"/>
              <a:gd name="connsiteY622" fmla="*/ 3258879 h 6851544"/>
              <a:gd name="connsiteX623" fmla="*/ 1363550 w 6901213"/>
              <a:gd name="connsiteY623" fmla="*/ 3259411 h 6851544"/>
              <a:gd name="connsiteX624" fmla="*/ 1364081 w 6901213"/>
              <a:gd name="connsiteY624" fmla="*/ 3258879 h 6851544"/>
              <a:gd name="connsiteX625" fmla="*/ 3690409 w 6901213"/>
              <a:gd name="connsiteY625" fmla="*/ 5810769 h 6851544"/>
              <a:gd name="connsiteX626" fmla="*/ 3689878 w 6901213"/>
              <a:gd name="connsiteY626" fmla="*/ 5810238 h 6851544"/>
              <a:gd name="connsiteX627" fmla="*/ 3689346 w 6901213"/>
              <a:gd name="connsiteY627" fmla="*/ 5810769 h 6851544"/>
              <a:gd name="connsiteX628" fmla="*/ 3689878 w 6901213"/>
              <a:gd name="connsiteY628" fmla="*/ 5811301 h 6851544"/>
              <a:gd name="connsiteX629" fmla="*/ 3690409 w 6901213"/>
              <a:gd name="connsiteY629" fmla="*/ 5810769 h 6851544"/>
              <a:gd name="connsiteX630" fmla="*/ 3811240 w 6901213"/>
              <a:gd name="connsiteY630" fmla="*/ 5673913 h 6851544"/>
              <a:gd name="connsiteX631" fmla="*/ 3810709 w 6901213"/>
              <a:gd name="connsiteY631" fmla="*/ 5673381 h 6851544"/>
              <a:gd name="connsiteX632" fmla="*/ 3810177 w 6901213"/>
              <a:gd name="connsiteY632" fmla="*/ 5673913 h 6851544"/>
              <a:gd name="connsiteX633" fmla="*/ 3810709 w 6901213"/>
              <a:gd name="connsiteY633" fmla="*/ 5674445 h 6851544"/>
              <a:gd name="connsiteX634" fmla="*/ 3811240 w 6901213"/>
              <a:gd name="connsiteY634" fmla="*/ 5673913 h 6851544"/>
              <a:gd name="connsiteX635" fmla="*/ 3918402 w 6901213"/>
              <a:gd name="connsiteY635" fmla="*/ 5525589 h 6851544"/>
              <a:gd name="connsiteX636" fmla="*/ 3917262 w 6901213"/>
              <a:gd name="connsiteY636" fmla="*/ 5524450 h 6851544"/>
              <a:gd name="connsiteX637" fmla="*/ 3916123 w 6901213"/>
              <a:gd name="connsiteY637" fmla="*/ 5525589 h 6851544"/>
              <a:gd name="connsiteX638" fmla="*/ 3917262 w 6901213"/>
              <a:gd name="connsiteY638" fmla="*/ 5526728 h 6851544"/>
              <a:gd name="connsiteX639" fmla="*/ 3918402 w 6901213"/>
              <a:gd name="connsiteY639" fmla="*/ 5525589 h 6851544"/>
              <a:gd name="connsiteX640" fmla="*/ 4010297 w 6901213"/>
              <a:gd name="connsiteY640" fmla="*/ 5367468 h 6851544"/>
              <a:gd name="connsiteX641" fmla="*/ 4008626 w 6901213"/>
              <a:gd name="connsiteY641" fmla="*/ 5365796 h 6851544"/>
              <a:gd name="connsiteX642" fmla="*/ 4006955 w 6901213"/>
              <a:gd name="connsiteY642" fmla="*/ 5367468 h 6851544"/>
              <a:gd name="connsiteX643" fmla="*/ 4008626 w 6901213"/>
              <a:gd name="connsiteY643" fmla="*/ 5369138 h 6851544"/>
              <a:gd name="connsiteX644" fmla="*/ 4010297 w 6901213"/>
              <a:gd name="connsiteY644" fmla="*/ 5367468 h 6851544"/>
              <a:gd name="connsiteX645" fmla="*/ 4086548 w 6901213"/>
              <a:gd name="connsiteY645" fmla="*/ 5201068 h 6851544"/>
              <a:gd name="connsiteX646" fmla="*/ 4083738 w 6901213"/>
              <a:gd name="connsiteY646" fmla="*/ 5198258 h 6851544"/>
              <a:gd name="connsiteX647" fmla="*/ 4080928 w 6901213"/>
              <a:gd name="connsiteY647" fmla="*/ 5201068 h 6851544"/>
              <a:gd name="connsiteX648" fmla="*/ 4083738 w 6901213"/>
              <a:gd name="connsiteY648" fmla="*/ 5203878 h 6851544"/>
              <a:gd name="connsiteX649" fmla="*/ 4086548 w 6901213"/>
              <a:gd name="connsiteY649" fmla="*/ 5201068 h 6851544"/>
              <a:gd name="connsiteX650" fmla="*/ 4145255 w 6901213"/>
              <a:gd name="connsiteY650" fmla="*/ 5027985 h 6851544"/>
              <a:gd name="connsiteX651" fmla="*/ 4141837 w 6901213"/>
              <a:gd name="connsiteY651" fmla="*/ 5024567 h 6851544"/>
              <a:gd name="connsiteX652" fmla="*/ 4138419 w 6901213"/>
              <a:gd name="connsiteY652" fmla="*/ 5027985 h 6851544"/>
              <a:gd name="connsiteX653" fmla="*/ 4141837 w 6901213"/>
              <a:gd name="connsiteY653" fmla="*/ 5031403 h 6851544"/>
              <a:gd name="connsiteX654" fmla="*/ 4145255 w 6901213"/>
              <a:gd name="connsiteY654" fmla="*/ 5027985 h 6851544"/>
              <a:gd name="connsiteX655" fmla="*/ 4187025 w 6901213"/>
              <a:gd name="connsiteY655" fmla="*/ 4849890 h 6851544"/>
              <a:gd name="connsiteX656" fmla="*/ 4182469 w 6901213"/>
              <a:gd name="connsiteY656" fmla="*/ 4845409 h 6851544"/>
              <a:gd name="connsiteX657" fmla="*/ 4177988 w 6901213"/>
              <a:gd name="connsiteY657" fmla="*/ 4849890 h 6851544"/>
              <a:gd name="connsiteX658" fmla="*/ 4182469 w 6901213"/>
              <a:gd name="connsiteY658" fmla="*/ 4854371 h 6851544"/>
              <a:gd name="connsiteX659" fmla="*/ 4187025 w 6901213"/>
              <a:gd name="connsiteY659" fmla="*/ 4849890 h 6851544"/>
              <a:gd name="connsiteX660" fmla="*/ 4210797 w 6901213"/>
              <a:gd name="connsiteY660" fmla="*/ 4668757 h 6851544"/>
              <a:gd name="connsiteX661" fmla="*/ 4205177 w 6901213"/>
              <a:gd name="connsiteY661" fmla="*/ 4663137 h 6851544"/>
              <a:gd name="connsiteX662" fmla="*/ 4199557 w 6901213"/>
              <a:gd name="connsiteY662" fmla="*/ 4668757 h 6851544"/>
              <a:gd name="connsiteX663" fmla="*/ 4205177 w 6901213"/>
              <a:gd name="connsiteY663" fmla="*/ 4674377 h 6851544"/>
              <a:gd name="connsiteX664" fmla="*/ 4210797 w 6901213"/>
              <a:gd name="connsiteY664" fmla="*/ 4668757 h 6851544"/>
              <a:gd name="connsiteX665" fmla="*/ 4216493 w 6901213"/>
              <a:gd name="connsiteY665" fmla="*/ 4486181 h 6851544"/>
              <a:gd name="connsiteX666" fmla="*/ 4209734 w 6901213"/>
              <a:gd name="connsiteY666" fmla="*/ 4479421 h 6851544"/>
              <a:gd name="connsiteX667" fmla="*/ 4202974 w 6901213"/>
              <a:gd name="connsiteY667" fmla="*/ 4486181 h 6851544"/>
              <a:gd name="connsiteX668" fmla="*/ 4209734 w 6901213"/>
              <a:gd name="connsiteY668" fmla="*/ 4492939 h 6851544"/>
              <a:gd name="connsiteX669" fmla="*/ 4216493 w 6901213"/>
              <a:gd name="connsiteY669" fmla="*/ 4486181 h 6851544"/>
              <a:gd name="connsiteX670" fmla="*/ 4203430 w 6901213"/>
              <a:gd name="connsiteY670" fmla="*/ 4304136 h 6851544"/>
              <a:gd name="connsiteX671" fmla="*/ 4196063 w 6901213"/>
              <a:gd name="connsiteY671" fmla="*/ 4296769 h 6851544"/>
              <a:gd name="connsiteX672" fmla="*/ 4188697 w 6901213"/>
              <a:gd name="connsiteY672" fmla="*/ 4304136 h 6851544"/>
              <a:gd name="connsiteX673" fmla="*/ 4196063 w 6901213"/>
              <a:gd name="connsiteY673" fmla="*/ 4311503 h 6851544"/>
              <a:gd name="connsiteX674" fmla="*/ 4203430 w 6901213"/>
              <a:gd name="connsiteY674" fmla="*/ 4304136 h 6851544"/>
              <a:gd name="connsiteX675" fmla="*/ 4172823 w 6901213"/>
              <a:gd name="connsiteY675" fmla="*/ 4124293 h 6851544"/>
              <a:gd name="connsiteX676" fmla="*/ 4164317 w 6901213"/>
              <a:gd name="connsiteY676" fmla="*/ 4115864 h 6851544"/>
              <a:gd name="connsiteX677" fmla="*/ 4155887 w 6901213"/>
              <a:gd name="connsiteY677" fmla="*/ 4124293 h 6851544"/>
              <a:gd name="connsiteX678" fmla="*/ 4164317 w 6901213"/>
              <a:gd name="connsiteY678" fmla="*/ 4132723 h 6851544"/>
              <a:gd name="connsiteX679" fmla="*/ 4172823 w 6901213"/>
              <a:gd name="connsiteY679" fmla="*/ 4124293 h 6851544"/>
              <a:gd name="connsiteX680" fmla="*/ 4123990 w 6901213"/>
              <a:gd name="connsiteY680" fmla="*/ 3948476 h 6851544"/>
              <a:gd name="connsiteX681" fmla="*/ 4114952 w 6901213"/>
              <a:gd name="connsiteY681" fmla="*/ 3939439 h 6851544"/>
              <a:gd name="connsiteX682" fmla="*/ 4105914 w 6901213"/>
              <a:gd name="connsiteY682" fmla="*/ 3948476 h 6851544"/>
              <a:gd name="connsiteX683" fmla="*/ 4114952 w 6901213"/>
              <a:gd name="connsiteY683" fmla="*/ 3957514 h 6851544"/>
              <a:gd name="connsiteX684" fmla="*/ 4123990 w 6901213"/>
              <a:gd name="connsiteY684" fmla="*/ 3948476 h 6851544"/>
              <a:gd name="connsiteX685" fmla="*/ 4058372 w 6901213"/>
              <a:gd name="connsiteY685" fmla="*/ 3778508 h 6851544"/>
              <a:gd name="connsiteX686" fmla="*/ 4048195 w 6901213"/>
              <a:gd name="connsiteY686" fmla="*/ 3768331 h 6851544"/>
              <a:gd name="connsiteX687" fmla="*/ 4038018 w 6901213"/>
              <a:gd name="connsiteY687" fmla="*/ 3778508 h 6851544"/>
              <a:gd name="connsiteX688" fmla="*/ 4048195 w 6901213"/>
              <a:gd name="connsiteY688" fmla="*/ 3788684 h 6851544"/>
              <a:gd name="connsiteX689" fmla="*/ 4058372 w 6901213"/>
              <a:gd name="connsiteY689" fmla="*/ 3778508 h 6851544"/>
              <a:gd name="connsiteX690" fmla="*/ 3975665 w 6901213"/>
              <a:gd name="connsiteY690" fmla="*/ 3616057 h 6851544"/>
              <a:gd name="connsiteX691" fmla="*/ 3964957 w 6901213"/>
              <a:gd name="connsiteY691" fmla="*/ 3605349 h 6851544"/>
              <a:gd name="connsiteX692" fmla="*/ 3954248 w 6901213"/>
              <a:gd name="connsiteY692" fmla="*/ 3616057 h 6851544"/>
              <a:gd name="connsiteX693" fmla="*/ 3964957 w 6901213"/>
              <a:gd name="connsiteY693" fmla="*/ 3626766 h 6851544"/>
              <a:gd name="connsiteX694" fmla="*/ 3975665 w 6901213"/>
              <a:gd name="connsiteY694" fmla="*/ 3616057 h 6851544"/>
              <a:gd name="connsiteX695" fmla="*/ 3877086 w 6901213"/>
              <a:gd name="connsiteY695" fmla="*/ 3462645 h 6851544"/>
              <a:gd name="connsiteX696" fmla="*/ 3865770 w 6901213"/>
              <a:gd name="connsiteY696" fmla="*/ 3451328 h 6851544"/>
              <a:gd name="connsiteX697" fmla="*/ 3854454 w 6901213"/>
              <a:gd name="connsiteY697" fmla="*/ 3462645 h 6851544"/>
              <a:gd name="connsiteX698" fmla="*/ 3865770 w 6901213"/>
              <a:gd name="connsiteY698" fmla="*/ 3473961 h 6851544"/>
              <a:gd name="connsiteX699" fmla="*/ 3877086 w 6901213"/>
              <a:gd name="connsiteY699" fmla="*/ 3462645 h 6851544"/>
              <a:gd name="connsiteX700" fmla="*/ 3763242 w 6901213"/>
              <a:gd name="connsiteY700" fmla="*/ 3319864 h 6851544"/>
              <a:gd name="connsiteX701" fmla="*/ 3751926 w 6901213"/>
              <a:gd name="connsiteY701" fmla="*/ 3308548 h 6851544"/>
              <a:gd name="connsiteX702" fmla="*/ 3740610 w 6901213"/>
              <a:gd name="connsiteY702" fmla="*/ 3319864 h 6851544"/>
              <a:gd name="connsiteX703" fmla="*/ 3751926 w 6901213"/>
              <a:gd name="connsiteY703" fmla="*/ 3331181 h 6851544"/>
              <a:gd name="connsiteX704" fmla="*/ 3763242 w 6901213"/>
              <a:gd name="connsiteY704" fmla="*/ 3319864 h 6851544"/>
              <a:gd name="connsiteX705" fmla="*/ 3635803 w 6901213"/>
              <a:gd name="connsiteY705" fmla="*/ 3189160 h 6851544"/>
              <a:gd name="connsiteX706" fmla="*/ 3624487 w 6901213"/>
              <a:gd name="connsiteY706" fmla="*/ 3177844 h 6851544"/>
              <a:gd name="connsiteX707" fmla="*/ 3613171 w 6901213"/>
              <a:gd name="connsiteY707" fmla="*/ 3189160 h 6851544"/>
              <a:gd name="connsiteX708" fmla="*/ 3624487 w 6901213"/>
              <a:gd name="connsiteY708" fmla="*/ 3200476 h 6851544"/>
              <a:gd name="connsiteX709" fmla="*/ 3635803 w 6901213"/>
              <a:gd name="connsiteY709" fmla="*/ 3189160 h 6851544"/>
              <a:gd name="connsiteX710" fmla="*/ 3495909 w 6901213"/>
              <a:gd name="connsiteY710" fmla="*/ 3071746 h 6851544"/>
              <a:gd name="connsiteX711" fmla="*/ 3484593 w 6901213"/>
              <a:gd name="connsiteY711" fmla="*/ 3060430 h 6851544"/>
              <a:gd name="connsiteX712" fmla="*/ 3473277 w 6901213"/>
              <a:gd name="connsiteY712" fmla="*/ 3071746 h 6851544"/>
              <a:gd name="connsiteX713" fmla="*/ 3484593 w 6901213"/>
              <a:gd name="connsiteY713" fmla="*/ 3083062 h 6851544"/>
              <a:gd name="connsiteX714" fmla="*/ 3495909 w 6901213"/>
              <a:gd name="connsiteY714" fmla="*/ 3071746 h 6851544"/>
              <a:gd name="connsiteX715" fmla="*/ 3344471 w 6901213"/>
              <a:gd name="connsiteY715" fmla="*/ 2968914 h 6851544"/>
              <a:gd name="connsiteX716" fmla="*/ 3333763 w 6901213"/>
              <a:gd name="connsiteY716" fmla="*/ 2958206 h 6851544"/>
              <a:gd name="connsiteX717" fmla="*/ 3323054 w 6901213"/>
              <a:gd name="connsiteY717" fmla="*/ 2968914 h 6851544"/>
              <a:gd name="connsiteX718" fmla="*/ 3333763 w 6901213"/>
              <a:gd name="connsiteY718" fmla="*/ 2979623 h 6851544"/>
              <a:gd name="connsiteX719" fmla="*/ 3344471 w 6901213"/>
              <a:gd name="connsiteY719" fmla="*/ 2968914 h 6851544"/>
              <a:gd name="connsiteX720" fmla="*/ 3183540 w 6901213"/>
              <a:gd name="connsiteY720" fmla="*/ 2881575 h 6851544"/>
              <a:gd name="connsiteX721" fmla="*/ 3173363 w 6901213"/>
              <a:gd name="connsiteY721" fmla="*/ 2871398 h 6851544"/>
              <a:gd name="connsiteX722" fmla="*/ 3163186 w 6901213"/>
              <a:gd name="connsiteY722" fmla="*/ 2881575 h 6851544"/>
              <a:gd name="connsiteX723" fmla="*/ 3173363 w 6901213"/>
              <a:gd name="connsiteY723" fmla="*/ 2891752 h 6851544"/>
              <a:gd name="connsiteX724" fmla="*/ 3183540 w 6901213"/>
              <a:gd name="connsiteY724" fmla="*/ 2881575 h 6851544"/>
              <a:gd name="connsiteX725" fmla="*/ 3014710 w 6901213"/>
              <a:gd name="connsiteY725" fmla="*/ 2810641 h 6851544"/>
              <a:gd name="connsiteX726" fmla="*/ 3005141 w 6901213"/>
              <a:gd name="connsiteY726" fmla="*/ 2801072 h 6851544"/>
              <a:gd name="connsiteX727" fmla="*/ 2995571 w 6901213"/>
              <a:gd name="connsiteY727" fmla="*/ 2810641 h 6851544"/>
              <a:gd name="connsiteX728" fmla="*/ 3005141 w 6901213"/>
              <a:gd name="connsiteY728" fmla="*/ 2820210 h 6851544"/>
              <a:gd name="connsiteX729" fmla="*/ 3014710 w 6901213"/>
              <a:gd name="connsiteY729" fmla="*/ 2810641 h 6851544"/>
              <a:gd name="connsiteX730" fmla="*/ 2839045 w 6901213"/>
              <a:gd name="connsiteY730" fmla="*/ 2756795 h 6851544"/>
              <a:gd name="connsiteX731" fmla="*/ 2830615 w 6901213"/>
              <a:gd name="connsiteY731" fmla="*/ 2748364 h 6851544"/>
              <a:gd name="connsiteX732" fmla="*/ 2822185 w 6901213"/>
              <a:gd name="connsiteY732" fmla="*/ 2756795 h 6851544"/>
              <a:gd name="connsiteX733" fmla="*/ 2830615 w 6901213"/>
              <a:gd name="connsiteY733" fmla="*/ 2765225 h 6851544"/>
              <a:gd name="connsiteX734" fmla="*/ 2839045 w 6901213"/>
              <a:gd name="connsiteY734" fmla="*/ 2756795 h 6851544"/>
              <a:gd name="connsiteX735" fmla="*/ 2659507 w 6901213"/>
              <a:gd name="connsiteY735" fmla="*/ 2720644 h 6851544"/>
              <a:gd name="connsiteX736" fmla="*/ 2651608 w 6901213"/>
              <a:gd name="connsiteY736" fmla="*/ 2712745 h 6851544"/>
              <a:gd name="connsiteX737" fmla="*/ 2643710 w 6901213"/>
              <a:gd name="connsiteY737" fmla="*/ 2720644 h 6851544"/>
              <a:gd name="connsiteX738" fmla="*/ 2651608 w 6901213"/>
              <a:gd name="connsiteY738" fmla="*/ 2728542 h 6851544"/>
              <a:gd name="connsiteX739" fmla="*/ 2659507 w 6901213"/>
              <a:gd name="connsiteY739" fmla="*/ 2720644 h 6851544"/>
              <a:gd name="connsiteX740" fmla="*/ 2476703 w 6901213"/>
              <a:gd name="connsiteY740" fmla="*/ 2702493 h 6851544"/>
              <a:gd name="connsiteX741" fmla="*/ 2469943 w 6901213"/>
              <a:gd name="connsiteY741" fmla="*/ 2695733 h 6851544"/>
              <a:gd name="connsiteX742" fmla="*/ 2463184 w 6901213"/>
              <a:gd name="connsiteY742" fmla="*/ 2702493 h 6851544"/>
              <a:gd name="connsiteX743" fmla="*/ 2469943 w 6901213"/>
              <a:gd name="connsiteY743" fmla="*/ 2709252 h 6851544"/>
              <a:gd name="connsiteX744" fmla="*/ 2476703 w 6901213"/>
              <a:gd name="connsiteY744" fmla="*/ 2702493 h 6851544"/>
              <a:gd name="connsiteX745" fmla="*/ 2292987 w 6901213"/>
              <a:gd name="connsiteY745" fmla="*/ 2702493 h 6851544"/>
              <a:gd name="connsiteX746" fmla="*/ 2287367 w 6901213"/>
              <a:gd name="connsiteY746" fmla="*/ 2696872 h 6851544"/>
              <a:gd name="connsiteX747" fmla="*/ 2281747 w 6901213"/>
              <a:gd name="connsiteY747" fmla="*/ 2702493 h 6851544"/>
              <a:gd name="connsiteX748" fmla="*/ 2287367 w 6901213"/>
              <a:gd name="connsiteY748" fmla="*/ 2708113 h 6851544"/>
              <a:gd name="connsiteX749" fmla="*/ 2292987 w 6901213"/>
              <a:gd name="connsiteY749" fmla="*/ 2702493 h 6851544"/>
              <a:gd name="connsiteX750" fmla="*/ 2110107 w 6901213"/>
              <a:gd name="connsiteY750" fmla="*/ 2720644 h 6851544"/>
              <a:gd name="connsiteX751" fmla="*/ 2105626 w 6901213"/>
              <a:gd name="connsiteY751" fmla="*/ 2716163 h 6851544"/>
              <a:gd name="connsiteX752" fmla="*/ 2101146 w 6901213"/>
              <a:gd name="connsiteY752" fmla="*/ 2720644 h 6851544"/>
              <a:gd name="connsiteX753" fmla="*/ 2105626 w 6901213"/>
              <a:gd name="connsiteY753" fmla="*/ 2725125 h 6851544"/>
              <a:gd name="connsiteX754" fmla="*/ 2110107 w 6901213"/>
              <a:gd name="connsiteY754" fmla="*/ 2720644 h 6851544"/>
              <a:gd name="connsiteX755" fmla="*/ 1930569 w 6901213"/>
              <a:gd name="connsiteY755" fmla="*/ 2756795 h 6851544"/>
              <a:gd name="connsiteX756" fmla="*/ 1926620 w 6901213"/>
              <a:gd name="connsiteY756" fmla="*/ 2752845 h 6851544"/>
              <a:gd name="connsiteX757" fmla="*/ 1922670 w 6901213"/>
              <a:gd name="connsiteY757" fmla="*/ 2756795 h 6851544"/>
              <a:gd name="connsiteX758" fmla="*/ 1926620 w 6901213"/>
              <a:gd name="connsiteY758" fmla="*/ 2760744 h 6851544"/>
              <a:gd name="connsiteX759" fmla="*/ 1930569 w 6901213"/>
              <a:gd name="connsiteY759" fmla="*/ 2756795 h 6851544"/>
              <a:gd name="connsiteX760" fmla="*/ 1754980 w 6901213"/>
              <a:gd name="connsiteY760" fmla="*/ 2810641 h 6851544"/>
              <a:gd name="connsiteX761" fmla="*/ 1752170 w 6901213"/>
              <a:gd name="connsiteY761" fmla="*/ 2807831 h 6851544"/>
              <a:gd name="connsiteX762" fmla="*/ 1749360 w 6901213"/>
              <a:gd name="connsiteY762" fmla="*/ 2810641 h 6851544"/>
              <a:gd name="connsiteX763" fmla="*/ 1752170 w 6901213"/>
              <a:gd name="connsiteY763" fmla="*/ 2813451 h 6851544"/>
              <a:gd name="connsiteX764" fmla="*/ 1754980 w 6901213"/>
              <a:gd name="connsiteY764" fmla="*/ 2810641 h 6851544"/>
              <a:gd name="connsiteX765" fmla="*/ 1586150 w 6901213"/>
              <a:gd name="connsiteY765" fmla="*/ 2881575 h 6851544"/>
              <a:gd name="connsiteX766" fmla="*/ 1583871 w 6901213"/>
              <a:gd name="connsiteY766" fmla="*/ 2879297 h 6851544"/>
              <a:gd name="connsiteX767" fmla="*/ 1581593 w 6901213"/>
              <a:gd name="connsiteY767" fmla="*/ 2881575 h 6851544"/>
              <a:gd name="connsiteX768" fmla="*/ 1583871 w 6901213"/>
              <a:gd name="connsiteY768" fmla="*/ 2883854 h 6851544"/>
              <a:gd name="connsiteX769" fmla="*/ 1586150 w 6901213"/>
              <a:gd name="connsiteY769" fmla="*/ 2881575 h 6851544"/>
              <a:gd name="connsiteX770" fmla="*/ 1424687 w 6901213"/>
              <a:gd name="connsiteY770" fmla="*/ 2968914 h 6851544"/>
              <a:gd name="connsiteX771" fmla="*/ 1423548 w 6901213"/>
              <a:gd name="connsiteY771" fmla="*/ 2967775 h 6851544"/>
              <a:gd name="connsiteX772" fmla="*/ 1422408 w 6901213"/>
              <a:gd name="connsiteY772" fmla="*/ 2968914 h 6851544"/>
              <a:gd name="connsiteX773" fmla="*/ 1423548 w 6901213"/>
              <a:gd name="connsiteY773" fmla="*/ 2970053 h 6851544"/>
              <a:gd name="connsiteX774" fmla="*/ 1424687 w 6901213"/>
              <a:gd name="connsiteY774" fmla="*/ 2968914 h 6851544"/>
              <a:gd name="connsiteX775" fmla="*/ 1273249 w 6901213"/>
              <a:gd name="connsiteY775" fmla="*/ 3071746 h 6851544"/>
              <a:gd name="connsiteX776" fmla="*/ 1272641 w 6901213"/>
              <a:gd name="connsiteY776" fmla="*/ 3071215 h 6851544"/>
              <a:gd name="connsiteX777" fmla="*/ 1272110 w 6901213"/>
              <a:gd name="connsiteY777" fmla="*/ 3071746 h 6851544"/>
              <a:gd name="connsiteX778" fmla="*/ 1272641 w 6901213"/>
              <a:gd name="connsiteY778" fmla="*/ 3072278 h 6851544"/>
              <a:gd name="connsiteX779" fmla="*/ 1273249 w 6901213"/>
              <a:gd name="connsiteY779" fmla="*/ 3071746 h 6851544"/>
              <a:gd name="connsiteX780" fmla="*/ 1133355 w 6901213"/>
              <a:gd name="connsiteY780" fmla="*/ 3189160 h 6851544"/>
              <a:gd name="connsiteX781" fmla="*/ 1132823 w 6901213"/>
              <a:gd name="connsiteY781" fmla="*/ 3188628 h 6851544"/>
              <a:gd name="connsiteX782" fmla="*/ 1132292 w 6901213"/>
              <a:gd name="connsiteY782" fmla="*/ 3189160 h 6851544"/>
              <a:gd name="connsiteX783" fmla="*/ 1132823 w 6901213"/>
              <a:gd name="connsiteY783" fmla="*/ 3189692 h 6851544"/>
              <a:gd name="connsiteX784" fmla="*/ 1133355 w 6901213"/>
              <a:gd name="connsiteY784" fmla="*/ 3189160 h 6851544"/>
              <a:gd name="connsiteX785" fmla="*/ 3850201 w 6901213"/>
              <a:gd name="connsiteY785" fmla="*/ 5938284 h 6851544"/>
              <a:gd name="connsiteX786" fmla="*/ 3849670 w 6901213"/>
              <a:gd name="connsiteY786" fmla="*/ 5937677 h 6851544"/>
              <a:gd name="connsiteX787" fmla="*/ 3849138 w 6901213"/>
              <a:gd name="connsiteY787" fmla="*/ 5938284 h 6851544"/>
              <a:gd name="connsiteX788" fmla="*/ 3849670 w 6901213"/>
              <a:gd name="connsiteY788" fmla="*/ 5938815 h 6851544"/>
              <a:gd name="connsiteX789" fmla="*/ 3850201 w 6901213"/>
              <a:gd name="connsiteY789" fmla="*/ 5938284 h 6851544"/>
              <a:gd name="connsiteX790" fmla="*/ 3970349 w 6901213"/>
              <a:gd name="connsiteY790" fmla="*/ 5800744 h 6851544"/>
              <a:gd name="connsiteX791" fmla="*/ 3969818 w 6901213"/>
              <a:gd name="connsiteY791" fmla="*/ 5800212 h 6851544"/>
              <a:gd name="connsiteX792" fmla="*/ 3969286 w 6901213"/>
              <a:gd name="connsiteY792" fmla="*/ 5800744 h 6851544"/>
              <a:gd name="connsiteX793" fmla="*/ 3969818 w 6901213"/>
              <a:gd name="connsiteY793" fmla="*/ 5801276 h 6851544"/>
              <a:gd name="connsiteX794" fmla="*/ 3970349 w 6901213"/>
              <a:gd name="connsiteY794" fmla="*/ 5800744 h 6851544"/>
              <a:gd name="connsiteX795" fmla="*/ 4078270 w 6901213"/>
              <a:gd name="connsiteY795" fmla="*/ 5653027 h 6851544"/>
              <a:gd name="connsiteX796" fmla="*/ 4077131 w 6901213"/>
              <a:gd name="connsiteY796" fmla="*/ 5651889 h 6851544"/>
              <a:gd name="connsiteX797" fmla="*/ 4075991 w 6901213"/>
              <a:gd name="connsiteY797" fmla="*/ 5653027 h 6851544"/>
              <a:gd name="connsiteX798" fmla="*/ 4077131 w 6901213"/>
              <a:gd name="connsiteY798" fmla="*/ 5654167 h 6851544"/>
              <a:gd name="connsiteX799" fmla="*/ 4078270 w 6901213"/>
              <a:gd name="connsiteY799" fmla="*/ 5653027 h 6851544"/>
              <a:gd name="connsiteX800" fmla="*/ 4172520 w 6901213"/>
              <a:gd name="connsiteY800" fmla="*/ 5496274 h 6851544"/>
              <a:gd name="connsiteX801" fmla="*/ 4170849 w 6901213"/>
              <a:gd name="connsiteY801" fmla="*/ 5494602 h 6851544"/>
              <a:gd name="connsiteX802" fmla="*/ 4169178 w 6901213"/>
              <a:gd name="connsiteY802" fmla="*/ 5496274 h 6851544"/>
              <a:gd name="connsiteX803" fmla="*/ 4170849 w 6901213"/>
              <a:gd name="connsiteY803" fmla="*/ 5497944 h 6851544"/>
              <a:gd name="connsiteX804" fmla="*/ 4172520 w 6901213"/>
              <a:gd name="connsiteY804" fmla="*/ 5496274 h 6851544"/>
              <a:gd name="connsiteX805" fmla="*/ 4252871 w 6901213"/>
              <a:gd name="connsiteY805" fmla="*/ 5331772 h 6851544"/>
              <a:gd name="connsiteX806" fmla="*/ 4250061 w 6901213"/>
              <a:gd name="connsiteY806" fmla="*/ 5328962 h 6851544"/>
              <a:gd name="connsiteX807" fmla="*/ 4247251 w 6901213"/>
              <a:gd name="connsiteY807" fmla="*/ 5331772 h 6851544"/>
              <a:gd name="connsiteX808" fmla="*/ 4250061 w 6901213"/>
              <a:gd name="connsiteY808" fmla="*/ 5334582 h 6851544"/>
              <a:gd name="connsiteX809" fmla="*/ 4252871 w 6901213"/>
              <a:gd name="connsiteY809" fmla="*/ 5331772 h 6851544"/>
              <a:gd name="connsiteX810" fmla="*/ 4318186 w 6901213"/>
              <a:gd name="connsiteY810" fmla="*/ 5160740 h 6851544"/>
              <a:gd name="connsiteX811" fmla="*/ 4314237 w 6901213"/>
              <a:gd name="connsiteY811" fmla="*/ 5156791 h 6851544"/>
              <a:gd name="connsiteX812" fmla="*/ 4310287 w 6901213"/>
              <a:gd name="connsiteY812" fmla="*/ 5160740 h 6851544"/>
              <a:gd name="connsiteX813" fmla="*/ 4314237 w 6901213"/>
              <a:gd name="connsiteY813" fmla="*/ 5164689 h 6851544"/>
              <a:gd name="connsiteX814" fmla="*/ 4318186 w 6901213"/>
              <a:gd name="connsiteY814" fmla="*/ 5160740 h 6851544"/>
              <a:gd name="connsiteX815" fmla="*/ 4367323 w 6901213"/>
              <a:gd name="connsiteY815" fmla="*/ 4984695 h 6851544"/>
              <a:gd name="connsiteX816" fmla="*/ 4362843 w 6901213"/>
              <a:gd name="connsiteY816" fmla="*/ 4980139 h 6851544"/>
              <a:gd name="connsiteX817" fmla="*/ 4358362 w 6901213"/>
              <a:gd name="connsiteY817" fmla="*/ 4984695 h 6851544"/>
              <a:gd name="connsiteX818" fmla="*/ 4362843 w 6901213"/>
              <a:gd name="connsiteY818" fmla="*/ 4989176 h 6851544"/>
              <a:gd name="connsiteX819" fmla="*/ 4367323 w 6901213"/>
              <a:gd name="connsiteY819" fmla="*/ 4984695 h 6851544"/>
              <a:gd name="connsiteX820" fmla="*/ 4401044 w 6901213"/>
              <a:gd name="connsiteY820" fmla="*/ 4805081 h 6851544"/>
              <a:gd name="connsiteX821" fmla="*/ 4395424 w 6901213"/>
              <a:gd name="connsiteY821" fmla="*/ 4799461 h 6851544"/>
              <a:gd name="connsiteX822" fmla="*/ 4389804 w 6901213"/>
              <a:gd name="connsiteY822" fmla="*/ 4805081 h 6851544"/>
              <a:gd name="connsiteX823" fmla="*/ 4395424 w 6901213"/>
              <a:gd name="connsiteY823" fmla="*/ 4810701 h 6851544"/>
              <a:gd name="connsiteX824" fmla="*/ 4401044 w 6901213"/>
              <a:gd name="connsiteY824" fmla="*/ 4805081 h 6851544"/>
              <a:gd name="connsiteX825" fmla="*/ 4418511 w 6901213"/>
              <a:gd name="connsiteY825" fmla="*/ 4623188 h 6851544"/>
              <a:gd name="connsiteX826" fmla="*/ 4411753 w 6901213"/>
              <a:gd name="connsiteY826" fmla="*/ 4616429 h 6851544"/>
              <a:gd name="connsiteX827" fmla="*/ 4404993 w 6901213"/>
              <a:gd name="connsiteY827" fmla="*/ 4623188 h 6851544"/>
              <a:gd name="connsiteX828" fmla="*/ 4411753 w 6901213"/>
              <a:gd name="connsiteY828" fmla="*/ 4629948 h 6851544"/>
              <a:gd name="connsiteX829" fmla="*/ 4418511 w 6901213"/>
              <a:gd name="connsiteY829" fmla="*/ 4623188 h 6851544"/>
              <a:gd name="connsiteX830" fmla="*/ 4419651 w 6901213"/>
              <a:gd name="connsiteY830" fmla="*/ 4440536 h 6851544"/>
              <a:gd name="connsiteX831" fmla="*/ 4411753 w 6901213"/>
              <a:gd name="connsiteY831" fmla="*/ 4432638 h 6851544"/>
              <a:gd name="connsiteX832" fmla="*/ 4403854 w 6901213"/>
              <a:gd name="connsiteY832" fmla="*/ 4440536 h 6851544"/>
              <a:gd name="connsiteX833" fmla="*/ 4411753 w 6901213"/>
              <a:gd name="connsiteY833" fmla="*/ 4448435 h 6851544"/>
              <a:gd name="connsiteX834" fmla="*/ 4419651 w 6901213"/>
              <a:gd name="connsiteY834" fmla="*/ 4440536 h 6851544"/>
              <a:gd name="connsiteX835" fmla="*/ 4404461 w 6901213"/>
              <a:gd name="connsiteY835" fmla="*/ 4258644 h 6851544"/>
              <a:gd name="connsiteX836" fmla="*/ 4395424 w 6901213"/>
              <a:gd name="connsiteY836" fmla="*/ 4249606 h 6851544"/>
              <a:gd name="connsiteX837" fmla="*/ 4386386 w 6901213"/>
              <a:gd name="connsiteY837" fmla="*/ 4258644 h 6851544"/>
              <a:gd name="connsiteX838" fmla="*/ 4395424 w 6901213"/>
              <a:gd name="connsiteY838" fmla="*/ 4267681 h 6851544"/>
              <a:gd name="connsiteX839" fmla="*/ 4404461 w 6901213"/>
              <a:gd name="connsiteY839" fmla="*/ 4258644 h 6851544"/>
              <a:gd name="connsiteX840" fmla="*/ 4372943 w 6901213"/>
              <a:gd name="connsiteY840" fmla="*/ 4078953 h 6851544"/>
              <a:gd name="connsiteX841" fmla="*/ 4362767 w 6901213"/>
              <a:gd name="connsiteY841" fmla="*/ 4068776 h 6851544"/>
              <a:gd name="connsiteX842" fmla="*/ 4352590 w 6901213"/>
              <a:gd name="connsiteY842" fmla="*/ 4078953 h 6851544"/>
              <a:gd name="connsiteX843" fmla="*/ 4362767 w 6901213"/>
              <a:gd name="connsiteY843" fmla="*/ 4089130 h 6851544"/>
              <a:gd name="connsiteX844" fmla="*/ 4372943 w 6901213"/>
              <a:gd name="connsiteY844" fmla="*/ 4078953 h 6851544"/>
              <a:gd name="connsiteX845" fmla="*/ 4325477 w 6901213"/>
              <a:gd name="connsiteY845" fmla="*/ 3902984 h 6851544"/>
              <a:gd name="connsiteX846" fmla="*/ 4314161 w 6901213"/>
              <a:gd name="connsiteY846" fmla="*/ 3891668 h 6851544"/>
              <a:gd name="connsiteX847" fmla="*/ 4302845 w 6901213"/>
              <a:gd name="connsiteY847" fmla="*/ 3902984 h 6851544"/>
              <a:gd name="connsiteX848" fmla="*/ 4314161 w 6901213"/>
              <a:gd name="connsiteY848" fmla="*/ 3914225 h 6851544"/>
              <a:gd name="connsiteX849" fmla="*/ 4325477 w 6901213"/>
              <a:gd name="connsiteY849" fmla="*/ 3902984 h 6851544"/>
              <a:gd name="connsiteX850" fmla="*/ 4261909 w 6901213"/>
              <a:gd name="connsiteY850" fmla="*/ 3731952 h 6851544"/>
              <a:gd name="connsiteX851" fmla="*/ 4250061 w 6901213"/>
              <a:gd name="connsiteY851" fmla="*/ 3720104 h 6851544"/>
              <a:gd name="connsiteX852" fmla="*/ 4238214 w 6901213"/>
              <a:gd name="connsiteY852" fmla="*/ 3731952 h 6851544"/>
              <a:gd name="connsiteX853" fmla="*/ 4250061 w 6901213"/>
              <a:gd name="connsiteY853" fmla="*/ 3743800 h 6851544"/>
              <a:gd name="connsiteX854" fmla="*/ 4261909 w 6901213"/>
              <a:gd name="connsiteY854" fmla="*/ 3731952 h 6851544"/>
              <a:gd name="connsiteX855" fmla="*/ 4183228 w 6901213"/>
              <a:gd name="connsiteY855" fmla="*/ 3567451 h 6851544"/>
              <a:gd name="connsiteX856" fmla="*/ 4170773 w 6901213"/>
              <a:gd name="connsiteY856" fmla="*/ 3555072 h 6851544"/>
              <a:gd name="connsiteX857" fmla="*/ 4158318 w 6901213"/>
              <a:gd name="connsiteY857" fmla="*/ 3567451 h 6851544"/>
              <a:gd name="connsiteX858" fmla="*/ 4170773 w 6901213"/>
              <a:gd name="connsiteY858" fmla="*/ 3579907 h 6851544"/>
              <a:gd name="connsiteX859" fmla="*/ 4183228 w 6901213"/>
              <a:gd name="connsiteY859" fmla="*/ 3567451 h 6851544"/>
              <a:gd name="connsiteX860" fmla="*/ 4090117 w 6901213"/>
              <a:gd name="connsiteY860" fmla="*/ 3410697 h 6851544"/>
              <a:gd name="connsiteX861" fmla="*/ 4077131 w 6901213"/>
              <a:gd name="connsiteY861" fmla="*/ 3397710 h 6851544"/>
              <a:gd name="connsiteX862" fmla="*/ 4064144 w 6901213"/>
              <a:gd name="connsiteY862" fmla="*/ 3410697 h 6851544"/>
              <a:gd name="connsiteX863" fmla="*/ 4077131 w 6901213"/>
              <a:gd name="connsiteY863" fmla="*/ 3423684 h 6851544"/>
              <a:gd name="connsiteX864" fmla="*/ 4090117 w 6901213"/>
              <a:gd name="connsiteY864" fmla="*/ 3410697 h 6851544"/>
              <a:gd name="connsiteX865" fmla="*/ 3983336 w 6901213"/>
              <a:gd name="connsiteY865" fmla="*/ 3262904 h 6851544"/>
              <a:gd name="connsiteX866" fmla="*/ 3969818 w 6901213"/>
              <a:gd name="connsiteY866" fmla="*/ 3249386 h 6851544"/>
              <a:gd name="connsiteX867" fmla="*/ 3956299 w 6901213"/>
              <a:gd name="connsiteY867" fmla="*/ 3262904 h 6851544"/>
              <a:gd name="connsiteX868" fmla="*/ 3969818 w 6901213"/>
              <a:gd name="connsiteY868" fmla="*/ 3276423 h 6851544"/>
              <a:gd name="connsiteX869" fmla="*/ 3983336 w 6901213"/>
              <a:gd name="connsiteY869" fmla="*/ 3262904 h 6851544"/>
              <a:gd name="connsiteX870" fmla="*/ 3863188 w 6901213"/>
              <a:gd name="connsiteY870" fmla="*/ 3125441 h 6851544"/>
              <a:gd name="connsiteX871" fmla="*/ 3849670 w 6901213"/>
              <a:gd name="connsiteY871" fmla="*/ 3111922 h 6851544"/>
              <a:gd name="connsiteX872" fmla="*/ 3836151 w 6901213"/>
              <a:gd name="connsiteY872" fmla="*/ 3125441 h 6851544"/>
              <a:gd name="connsiteX873" fmla="*/ 3849670 w 6901213"/>
              <a:gd name="connsiteY873" fmla="*/ 3138959 h 6851544"/>
              <a:gd name="connsiteX874" fmla="*/ 3863188 w 6901213"/>
              <a:gd name="connsiteY874" fmla="*/ 3125441 h 6851544"/>
              <a:gd name="connsiteX875" fmla="*/ 3731193 w 6901213"/>
              <a:gd name="connsiteY875" fmla="*/ 2999217 h 6851544"/>
              <a:gd name="connsiteX876" fmla="*/ 3717674 w 6901213"/>
              <a:gd name="connsiteY876" fmla="*/ 2985698 h 6851544"/>
              <a:gd name="connsiteX877" fmla="*/ 3704156 w 6901213"/>
              <a:gd name="connsiteY877" fmla="*/ 2999217 h 6851544"/>
              <a:gd name="connsiteX878" fmla="*/ 3717674 w 6901213"/>
              <a:gd name="connsiteY878" fmla="*/ 3012735 h 6851544"/>
              <a:gd name="connsiteX879" fmla="*/ 3731193 w 6901213"/>
              <a:gd name="connsiteY879" fmla="*/ 2999217 h 6851544"/>
              <a:gd name="connsiteX880" fmla="*/ 3588412 w 6901213"/>
              <a:gd name="connsiteY880" fmla="*/ 2885373 h 6851544"/>
              <a:gd name="connsiteX881" fmla="*/ 3574894 w 6901213"/>
              <a:gd name="connsiteY881" fmla="*/ 2871854 h 6851544"/>
              <a:gd name="connsiteX882" fmla="*/ 3561375 w 6901213"/>
              <a:gd name="connsiteY882" fmla="*/ 2885373 h 6851544"/>
              <a:gd name="connsiteX883" fmla="*/ 3574894 w 6901213"/>
              <a:gd name="connsiteY883" fmla="*/ 2898891 h 6851544"/>
              <a:gd name="connsiteX884" fmla="*/ 3588412 w 6901213"/>
              <a:gd name="connsiteY884" fmla="*/ 2885373 h 6851544"/>
              <a:gd name="connsiteX885" fmla="*/ 3435456 w 6901213"/>
              <a:gd name="connsiteY885" fmla="*/ 2784743 h 6851544"/>
              <a:gd name="connsiteX886" fmla="*/ 3422469 w 6901213"/>
              <a:gd name="connsiteY886" fmla="*/ 2771756 h 6851544"/>
              <a:gd name="connsiteX887" fmla="*/ 3409482 w 6901213"/>
              <a:gd name="connsiteY887" fmla="*/ 2784743 h 6851544"/>
              <a:gd name="connsiteX888" fmla="*/ 3422469 w 6901213"/>
              <a:gd name="connsiteY888" fmla="*/ 2797730 h 6851544"/>
              <a:gd name="connsiteX889" fmla="*/ 3435456 w 6901213"/>
              <a:gd name="connsiteY889" fmla="*/ 2784743 h 6851544"/>
              <a:gd name="connsiteX890" fmla="*/ 3274069 w 6901213"/>
              <a:gd name="connsiteY890" fmla="*/ 2698240 h 6851544"/>
              <a:gd name="connsiteX891" fmla="*/ 3261613 w 6901213"/>
              <a:gd name="connsiteY891" fmla="*/ 2685860 h 6851544"/>
              <a:gd name="connsiteX892" fmla="*/ 3249234 w 6901213"/>
              <a:gd name="connsiteY892" fmla="*/ 2698240 h 6851544"/>
              <a:gd name="connsiteX893" fmla="*/ 3261613 w 6901213"/>
              <a:gd name="connsiteY893" fmla="*/ 2710695 h 6851544"/>
              <a:gd name="connsiteX894" fmla="*/ 3274069 w 6901213"/>
              <a:gd name="connsiteY894" fmla="*/ 2698240 h 6851544"/>
              <a:gd name="connsiteX895" fmla="*/ 3105011 w 6901213"/>
              <a:gd name="connsiteY895" fmla="*/ 2626470 h 6851544"/>
              <a:gd name="connsiteX896" fmla="*/ 3093695 w 6901213"/>
              <a:gd name="connsiteY896" fmla="*/ 2615154 h 6851544"/>
              <a:gd name="connsiteX897" fmla="*/ 3082379 w 6901213"/>
              <a:gd name="connsiteY897" fmla="*/ 2626470 h 6851544"/>
              <a:gd name="connsiteX898" fmla="*/ 3093695 w 6901213"/>
              <a:gd name="connsiteY898" fmla="*/ 2637786 h 6851544"/>
              <a:gd name="connsiteX899" fmla="*/ 3105011 w 6901213"/>
              <a:gd name="connsiteY899" fmla="*/ 2626470 h 6851544"/>
              <a:gd name="connsiteX900" fmla="*/ 2930789 w 6901213"/>
              <a:gd name="connsiteY900" fmla="*/ 2569965 h 6851544"/>
              <a:gd name="connsiteX901" fmla="*/ 2920080 w 6901213"/>
              <a:gd name="connsiteY901" fmla="*/ 2559257 h 6851544"/>
              <a:gd name="connsiteX902" fmla="*/ 2909372 w 6901213"/>
              <a:gd name="connsiteY902" fmla="*/ 2569965 h 6851544"/>
              <a:gd name="connsiteX903" fmla="*/ 2920080 w 6901213"/>
              <a:gd name="connsiteY903" fmla="*/ 2580674 h 6851544"/>
              <a:gd name="connsiteX904" fmla="*/ 2930789 w 6901213"/>
              <a:gd name="connsiteY904" fmla="*/ 2569965 h 6851544"/>
              <a:gd name="connsiteX905" fmla="*/ 2751630 w 6901213"/>
              <a:gd name="connsiteY905" fmla="*/ 2529334 h 6851544"/>
              <a:gd name="connsiteX906" fmla="*/ 2742061 w 6901213"/>
              <a:gd name="connsiteY906" fmla="*/ 2519765 h 6851544"/>
              <a:gd name="connsiteX907" fmla="*/ 2732492 w 6901213"/>
              <a:gd name="connsiteY907" fmla="*/ 2529334 h 6851544"/>
              <a:gd name="connsiteX908" fmla="*/ 2742061 w 6901213"/>
              <a:gd name="connsiteY908" fmla="*/ 2538903 h 6851544"/>
              <a:gd name="connsiteX909" fmla="*/ 2751630 w 6901213"/>
              <a:gd name="connsiteY909" fmla="*/ 2529334 h 6851544"/>
              <a:gd name="connsiteX910" fmla="*/ 2569510 w 6901213"/>
              <a:gd name="connsiteY910" fmla="*/ 2504879 h 6851544"/>
              <a:gd name="connsiteX911" fmla="*/ 2561004 w 6901213"/>
              <a:gd name="connsiteY911" fmla="*/ 2496449 h 6851544"/>
              <a:gd name="connsiteX912" fmla="*/ 2552574 w 6901213"/>
              <a:gd name="connsiteY912" fmla="*/ 2504879 h 6851544"/>
              <a:gd name="connsiteX913" fmla="*/ 2561004 w 6901213"/>
              <a:gd name="connsiteY913" fmla="*/ 2513309 h 6851544"/>
              <a:gd name="connsiteX914" fmla="*/ 2569510 w 6901213"/>
              <a:gd name="connsiteY914" fmla="*/ 2504879 h 6851544"/>
              <a:gd name="connsiteX915" fmla="*/ 2385946 w 6901213"/>
              <a:gd name="connsiteY915" fmla="*/ 2496677 h 6851544"/>
              <a:gd name="connsiteX916" fmla="*/ 2378579 w 6901213"/>
              <a:gd name="connsiteY916" fmla="*/ 2489310 h 6851544"/>
              <a:gd name="connsiteX917" fmla="*/ 2371212 w 6901213"/>
              <a:gd name="connsiteY917" fmla="*/ 2496677 h 6851544"/>
              <a:gd name="connsiteX918" fmla="*/ 2378579 w 6901213"/>
              <a:gd name="connsiteY918" fmla="*/ 2504044 h 6851544"/>
              <a:gd name="connsiteX919" fmla="*/ 2385946 w 6901213"/>
              <a:gd name="connsiteY919" fmla="*/ 2496677 h 6851544"/>
              <a:gd name="connsiteX920" fmla="*/ 2202383 w 6901213"/>
              <a:gd name="connsiteY920" fmla="*/ 2504879 h 6851544"/>
              <a:gd name="connsiteX921" fmla="*/ 2196155 w 6901213"/>
              <a:gd name="connsiteY921" fmla="*/ 2498651 h 6851544"/>
              <a:gd name="connsiteX922" fmla="*/ 2189927 w 6901213"/>
              <a:gd name="connsiteY922" fmla="*/ 2504879 h 6851544"/>
              <a:gd name="connsiteX923" fmla="*/ 2196155 w 6901213"/>
              <a:gd name="connsiteY923" fmla="*/ 2511107 h 6851544"/>
              <a:gd name="connsiteX924" fmla="*/ 2202383 w 6901213"/>
              <a:gd name="connsiteY924" fmla="*/ 2504879 h 6851544"/>
              <a:gd name="connsiteX925" fmla="*/ 2020338 w 6901213"/>
              <a:gd name="connsiteY925" fmla="*/ 2529334 h 6851544"/>
              <a:gd name="connsiteX926" fmla="*/ 2015250 w 6901213"/>
              <a:gd name="connsiteY926" fmla="*/ 2524245 h 6851544"/>
              <a:gd name="connsiteX927" fmla="*/ 2010161 w 6901213"/>
              <a:gd name="connsiteY927" fmla="*/ 2529334 h 6851544"/>
              <a:gd name="connsiteX928" fmla="*/ 2015250 w 6901213"/>
              <a:gd name="connsiteY928" fmla="*/ 2534422 h 6851544"/>
              <a:gd name="connsiteX929" fmla="*/ 2020338 w 6901213"/>
              <a:gd name="connsiteY929" fmla="*/ 2529334 h 6851544"/>
              <a:gd name="connsiteX930" fmla="*/ 1841711 w 6901213"/>
              <a:gd name="connsiteY930" fmla="*/ 2569965 h 6851544"/>
              <a:gd name="connsiteX931" fmla="*/ 1837230 w 6901213"/>
              <a:gd name="connsiteY931" fmla="*/ 2565485 h 6851544"/>
              <a:gd name="connsiteX932" fmla="*/ 1832749 w 6901213"/>
              <a:gd name="connsiteY932" fmla="*/ 2569965 h 6851544"/>
              <a:gd name="connsiteX933" fmla="*/ 1837230 w 6901213"/>
              <a:gd name="connsiteY933" fmla="*/ 2574522 h 6851544"/>
              <a:gd name="connsiteX934" fmla="*/ 1841711 w 6901213"/>
              <a:gd name="connsiteY934" fmla="*/ 2569965 h 6851544"/>
              <a:gd name="connsiteX935" fmla="*/ 1666881 w 6901213"/>
              <a:gd name="connsiteY935" fmla="*/ 2626470 h 6851544"/>
              <a:gd name="connsiteX936" fmla="*/ 1663464 w 6901213"/>
              <a:gd name="connsiteY936" fmla="*/ 2623052 h 6851544"/>
              <a:gd name="connsiteX937" fmla="*/ 1660046 w 6901213"/>
              <a:gd name="connsiteY937" fmla="*/ 2626470 h 6851544"/>
              <a:gd name="connsiteX938" fmla="*/ 1663464 w 6901213"/>
              <a:gd name="connsiteY938" fmla="*/ 2629888 h 6851544"/>
              <a:gd name="connsiteX939" fmla="*/ 1666881 w 6901213"/>
              <a:gd name="connsiteY939" fmla="*/ 2626470 h 6851544"/>
              <a:gd name="connsiteX940" fmla="*/ 1497824 w 6901213"/>
              <a:gd name="connsiteY940" fmla="*/ 2698240 h 6851544"/>
              <a:gd name="connsiteX941" fmla="*/ 1495545 w 6901213"/>
              <a:gd name="connsiteY941" fmla="*/ 2695961 h 6851544"/>
              <a:gd name="connsiteX942" fmla="*/ 1493267 w 6901213"/>
              <a:gd name="connsiteY942" fmla="*/ 2698240 h 6851544"/>
              <a:gd name="connsiteX943" fmla="*/ 1495545 w 6901213"/>
              <a:gd name="connsiteY943" fmla="*/ 2700518 h 6851544"/>
              <a:gd name="connsiteX944" fmla="*/ 1497824 w 6901213"/>
              <a:gd name="connsiteY944" fmla="*/ 2698240 h 6851544"/>
              <a:gd name="connsiteX945" fmla="*/ 1336437 w 6901213"/>
              <a:gd name="connsiteY945" fmla="*/ 2784743 h 6851544"/>
              <a:gd name="connsiteX946" fmla="*/ 1334766 w 6901213"/>
              <a:gd name="connsiteY946" fmla="*/ 2783072 h 6851544"/>
              <a:gd name="connsiteX947" fmla="*/ 1333095 w 6901213"/>
              <a:gd name="connsiteY947" fmla="*/ 2784743 h 6851544"/>
              <a:gd name="connsiteX948" fmla="*/ 1334766 w 6901213"/>
              <a:gd name="connsiteY948" fmla="*/ 2786414 h 6851544"/>
              <a:gd name="connsiteX949" fmla="*/ 1336437 w 6901213"/>
              <a:gd name="connsiteY949" fmla="*/ 2784743 h 6851544"/>
              <a:gd name="connsiteX950" fmla="*/ 1183480 w 6901213"/>
              <a:gd name="connsiteY950" fmla="*/ 2885373 h 6851544"/>
              <a:gd name="connsiteX951" fmla="*/ 1182340 w 6901213"/>
              <a:gd name="connsiteY951" fmla="*/ 2884233 h 6851544"/>
              <a:gd name="connsiteX952" fmla="*/ 1181201 w 6901213"/>
              <a:gd name="connsiteY952" fmla="*/ 2885373 h 6851544"/>
              <a:gd name="connsiteX953" fmla="*/ 1182340 w 6901213"/>
              <a:gd name="connsiteY953" fmla="*/ 2886512 h 6851544"/>
              <a:gd name="connsiteX954" fmla="*/ 1183480 w 6901213"/>
              <a:gd name="connsiteY954" fmla="*/ 2885373 h 6851544"/>
              <a:gd name="connsiteX955" fmla="*/ 1040168 w 6901213"/>
              <a:gd name="connsiteY955" fmla="*/ 2999217 h 6851544"/>
              <a:gd name="connsiteX956" fmla="*/ 1039636 w 6901213"/>
              <a:gd name="connsiteY956" fmla="*/ 2998685 h 6851544"/>
              <a:gd name="connsiteX957" fmla="*/ 1039105 w 6901213"/>
              <a:gd name="connsiteY957" fmla="*/ 2999217 h 6851544"/>
              <a:gd name="connsiteX958" fmla="*/ 1039636 w 6901213"/>
              <a:gd name="connsiteY958" fmla="*/ 2999749 h 6851544"/>
              <a:gd name="connsiteX959" fmla="*/ 1040168 w 6901213"/>
              <a:gd name="connsiteY959" fmla="*/ 2999217 h 6851544"/>
              <a:gd name="connsiteX960" fmla="*/ 4009917 w 6901213"/>
              <a:gd name="connsiteY960" fmla="*/ 6065723 h 6851544"/>
              <a:gd name="connsiteX961" fmla="*/ 4009386 w 6901213"/>
              <a:gd name="connsiteY961" fmla="*/ 6065191 h 6851544"/>
              <a:gd name="connsiteX962" fmla="*/ 4008854 w 6901213"/>
              <a:gd name="connsiteY962" fmla="*/ 6065723 h 6851544"/>
              <a:gd name="connsiteX963" fmla="*/ 4009386 w 6901213"/>
              <a:gd name="connsiteY963" fmla="*/ 6066331 h 6851544"/>
              <a:gd name="connsiteX964" fmla="*/ 4009917 w 6901213"/>
              <a:gd name="connsiteY964" fmla="*/ 6065723 h 6851544"/>
              <a:gd name="connsiteX965" fmla="*/ 4129458 w 6901213"/>
              <a:gd name="connsiteY965" fmla="*/ 5927652 h 6851544"/>
              <a:gd name="connsiteX966" fmla="*/ 4128926 w 6901213"/>
              <a:gd name="connsiteY966" fmla="*/ 5927120 h 6851544"/>
              <a:gd name="connsiteX967" fmla="*/ 4128395 w 6901213"/>
              <a:gd name="connsiteY967" fmla="*/ 5927652 h 6851544"/>
              <a:gd name="connsiteX968" fmla="*/ 4128926 w 6901213"/>
              <a:gd name="connsiteY968" fmla="*/ 5928183 h 6851544"/>
              <a:gd name="connsiteX969" fmla="*/ 4129458 w 6901213"/>
              <a:gd name="connsiteY969" fmla="*/ 5927652 h 6851544"/>
              <a:gd name="connsiteX970" fmla="*/ 4237986 w 6901213"/>
              <a:gd name="connsiteY970" fmla="*/ 5780390 h 6851544"/>
              <a:gd name="connsiteX971" fmla="*/ 4236847 w 6901213"/>
              <a:gd name="connsiteY971" fmla="*/ 5779251 h 6851544"/>
              <a:gd name="connsiteX972" fmla="*/ 4235707 w 6901213"/>
              <a:gd name="connsiteY972" fmla="*/ 5780390 h 6851544"/>
              <a:gd name="connsiteX973" fmla="*/ 4236847 w 6901213"/>
              <a:gd name="connsiteY973" fmla="*/ 5781530 h 6851544"/>
              <a:gd name="connsiteX974" fmla="*/ 4237986 w 6901213"/>
              <a:gd name="connsiteY974" fmla="*/ 5780390 h 6851544"/>
              <a:gd name="connsiteX975" fmla="*/ 4334742 w 6901213"/>
              <a:gd name="connsiteY975" fmla="*/ 5624775 h 6851544"/>
              <a:gd name="connsiteX976" fmla="*/ 4332464 w 6901213"/>
              <a:gd name="connsiteY976" fmla="*/ 5622497 h 6851544"/>
              <a:gd name="connsiteX977" fmla="*/ 4330185 w 6901213"/>
              <a:gd name="connsiteY977" fmla="*/ 5624775 h 6851544"/>
              <a:gd name="connsiteX978" fmla="*/ 4332464 w 6901213"/>
              <a:gd name="connsiteY978" fmla="*/ 5627054 h 6851544"/>
              <a:gd name="connsiteX979" fmla="*/ 4334742 w 6901213"/>
              <a:gd name="connsiteY979" fmla="*/ 5624775 h 6851544"/>
              <a:gd name="connsiteX980" fmla="*/ 4417828 w 6901213"/>
              <a:gd name="connsiteY980" fmla="*/ 5461869 h 6851544"/>
              <a:gd name="connsiteX981" fmla="*/ 4415018 w 6901213"/>
              <a:gd name="connsiteY981" fmla="*/ 5459059 h 6851544"/>
              <a:gd name="connsiteX982" fmla="*/ 4412208 w 6901213"/>
              <a:gd name="connsiteY982" fmla="*/ 5461869 h 6851544"/>
              <a:gd name="connsiteX983" fmla="*/ 4415018 w 6901213"/>
              <a:gd name="connsiteY983" fmla="*/ 5464679 h 6851544"/>
              <a:gd name="connsiteX984" fmla="*/ 4417828 w 6901213"/>
              <a:gd name="connsiteY984" fmla="*/ 5461869 h 6851544"/>
              <a:gd name="connsiteX985" fmla="*/ 4488003 w 6901213"/>
              <a:gd name="connsiteY985" fmla="*/ 5292812 h 6851544"/>
              <a:gd name="connsiteX986" fmla="*/ 4484054 w 6901213"/>
              <a:gd name="connsiteY986" fmla="*/ 5288863 h 6851544"/>
              <a:gd name="connsiteX987" fmla="*/ 4480105 w 6901213"/>
              <a:gd name="connsiteY987" fmla="*/ 5292812 h 6851544"/>
              <a:gd name="connsiteX988" fmla="*/ 4484054 w 6901213"/>
              <a:gd name="connsiteY988" fmla="*/ 5296761 h 6851544"/>
              <a:gd name="connsiteX989" fmla="*/ 4488003 w 6901213"/>
              <a:gd name="connsiteY989" fmla="*/ 5292812 h 6851544"/>
              <a:gd name="connsiteX990" fmla="*/ 4544128 w 6901213"/>
              <a:gd name="connsiteY990" fmla="*/ 5118590 h 6851544"/>
              <a:gd name="connsiteX991" fmla="*/ 4539039 w 6901213"/>
              <a:gd name="connsiteY991" fmla="*/ 5113501 h 6851544"/>
              <a:gd name="connsiteX992" fmla="*/ 4533951 w 6901213"/>
              <a:gd name="connsiteY992" fmla="*/ 5118590 h 6851544"/>
              <a:gd name="connsiteX993" fmla="*/ 4539039 w 6901213"/>
              <a:gd name="connsiteY993" fmla="*/ 5123678 h 6851544"/>
              <a:gd name="connsiteX994" fmla="*/ 4544128 w 6901213"/>
              <a:gd name="connsiteY994" fmla="*/ 5118590 h 6851544"/>
              <a:gd name="connsiteX995" fmla="*/ 4585899 w 6901213"/>
              <a:gd name="connsiteY995" fmla="*/ 4940570 h 6851544"/>
              <a:gd name="connsiteX996" fmla="*/ 4579671 w 6901213"/>
              <a:gd name="connsiteY996" fmla="*/ 4934342 h 6851544"/>
              <a:gd name="connsiteX997" fmla="*/ 4573443 w 6901213"/>
              <a:gd name="connsiteY997" fmla="*/ 4940570 h 6851544"/>
              <a:gd name="connsiteX998" fmla="*/ 4579671 w 6901213"/>
              <a:gd name="connsiteY998" fmla="*/ 4946798 h 6851544"/>
              <a:gd name="connsiteX999" fmla="*/ 4585899 w 6901213"/>
              <a:gd name="connsiteY999" fmla="*/ 4940570 h 6851544"/>
              <a:gd name="connsiteX1000" fmla="*/ 4613087 w 6901213"/>
              <a:gd name="connsiteY1000" fmla="*/ 4759817 h 6851544"/>
              <a:gd name="connsiteX1001" fmla="*/ 4605721 w 6901213"/>
              <a:gd name="connsiteY1001" fmla="*/ 4752450 h 6851544"/>
              <a:gd name="connsiteX1002" fmla="*/ 4598354 w 6901213"/>
              <a:gd name="connsiteY1002" fmla="*/ 4759817 h 6851544"/>
              <a:gd name="connsiteX1003" fmla="*/ 4605721 w 6901213"/>
              <a:gd name="connsiteY1003" fmla="*/ 4767184 h 6851544"/>
              <a:gd name="connsiteX1004" fmla="*/ 4613087 w 6901213"/>
              <a:gd name="connsiteY1004" fmla="*/ 4759817 h 6851544"/>
              <a:gd name="connsiteX1005" fmla="*/ 4625315 w 6901213"/>
              <a:gd name="connsiteY1005" fmla="*/ 4577544 h 6851544"/>
              <a:gd name="connsiteX1006" fmla="*/ 4616809 w 6901213"/>
              <a:gd name="connsiteY1006" fmla="*/ 4569114 h 6851544"/>
              <a:gd name="connsiteX1007" fmla="*/ 4608379 w 6901213"/>
              <a:gd name="connsiteY1007" fmla="*/ 4577544 h 6851544"/>
              <a:gd name="connsiteX1008" fmla="*/ 4616809 w 6901213"/>
              <a:gd name="connsiteY1008" fmla="*/ 4585974 h 6851544"/>
              <a:gd name="connsiteX1009" fmla="*/ 4625315 w 6901213"/>
              <a:gd name="connsiteY1009" fmla="*/ 4577544 h 6851544"/>
              <a:gd name="connsiteX1010" fmla="*/ 4622733 w 6901213"/>
              <a:gd name="connsiteY1010" fmla="*/ 4394968 h 6851544"/>
              <a:gd name="connsiteX1011" fmla="*/ 4613163 w 6901213"/>
              <a:gd name="connsiteY1011" fmla="*/ 4385399 h 6851544"/>
              <a:gd name="connsiteX1012" fmla="*/ 4603594 w 6901213"/>
              <a:gd name="connsiteY1012" fmla="*/ 4394968 h 6851544"/>
              <a:gd name="connsiteX1013" fmla="*/ 4613163 w 6901213"/>
              <a:gd name="connsiteY1013" fmla="*/ 4404538 h 6851544"/>
              <a:gd name="connsiteX1014" fmla="*/ 4622733 w 6901213"/>
              <a:gd name="connsiteY1014" fmla="*/ 4394968 h 6851544"/>
              <a:gd name="connsiteX1015" fmla="*/ 4605265 w 6901213"/>
              <a:gd name="connsiteY1015" fmla="*/ 4213228 h 6851544"/>
              <a:gd name="connsiteX1016" fmla="*/ 4594556 w 6901213"/>
              <a:gd name="connsiteY1016" fmla="*/ 4202519 h 6851544"/>
              <a:gd name="connsiteX1017" fmla="*/ 4583848 w 6901213"/>
              <a:gd name="connsiteY1017" fmla="*/ 4213228 h 6851544"/>
              <a:gd name="connsiteX1018" fmla="*/ 4594556 w 6901213"/>
              <a:gd name="connsiteY1018" fmla="*/ 4223936 h 6851544"/>
              <a:gd name="connsiteX1019" fmla="*/ 4605265 w 6901213"/>
              <a:gd name="connsiteY1019" fmla="*/ 4213228 h 6851544"/>
              <a:gd name="connsiteX1020" fmla="*/ 4573064 w 6901213"/>
              <a:gd name="connsiteY1020" fmla="*/ 4033689 h 6851544"/>
              <a:gd name="connsiteX1021" fmla="*/ 4561216 w 6901213"/>
              <a:gd name="connsiteY1021" fmla="*/ 4021841 h 6851544"/>
              <a:gd name="connsiteX1022" fmla="*/ 4549368 w 6901213"/>
              <a:gd name="connsiteY1022" fmla="*/ 4033689 h 6851544"/>
              <a:gd name="connsiteX1023" fmla="*/ 4561216 w 6901213"/>
              <a:gd name="connsiteY1023" fmla="*/ 4045537 h 6851544"/>
              <a:gd name="connsiteX1024" fmla="*/ 4573064 w 6901213"/>
              <a:gd name="connsiteY1024" fmla="*/ 4033689 h 6851544"/>
              <a:gd name="connsiteX1025" fmla="*/ 4526356 w 6901213"/>
              <a:gd name="connsiteY1025" fmla="*/ 3857416 h 6851544"/>
              <a:gd name="connsiteX1026" fmla="*/ 4513369 w 6901213"/>
              <a:gd name="connsiteY1026" fmla="*/ 3844429 h 6851544"/>
              <a:gd name="connsiteX1027" fmla="*/ 4500382 w 6901213"/>
              <a:gd name="connsiteY1027" fmla="*/ 3857416 h 6851544"/>
              <a:gd name="connsiteX1028" fmla="*/ 4513369 w 6901213"/>
              <a:gd name="connsiteY1028" fmla="*/ 3870403 h 6851544"/>
              <a:gd name="connsiteX1029" fmla="*/ 4526356 w 6901213"/>
              <a:gd name="connsiteY1029" fmla="*/ 3857416 h 6851544"/>
              <a:gd name="connsiteX1030" fmla="*/ 4465371 w 6901213"/>
              <a:gd name="connsiteY1030" fmla="*/ 3685700 h 6851544"/>
              <a:gd name="connsiteX1031" fmla="*/ 4451245 w 6901213"/>
              <a:gd name="connsiteY1031" fmla="*/ 3671574 h 6851544"/>
              <a:gd name="connsiteX1032" fmla="*/ 4437119 w 6901213"/>
              <a:gd name="connsiteY1032" fmla="*/ 3685700 h 6851544"/>
              <a:gd name="connsiteX1033" fmla="*/ 4451245 w 6901213"/>
              <a:gd name="connsiteY1033" fmla="*/ 3699826 h 6851544"/>
              <a:gd name="connsiteX1034" fmla="*/ 4465371 w 6901213"/>
              <a:gd name="connsiteY1034" fmla="*/ 3685700 h 6851544"/>
              <a:gd name="connsiteX1035" fmla="*/ 4390107 w 6901213"/>
              <a:gd name="connsiteY1035" fmla="*/ 3519605 h 6851544"/>
              <a:gd name="connsiteX1036" fmla="*/ 4375450 w 6901213"/>
              <a:gd name="connsiteY1036" fmla="*/ 3504947 h 6851544"/>
              <a:gd name="connsiteX1037" fmla="*/ 4360792 w 6901213"/>
              <a:gd name="connsiteY1037" fmla="*/ 3519605 h 6851544"/>
              <a:gd name="connsiteX1038" fmla="*/ 4375450 w 6901213"/>
              <a:gd name="connsiteY1038" fmla="*/ 3534262 h 6851544"/>
              <a:gd name="connsiteX1039" fmla="*/ 4390107 w 6901213"/>
              <a:gd name="connsiteY1039" fmla="*/ 3519605 h 6851544"/>
              <a:gd name="connsiteX1040" fmla="*/ 4301478 w 6901213"/>
              <a:gd name="connsiteY1040" fmla="*/ 3360192 h 6851544"/>
              <a:gd name="connsiteX1041" fmla="*/ 4286212 w 6901213"/>
              <a:gd name="connsiteY1041" fmla="*/ 3344927 h 6851544"/>
              <a:gd name="connsiteX1042" fmla="*/ 4270947 w 6901213"/>
              <a:gd name="connsiteY1042" fmla="*/ 3360192 h 6851544"/>
              <a:gd name="connsiteX1043" fmla="*/ 4286212 w 6901213"/>
              <a:gd name="connsiteY1043" fmla="*/ 3375458 h 6851544"/>
              <a:gd name="connsiteX1044" fmla="*/ 4301478 w 6901213"/>
              <a:gd name="connsiteY1044" fmla="*/ 3360192 h 6851544"/>
              <a:gd name="connsiteX1045" fmla="*/ 4200240 w 6901213"/>
              <a:gd name="connsiteY1045" fmla="*/ 3208602 h 6851544"/>
              <a:gd name="connsiteX1046" fmla="*/ 4184443 w 6901213"/>
              <a:gd name="connsiteY1046" fmla="*/ 3192806 h 6851544"/>
              <a:gd name="connsiteX1047" fmla="*/ 4168646 w 6901213"/>
              <a:gd name="connsiteY1047" fmla="*/ 3208602 h 6851544"/>
              <a:gd name="connsiteX1048" fmla="*/ 4184443 w 6901213"/>
              <a:gd name="connsiteY1048" fmla="*/ 3224399 h 6851544"/>
              <a:gd name="connsiteX1049" fmla="*/ 4200240 w 6901213"/>
              <a:gd name="connsiteY1049" fmla="*/ 3208602 h 6851544"/>
              <a:gd name="connsiteX1050" fmla="*/ 4086320 w 6901213"/>
              <a:gd name="connsiteY1050" fmla="*/ 3065822 h 6851544"/>
              <a:gd name="connsiteX1051" fmla="*/ 4070523 w 6901213"/>
              <a:gd name="connsiteY1051" fmla="*/ 3050025 h 6851544"/>
              <a:gd name="connsiteX1052" fmla="*/ 4054726 w 6901213"/>
              <a:gd name="connsiteY1052" fmla="*/ 3065822 h 6851544"/>
              <a:gd name="connsiteX1053" fmla="*/ 4070523 w 6901213"/>
              <a:gd name="connsiteY1053" fmla="*/ 3081619 h 6851544"/>
              <a:gd name="connsiteX1054" fmla="*/ 4086320 w 6901213"/>
              <a:gd name="connsiteY1054" fmla="*/ 3065822 h 6851544"/>
              <a:gd name="connsiteX1055" fmla="*/ 3961767 w 6901213"/>
              <a:gd name="connsiteY1055" fmla="*/ 2932763 h 6851544"/>
              <a:gd name="connsiteX1056" fmla="*/ 3945363 w 6901213"/>
              <a:gd name="connsiteY1056" fmla="*/ 2916435 h 6851544"/>
              <a:gd name="connsiteX1057" fmla="*/ 3928958 w 6901213"/>
              <a:gd name="connsiteY1057" fmla="*/ 2932763 h 6851544"/>
              <a:gd name="connsiteX1058" fmla="*/ 3945363 w 6901213"/>
              <a:gd name="connsiteY1058" fmla="*/ 2949168 h 6851544"/>
              <a:gd name="connsiteX1059" fmla="*/ 3961767 w 6901213"/>
              <a:gd name="connsiteY1059" fmla="*/ 2932763 h 6851544"/>
              <a:gd name="connsiteX1060" fmla="*/ 3825671 w 6901213"/>
              <a:gd name="connsiteY1060" fmla="*/ 2810413 h 6851544"/>
              <a:gd name="connsiteX1061" fmla="*/ 3809873 w 6901213"/>
              <a:gd name="connsiteY1061" fmla="*/ 2794616 h 6851544"/>
              <a:gd name="connsiteX1062" fmla="*/ 3794077 w 6901213"/>
              <a:gd name="connsiteY1062" fmla="*/ 2810413 h 6851544"/>
              <a:gd name="connsiteX1063" fmla="*/ 3809873 w 6901213"/>
              <a:gd name="connsiteY1063" fmla="*/ 2826210 h 6851544"/>
              <a:gd name="connsiteX1064" fmla="*/ 3825671 w 6901213"/>
              <a:gd name="connsiteY1064" fmla="*/ 2810413 h 6851544"/>
              <a:gd name="connsiteX1065" fmla="*/ 3680612 w 6901213"/>
              <a:gd name="connsiteY1065" fmla="*/ 2699455 h 6851544"/>
              <a:gd name="connsiteX1066" fmla="*/ 3664815 w 6901213"/>
              <a:gd name="connsiteY1066" fmla="*/ 2683658 h 6851544"/>
              <a:gd name="connsiteX1067" fmla="*/ 3649018 w 6901213"/>
              <a:gd name="connsiteY1067" fmla="*/ 2699455 h 6851544"/>
              <a:gd name="connsiteX1068" fmla="*/ 3664815 w 6901213"/>
              <a:gd name="connsiteY1068" fmla="*/ 2715252 h 6851544"/>
              <a:gd name="connsiteX1069" fmla="*/ 3680612 w 6901213"/>
              <a:gd name="connsiteY1069" fmla="*/ 2699455 h 6851544"/>
              <a:gd name="connsiteX1070" fmla="*/ 3526364 w 6901213"/>
              <a:gd name="connsiteY1070" fmla="*/ 2600724 h 6851544"/>
              <a:gd name="connsiteX1071" fmla="*/ 3511099 w 6901213"/>
              <a:gd name="connsiteY1071" fmla="*/ 2585459 h 6851544"/>
              <a:gd name="connsiteX1072" fmla="*/ 3495833 w 6901213"/>
              <a:gd name="connsiteY1072" fmla="*/ 2600724 h 6851544"/>
              <a:gd name="connsiteX1073" fmla="*/ 3511099 w 6901213"/>
              <a:gd name="connsiteY1073" fmla="*/ 2615989 h 6851544"/>
              <a:gd name="connsiteX1074" fmla="*/ 3526364 w 6901213"/>
              <a:gd name="connsiteY1074" fmla="*/ 2600724 h 6851544"/>
              <a:gd name="connsiteX1075" fmla="*/ 3364673 w 6901213"/>
              <a:gd name="connsiteY1075" fmla="*/ 2514828 h 6851544"/>
              <a:gd name="connsiteX1076" fmla="*/ 3350015 w 6901213"/>
              <a:gd name="connsiteY1076" fmla="*/ 2500170 h 6851544"/>
              <a:gd name="connsiteX1077" fmla="*/ 3335358 w 6901213"/>
              <a:gd name="connsiteY1077" fmla="*/ 2514828 h 6851544"/>
              <a:gd name="connsiteX1078" fmla="*/ 3350015 w 6901213"/>
              <a:gd name="connsiteY1078" fmla="*/ 2529486 h 6851544"/>
              <a:gd name="connsiteX1079" fmla="*/ 3364673 w 6901213"/>
              <a:gd name="connsiteY1079" fmla="*/ 2514828 h 6851544"/>
              <a:gd name="connsiteX1080" fmla="*/ 3196451 w 6901213"/>
              <a:gd name="connsiteY1080" fmla="*/ 2442375 h 6851544"/>
              <a:gd name="connsiteX1081" fmla="*/ 3182325 w 6901213"/>
              <a:gd name="connsiteY1081" fmla="*/ 2428249 h 6851544"/>
              <a:gd name="connsiteX1082" fmla="*/ 3168199 w 6901213"/>
              <a:gd name="connsiteY1082" fmla="*/ 2442375 h 6851544"/>
              <a:gd name="connsiteX1083" fmla="*/ 3182325 w 6901213"/>
              <a:gd name="connsiteY1083" fmla="*/ 2456501 h 6851544"/>
              <a:gd name="connsiteX1084" fmla="*/ 3196451 w 6901213"/>
              <a:gd name="connsiteY1084" fmla="*/ 2442375 h 6851544"/>
              <a:gd name="connsiteX1085" fmla="*/ 3022305 w 6901213"/>
              <a:gd name="connsiteY1085" fmla="*/ 2383820 h 6851544"/>
              <a:gd name="connsiteX1086" fmla="*/ 3009318 w 6901213"/>
              <a:gd name="connsiteY1086" fmla="*/ 2370833 h 6851544"/>
              <a:gd name="connsiteX1087" fmla="*/ 2996331 w 6901213"/>
              <a:gd name="connsiteY1087" fmla="*/ 2383820 h 6851544"/>
              <a:gd name="connsiteX1088" fmla="*/ 3009318 w 6901213"/>
              <a:gd name="connsiteY1088" fmla="*/ 2396807 h 6851544"/>
              <a:gd name="connsiteX1089" fmla="*/ 3022305 w 6901213"/>
              <a:gd name="connsiteY1089" fmla="*/ 2383820 h 6851544"/>
              <a:gd name="connsiteX1090" fmla="*/ 2843982 w 6901213"/>
              <a:gd name="connsiteY1090" fmla="*/ 2339543 h 6851544"/>
              <a:gd name="connsiteX1091" fmla="*/ 2832134 w 6901213"/>
              <a:gd name="connsiteY1091" fmla="*/ 2327695 h 6851544"/>
              <a:gd name="connsiteX1092" fmla="*/ 2820286 w 6901213"/>
              <a:gd name="connsiteY1092" fmla="*/ 2339543 h 6851544"/>
              <a:gd name="connsiteX1093" fmla="*/ 2832134 w 6901213"/>
              <a:gd name="connsiteY1093" fmla="*/ 2351390 h 6851544"/>
              <a:gd name="connsiteX1094" fmla="*/ 2843982 w 6901213"/>
              <a:gd name="connsiteY1094" fmla="*/ 2339543 h 6851544"/>
              <a:gd name="connsiteX1095" fmla="*/ 2662696 w 6901213"/>
              <a:gd name="connsiteY1095" fmla="*/ 2309923 h 6851544"/>
              <a:gd name="connsiteX1096" fmla="*/ 2651988 w 6901213"/>
              <a:gd name="connsiteY1096" fmla="*/ 2299215 h 6851544"/>
              <a:gd name="connsiteX1097" fmla="*/ 2641279 w 6901213"/>
              <a:gd name="connsiteY1097" fmla="*/ 2309923 h 6851544"/>
              <a:gd name="connsiteX1098" fmla="*/ 2651988 w 6901213"/>
              <a:gd name="connsiteY1098" fmla="*/ 2320632 h 6851544"/>
              <a:gd name="connsiteX1099" fmla="*/ 2662696 w 6901213"/>
              <a:gd name="connsiteY1099" fmla="*/ 2309923 h 6851544"/>
              <a:gd name="connsiteX1100" fmla="*/ 2478981 w 6901213"/>
              <a:gd name="connsiteY1100" fmla="*/ 2295038 h 6851544"/>
              <a:gd name="connsiteX1101" fmla="*/ 2469943 w 6901213"/>
              <a:gd name="connsiteY1101" fmla="*/ 2286000 h 6851544"/>
              <a:gd name="connsiteX1102" fmla="*/ 2460906 w 6901213"/>
              <a:gd name="connsiteY1102" fmla="*/ 2295038 h 6851544"/>
              <a:gd name="connsiteX1103" fmla="*/ 2469943 w 6901213"/>
              <a:gd name="connsiteY1103" fmla="*/ 2304075 h 6851544"/>
              <a:gd name="connsiteX1104" fmla="*/ 2478981 w 6901213"/>
              <a:gd name="connsiteY1104" fmla="*/ 2295038 h 6851544"/>
              <a:gd name="connsiteX1105" fmla="*/ 2295190 w 6901213"/>
              <a:gd name="connsiteY1105" fmla="*/ 2295038 h 6851544"/>
              <a:gd name="connsiteX1106" fmla="*/ 2287291 w 6901213"/>
              <a:gd name="connsiteY1106" fmla="*/ 2287139 h 6851544"/>
              <a:gd name="connsiteX1107" fmla="*/ 2279393 w 6901213"/>
              <a:gd name="connsiteY1107" fmla="*/ 2295038 h 6851544"/>
              <a:gd name="connsiteX1108" fmla="*/ 2287291 w 6901213"/>
              <a:gd name="connsiteY1108" fmla="*/ 2302936 h 6851544"/>
              <a:gd name="connsiteX1109" fmla="*/ 2295190 w 6901213"/>
              <a:gd name="connsiteY1109" fmla="*/ 2295038 h 6851544"/>
              <a:gd name="connsiteX1110" fmla="*/ 2112082 w 6901213"/>
              <a:gd name="connsiteY1110" fmla="*/ 2309923 h 6851544"/>
              <a:gd name="connsiteX1111" fmla="*/ 2105322 w 6901213"/>
              <a:gd name="connsiteY1111" fmla="*/ 2303164 h 6851544"/>
              <a:gd name="connsiteX1112" fmla="*/ 2098563 w 6901213"/>
              <a:gd name="connsiteY1112" fmla="*/ 2309923 h 6851544"/>
              <a:gd name="connsiteX1113" fmla="*/ 2105322 w 6901213"/>
              <a:gd name="connsiteY1113" fmla="*/ 2316683 h 6851544"/>
              <a:gd name="connsiteX1114" fmla="*/ 2112082 w 6901213"/>
              <a:gd name="connsiteY1114" fmla="*/ 2309923 h 6851544"/>
              <a:gd name="connsiteX1115" fmla="*/ 1930721 w 6901213"/>
              <a:gd name="connsiteY1115" fmla="*/ 2339543 h 6851544"/>
              <a:gd name="connsiteX1116" fmla="*/ 1925101 w 6901213"/>
              <a:gd name="connsiteY1116" fmla="*/ 2333923 h 6851544"/>
              <a:gd name="connsiteX1117" fmla="*/ 1919481 w 6901213"/>
              <a:gd name="connsiteY1117" fmla="*/ 2339543 h 6851544"/>
              <a:gd name="connsiteX1118" fmla="*/ 1925101 w 6901213"/>
              <a:gd name="connsiteY1118" fmla="*/ 2345163 h 6851544"/>
              <a:gd name="connsiteX1119" fmla="*/ 1930721 w 6901213"/>
              <a:gd name="connsiteY1119" fmla="*/ 2339543 h 6851544"/>
              <a:gd name="connsiteX1120" fmla="*/ 1752398 w 6901213"/>
              <a:gd name="connsiteY1120" fmla="*/ 2383820 h 6851544"/>
              <a:gd name="connsiteX1121" fmla="*/ 1747917 w 6901213"/>
              <a:gd name="connsiteY1121" fmla="*/ 2379339 h 6851544"/>
              <a:gd name="connsiteX1122" fmla="*/ 1743436 w 6901213"/>
              <a:gd name="connsiteY1122" fmla="*/ 2383820 h 6851544"/>
              <a:gd name="connsiteX1123" fmla="*/ 1747917 w 6901213"/>
              <a:gd name="connsiteY1123" fmla="*/ 2388300 h 6851544"/>
              <a:gd name="connsiteX1124" fmla="*/ 1752398 w 6901213"/>
              <a:gd name="connsiteY1124" fmla="*/ 2383820 h 6851544"/>
              <a:gd name="connsiteX1125" fmla="*/ 1578327 w 6901213"/>
              <a:gd name="connsiteY1125" fmla="*/ 2442375 h 6851544"/>
              <a:gd name="connsiteX1126" fmla="*/ 1574910 w 6901213"/>
              <a:gd name="connsiteY1126" fmla="*/ 2438957 h 6851544"/>
              <a:gd name="connsiteX1127" fmla="*/ 1571492 w 6901213"/>
              <a:gd name="connsiteY1127" fmla="*/ 2442375 h 6851544"/>
              <a:gd name="connsiteX1128" fmla="*/ 1574910 w 6901213"/>
              <a:gd name="connsiteY1128" fmla="*/ 2445792 h 6851544"/>
              <a:gd name="connsiteX1129" fmla="*/ 1578327 w 6901213"/>
              <a:gd name="connsiteY1129" fmla="*/ 2442375 h 6851544"/>
              <a:gd name="connsiteX1130" fmla="*/ 1410105 w 6901213"/>
              <a:gd name="connsiteY1130" fmla="*/ 2514828 h 6851544"/>
              <a:gd name="connsiteX1131" fmla="*/ 1407295 w 6901213"/>
              <a:gd name="connsiteY1131" fmla="*/ 2512018 h 6851544"/>
              <a:gd name="connsiteX1132" fmla="*/ 1404485 w 6901213"/>
              <a:gd name="connsiteY1132" fmla="*/ 2514828 h 6851544"/>
              <a:gd name="connsiteX1133" fmla="*/ 1407295 w 6901213"/>
              <a:gd name="connsiteY1133" fmla="*/ 2517638 h 6851544"/>
              <a:gd name="connsiteX1134" fmla="*/ 1410105 w 6901213"/>
              <a:gd name="connsiteY1134" fmla="*/ 2514828 h 6851544"/>
              <a:gd name="connsiteX1135" fmla="*/ 1247807 w 6901213"/>
              <a:gd name="connsiteY1135" fmla="*/ 2600724 h 6851544"/>
              <a:gd name="connsiteX1136" fmla="*/ 1246136 w 6901213"/>
              <a:gd name="connsiteY1136" fmla="*/ 2599053 h 6851544"/>
              <a:gd name="connsiteX1137" fmla="*/ 1244465 w 6901213"/>
              <a:gd name="connsiteY1137" fmla="*/ 2600724 h 6851544"/>
              <a:gd name="connsiteX1138" fmla="*/ 1246136 w 6901213"/>
              <a:gd name="connsiteY1138" fmla="*/ 2602395 h 6851544"/>
              <a:gd name="connsiteX1139" fmla="*/ 1247807 w 6901213"/>
              <a:gd name="connsiteY1139" fmla="*/ 2600724 h 6851544"/>
              <a:gd name="connsiteX1140" fmla="*/ 1093635 w 6901213"/>
              <a:gd name="connsiteY1140" fmla="*/ 2699455 h 6851544"/>
              <a:gd name="connsiteX1141" fmla="*/ 1092495 w 6901213"/>
              <a:gd name="connsiteY1141" fmla="*/ 2698315 h 6851544"/>
              <a:gd name="connsiteX1142" fmla="*/ 1091356 w 6901213"/>
              <a:gd name="connsiteY1142" fmla="*/ 2699455 h 6851544"/>
              <a:gd name="connsiteX1143" fmla="*/ 1092495 w 6901213"/>
              <a:gd name="connsiteY1143" fmla="*/ 2700594 h 6851544"/>
              <a:gd name="connsiteX1144" fmla="*/ 1093635 w 6901213"/>
              <a:gd name="connsiteY1144" fmla="*/ 2699455 h 6851544"/>
              <a:gd name="connsiteX1145" fmla="*/ 947969 w 6901213"/>
              <a:gd name="connsiteY1145" fmla="*/ 2810413 h 6851544"/>
              <a:gd name="connsiteX1146" fmla="*/ 947437 w 6901213"/>
              <a:gd name="connsiteY1146" fmla="*/ 2809881 h 6851544"/>
              <a:gd name="connsiteX1147" fmla="*/ 946905 w 6901213"/>
              <a:gd name="connsiteY1147" fmla="*/ 2810413 h 6851544"/>
              <a:gd name="connsiteX1148" fmla="*/ 947437 w 6901213"/>
              <a:gd name="connsiteY1148" fmla="*/ 2810945 h 6851544"/>
              <a:gd name="connsiteX1149" fmla="*/ 947969 w 6901213"/>
              <a:gd name="connsiteY1149" fmla="*/ 2810413 h 6851544"/>
              <a:gd name="connsiteX1150" fmla="*/ 812403 w 6901213"/>
              <a:gd name="connsiteY1150" fmla="*/ 2932763 h 6851544"/>
              <a:gd name="connsiteX1151" fmla="*/ 811872 w 6901213"/>
              <a:gd name="connsiteY1151" fmla="*/ 2932232 h 6851544"/>
              <a:gd name="connsiteX1152" fmla="*/ 811340 w 6901213"/>
              <a:gd name="connsiteY1152" fmla="*/ 2932763 h 6851544"/>
              <a:gd name="connsiteX1153" fmla="*/ 811872 w 6901213"/>
              <a:gd name="connsiteY1153" fmla="*/ 2933295 h 6851544"/>
              <a:gd name="connsiteX1154" fmla="*/ 812403 w 6901213"/>
              <a:gd name="connsiteY1154" fmla="*/ 2932763 h 6851544"/>
              <a:gd name="connsiteX1155" fmla="*/ 4169482 w 6901213"/>
              <a:gd name="connsiteY1155" fmla="*/ 6193010 h 6851544"/>
              <a:gd name="connsiteX1156" fmla="*/ 4168950 w 6901213"/>
              <a:gd name="connsiteY1156" fmla="*/ 6192478 h 6851544"/>
              <a:gd name="connsiteX1157" fmla="*/ 4168418 w 6901213"/>
              <a:gd name="connsiteY1157" fmla="*/ 6193010 h 6851544"/>
              <a:gd name="connsiteX1158" fmla="*/ 4168950 w 6901213"/>
              <a:gd name="connsiteY1158" fmla="*/ 6193541 h 6851544"/>
              <a:gd name="connsiteX1159" fmla="*/ 4169482 w 6901213"/>
              <a:gd name="connsiteY1159" fmla="*/ 6193010 h 6851544"/>
              <a:gd name="connsiteX1160" fmla="*/ 4289174 w 6901213"/>
              <a:gd name="connsiteY1160" fmla="*/ 6054558 h 6851544"/>
              <a:gd name="connsiteX1161" fmla="*/ 4288035 w 6901213"/>
              <a:gd name="connsiteY1161" fmla="*/ 6053419 h 6851544"/>
              <a:gd name="connsiteX1162" fmla="*/ 4286896 w 6901213"/>
              <a:gd name="connsiteY1162" fmla="*/ 6054558 h 6851544"/>
              <a:gd name="connsiteX1163" fmla="*/ 4288035 w 6901213"/>
              <a:gd name="connsiteY1163" fmla="*/ 6055698 h 6851544"/>
              <a:gd name="connsiteX1164" fmla="*/ 4289174 w 6901213"/>
              <a:gd name="connsiteY1164" fmla="*/ 6054558 h 6851544"/>
              <a:gd name="connsiteX1165" fmla="*/ 4397626 w 6901213"/>
              <a:gd name="connsiteY1165" fmla="*/ 5907601 h 6851544"/>
              <a:gd name="connsiteX1166" fmla="*/ 4396487 w 6901213"/>
              <a:gd name="connsiteY1166" fmla="*/ 5906462 h 6851544"/>
              <a:gd name="connsiteX1167" fmla="*/ 4395348 w 6901213"/>
              <a:gd name="connsiteY1167" fmla="*/ 5907601 h 6851544"/>
              <a:gd name="connsiteX1168" fmla="*/ 4396487 w 6901213"/>
              <a:gd name="connsiteY1168" fmla="*/ 5908741 h 6851544"/>
              <a:gd name="connsiteX1169" fmla="*/ 4397626 w 6901213"/>
              <a:gd name="connsiteY1169" fmla="*/ 5907601 h 6851544"/>
              <a:gd name="connsiteX1170" fmla="*/ 4495901 w 6901213"/>
              <a:gd name="connsiteY1170" fmla="*/ 5752974 h 6851544"/>
              <a:gd name="connsiteX1171" fmla="*/ 4493623 w 6901213"/>
              <a:gd name="connsiteY1171" fmla="*/ 5750695 h 6851544"/>
              <a:gd name="connsiteX1172" fmla="*/ 4491345 w 6901213"/>
              <a:gd name="connsiteY1172" fmla="*/ 5752974 h 6851544"/>
              <a:gd name="connsiteX1173" fmla="*/ 4493623 w 6901213"/>
              <a:gd name="connsiteY1173" fmla="*/ 5755252 h 6851544"/>
              <a:gd name="connsiteX1174" fmla="*/ 4495901 w 6901213"/>
              <a:gd name="connsiteY1174" fmla="*/ 5752974 h 6851544"/>
              <a:gd name="connsiteX1175" fmla="*/ 4581797 w 6901213"/>
              <a:gd name="connsiteY1175" fmla="*/ 5591511 h 6851544"/>
              <a:gd name="connsiteX1176" fmla="*/ 4578987 w 6901213"/>
              <a:gd name="connsiteY1176" fmla="*/ 5588701 h 6851544"/>
              <a:gd name="connsiteX1177" fmla="*/ 4576177 w 6901213"/>
              <a:gd name="connsiteY1177" fmla="*/ 5591511 h 6851544"/>
              <a:gd name="connsiteX1178" fmla="*/ 4578987 w 6901213"/>
              <a:gd name="connsiteY1178" fmla="*/ 5594321 h 6851544"/>
              <a:gd name="connsiteX1179" fmla="*/ 4581797 w 6901213"/>
              <a:gd name="connsiteY1179" fmla="*/ 5591511 h 6851544"/>
              <a:gd name="connsiteX1180" fmla="*/ 4655997 w 6901213"/>
              <a:gd name="connsiteY1180" fmla="*/ 5424124 h 6851544"/>
              <a:gd name="connsiteX1181" fmla="*/ 4652048 w 6901213"/>
              <a:gd name="connsiteY1181" fmla="*/ 5420175 h 6851544"/>
              <a:gd name="connsiteX1182" fmla="*/ 4648099 w 6901213"/>
              <a:gd name="connsiteY1182" fmla="*/ 5424124 h 6851544"/>
              <a:gd name="connsiteX1183" fmla="*/ 4652048 w 6901213"/>
              <a:gd name="connsiteY1183" fmla="*/ 5428073 h 6851544"/>
              <a:gd name="connsiteX1184" fmla="*/ 4655997 w 6901213"/>
              <a:gd name="connsiteY1184" fmla="*/ 5424124 h 6851544"/>
              <a:gd name="connsiteX1185" fmla="*/ 4717439 w 6901213"/>
              <a:gd name="connsiteY1185" fmla="*/ 5251725 h 6851544"/>
              <a:gd name="connsiteX1186" fmla="*/ 4712350 w 6901213"/>
              <a:gd name="connsiteY1186" fmla="*/ 5246636 h 6851544"/>
              <a:gd name="connsiteX1187" fmla="*/ 4707261 w 6901213"/>
              <a:gd name="connsiteY1187" fmla="*/ 5251725 h 6851544"/>
              <a:gd name="connsiteX1188" fmla="*/ 4712350 w 6901213"/>
              <a:gd name="connsiteY1188" fmla="*/ 5256813 h 6851544"/>
              <a:gd name="connsiteX1189" fmla="*/ 4717439 w 6901213"/>
              <a:gd name="connsiteY1189" fmla="*/ 5251725 h 6851544"/>
              <a:gd name="connsiteX1190" fmla="*/ 4765817 w 6901213"/>
              <a:gd name="connsiteY1190" fmla="*/ 5075300 h 6851544"/>
              <a:gd name="connsiteX1191" fmla="*/ 4759589 w 6901213"/>
              <a:gd name="connsiteY1191" fmla="*/ 5069073 h 6851544"/>
              <a:gd name="connsiteX1192" fmla="*/ 4753361 w 6901213"/>
              <a:gd name="connsiteY1192" fmla="*/ 5075300 h 6851544"/>
              <a:gd name="connsiteX1193" fmla="*/ 4759589 w 6901213"/>
              <a:gd name="connsiteY1193" fmla="*/ 5081527 h 6851544"/>
              <a:gd name="connsiteX1194" fmla="*/ 4765817 w 6901213"/>
              <a:gd name="connsiteY1194" fmla="*/ 5075300 h 6851544"/>
              <a:gd name="connsiteX1195" fmla="*/ 4800904 w 6901213"/>
              <a:gd name="connsiteY1195" fmla="*/ 4895838 h 6851544"/>
              <a:gd name="connsiteX1196" fmla="*/ 4793537 w 6901213"/>
              <a:gd name="connsiteY1196" fmla="*/ 4888471 h 6851544"/>
              <a:gd name="connsiteX1197" fmla="*/ 4786170 w 6901213"/>
              <a:gd name="connsiteY1197" fmla="*/ 4895838 h 6851544"/>
              <a:gd name="connsiteX1198" fmla="*/ 4793537 w 6901213"/>
              <a:gd name="connsiteY1198" fmla="*/ 4903204 h 6851544"/>
              <a:gd name="connsiteX1199" fmla="*/ 4800904 w 6901213"/>
              <a:gd name="connsiteY1199" fmla="*/ 4895838 h 6851544"/>
              <a:gd name="connsiteX1200" fmla="*/ 4823080 w 6901213"/>
              <a:gd name="connsiteY1200" fmla="*/ 4714401 h 6851544"/>
              <a:gd name="connsiteX1201" fmla="*/ 4814043 w 6901213"/>
              <a:gd name="connsiteY1201" fmla="*/ 4705363 h 6851544"/>
              <a:gd name="connsiteX1202" fmla="*/ 4805005 w 6901213"/>
              <a:gd name="connsiteY1202" fmla="*/ 4714401 h 6851544"/>
              <a:gd name="connsiteX1203" fmla="*/ 4814043 w 6901213"/>
              <a:gd name="connsiteY1203" fmla="*/ 4723438 h 6851544"/>
              <a:gd name="connsiteX1204" fmla="*/ 4823080 w 6901213"/>
              <a:gd name="connsiteY1204" fmla="*/ 4714401 h 6851544"/>
              <a:gd name="connsiteX1205" fmla="*/ 4831055 w 6901213"/>
              <a:gd name="connsiteY1205" fmla="*/ 4531824 h 6851544"/>
              <a:gd name="connsiteX1206" fmla="*/ 4820878 w 6901213"/>
              <a:gd name="connsiteY1206" fmla="*/ 4521648 h 6851544"/>
              <a:gd name="connsiteX1207" fmla="*/ 4810701 w 6901213"/>
              <a:gd name="connsiteY1207" fmla="*/ 4531824 h 6851544"/>
              <a:gd name="connsiteX1208" fmla="*/ 4820878 w 6901213"/>
              <a:gd name="connsiteY1208" fmla="*/ 4542001 h 6851544"/>
              <a:gd name="connsiteX1209" fmla="*/ 4831055 w 6901213"/>
              <a:gd name="connsiteY1209" fmla="*/ 4531824 h 6851544"/>
              <a:gd name="connsiteX1210" fmla="*/ 4825359 w 6901213"/>
              <a:gd name="connsiteY1210" fmla="*/ 4349324 h 6851544"/>
              <a:gd name="connsiteX1211" fmla="*/ 4814043 w 6901213"/>
              <a:gd name="connsiteY1211" fmla="*/ 4338008 h 6851544"/>
              <a:gd name="connsiteX1212" fmla="*/ 4802727 w 6901213"/>
              <a:gd name="connsiteY1212" fmla="*/ 4349324 h 6851544"/>
              <a:gd name="connsiteX1213" fmla="*/ 4814043 w 6901213"/>
              <a:gd name="connsiteY1213" fmla="*/ 4360640 h 6851544"/>
              <a:gd name="connsiteX1214" fmla="*/ 4825359 w 6901213"/>
              <a:gd name="connsiteY1214" fmla="*/ 4349324 h 6851544"/>
              <a:gd name="connsiteX1215" fmla="*/ 4806600 w 6901213"/>
              <a:gd name="connsiteY1215" fmla="*/ 4167887 h 6851544"/>
              <a:gd name="connsiteX1216" fmla="*/ 4793613 w 6901213"/>
              <a:gd name="connsiteY1216" fmla="*/ 4154900 h 6851544"/>
              <a:gd name="connsiteX1217" fmla="*/ 4780626 w 6901213"/>
              <a:gd name="connsiteY1217" fmla="*/ 4167887 h 6851544"/>
              <a:gd name="connsiteX1218" fmla="*/ 4793613 w 6901213"/>
              <a:gd name="connsiteY1218" fmla="*/ 4180874 h 6851544"/>
              <a:gd name="connsiteX1219" fmla="*/ 4806600 w 6901213"/>
              <a:gd name="connsiteY1219" fmla="*/ 4167887 h 6851544"/>
              <a:gd name="connsiteX1220" fmla="*/ 4773715 w 6901213"/>
              <a:gd name="connsiteY1220" fmla="*/ 3988424 h 6851544"/>
              <a:gd name="connsiteX1221" fmla="*/ 4759589 w 6901213"/>
              <a:gd name="connsiteY1221" fmla="*/ 3974298 h 6851544"/>
              <a:gd name="connsiteX1222" fmla="*/ 4745463 w 6901213"/>
              <a:gd name="connsiteY1222" fmla="*/ 3988424 h 6851544"/>
              <a:gd name="connsiteX1223" fmla="*/ 4759589 w 6901213"/>
              <a:gd name="connsiteY1223" fmla="*/ 4002550 h 6851544"/>
              <a:gd name="connsiteX1224" fmla="*/ 4773715 w 6901213"/>
              <a:gd name="connsiteY1224" fmla="*/ 3988424 h 6851544"/>
              <a:gd name="connsiteX1225" fmla="*/ 4727615 w 6901213"/>
              <a:gd name="connsiteY1225" fmla="*/ 3812000 h 6851544"/>
              <a:gd name="connsiteX1226" fmla="*/ 4712350 w 6901213"/>
              <a:gd name="connsiteY1226" fmla="*/ 3796735 h 6851544"/>
              <a:gd name="connsiteX1227" fmla="*/ 4697084 w 6901213"/>
              <a:gd name="connsiteY1227" fmla="*/ 3812000 h 6851544"/>
              <a:gd name="connsiteX1228" fmla="*/ 4712350 w 6901213"/>
              <a:gd name="connsiteY1228" fmla="*/ 3827265 h 6851544"/>
              <a:gd name="connsiteX1229" fmla="*/ 4727615 w 6901213"/>
              <a:gd name="connsiteY1229" fmla="*/ 3812000 h 6851544"/>
              <a:gd name="connsiteX1230" fmla="*/ 4668377 w 6901213"/>
              <a:gd name="connsiteY1230" fmla="*/ 3639601 h 6851544"/>
              <a:gd name="connsiteX1231" fmla="*/ 4652048 w 6901213"/>
              <a:gd name="connsiteY1231" fmla="*/ 3623272 h 6851544"/>
              <a:gd name="connsiteX1232" fmla="*/ 4635644 w 6901213"/>
              <a:gd name="connsiteY1232" fmla="*/ 3639601 h 6851544"/>
              <a:gd name="connsiteX1233" fmla="*/ 4652048 w 6901213"/>
              <a:gd name="connsiteY1233" fmla="*/ 3656005 h 6851544"/>
              <a:gd name="connsiteX1234" fmla="*/ 4668377 w 6901213"/>
              <a:gd name="connsiteY1234" fmla="*/ 3639601 h 6851544"/>
              <a:gd name="connsiteX1235" fmla="*/ 4595924 w 6901213"/>
              <a:gd name="connsiteY1235" fmla="*/ 3472214 h 6851544"/>
              <a:gd name="connsiteX1236" fmla="*/ 4578987 w 6901213"/>
              <a:gd name="connsiteY1236" fmla="*/ 3455278 h 6851544"/>
              <a:gd name="connsiteX1237" fmla="*/ 4562051 w 6901213"/>
              <a:gd name="connsiteY1237" fmla="*/ 3472214 h 6851544"/>
              <a:gd name="connsiteX1238" fmla="*/ 4578987 w 6901213"/>
              <a:gd name="connsiteY1238" fmla="*/ 3489150 h 6851544"/>
              <a:gd name="connsiteX1239" fmla="*/ 4595924 w 6901213"/>
              <a:gd name="connsiteY1239" fmla="*/ 3472214 h 6851544"/>
              <a:gd name="connsiteX1240" fmla="*/ 4511167 w 6901213"/>
              <a:gd name="connsiteY1240" fmla="*/ 3310751 h 6851544"/>
              <a:gd name="connsiteX1241" fmla="*/ 4493699 w 6901213"/>
              <a:gd name="connsiteY1241" fmla="*/ 3293283 h 6851544"/>
              <a:gd name="connsiteX1242" fmla="*/ 4476231 w 6901213"/>
              <a:gd name="connsiteY1242" fmla="*/ 3310751 h 6851544"/>
              <a:gd name="connsiteX1243" fmla="*/ 4493699 w 6901213"/>
              <a:gd name="connsiteY1243" fmla="*/ 3328219 h 6851544"/>
              <a:gd name="connsiteX1244" fmla="*/ 4511167 w 6901213"/>
              <a:gd name="connsiteY1244" fmla="*/ 3310751 h 6851544"/>
              <a:gd name="connsiteX1245" fmla="*/ 4414563 w 6901213"/>
              <a:gd name="connsiteY1245" fmla="*/ 3156123 h 6851544"/>
              <a:gd name="connsiteX1246" fmla="*/ 4396487 w 6901213"/>
              <a:gd name="connsiteY1246" fmla="*/ 3138048 h 6851544"/>
              <a:gd name="connsiteX1247" fmla="*/ 4378412 w 6901213"/>
              <a:gd name="connsiteY1247" fmla="*/ 3156123 h 6851544"/>
              <a:gd name="connsiteX1248" fmla="*/ 4396487 w 6901213"/>
              <a:gd name="connsiteY1248" fmla="*/ 3174198 h 6851544"/>
              <a:gd name="connsiteX1249" fmla="*/ 4414563 w 6901213"/>
              <a:gd name="connsiteY1249" fmla="*/ 3156123 h 6851544"/>
              <a:gd name="connsiteX1250" fmla="*/ 4306642 w 6901213"/>
              <a:gd name="connsiteY1250" fmla="*/ 3009166 h 6851544"/>
              <a:gd name="connsiteX1251" fmla="*/ 4288035 w 6901213"/>
              <a:gd name="connsiteY1251" fmla="*/ 2990559 h 6851544"/>
              <a:gd name="connsiteX1252" fmla="*/ 4269428 w 6901213"/>
              <a:gd name="connsiteY1252" fmla="*/ 3009166 h 6851544"/>
              <a:gd name="connsiteX1253" fmla="*/ 4288035 w 6901213"/>
              <a:gd name="connsiteY1253" fmla="*/ 3027773 h 6851544"/>
              <a:gd name="connsiteX1254" fmla="*/ 4306642 w 6901213"/>
              <a:gd name="connsiteY1254" fmla="*/ 3009166 h 6851544"/>
              <a:gd name="connsiteX1255" fmla="*/ 4187557 w 6901213"/>
              <a:gd name="connsiteY1255" fmla="*/ 2870715 h 6851544"/>
              <a:gd name="connsiteX1256" fmla="*/ 4168950 w 6901213"/>
              <a:gd name="connsiteY1256" fmla="*/ 2852108 h 6851544"/>
              <a:gd name="connsiteX1257" fmla="*/ 4150343 w 6901213"/>
              <a:gd name="connsiteY1257" fmla="*/ 2870715 h 6851544"/>
              <a:gd name="connsiteX1258" fmla="*/ 4168950 w 6901213"/>
              <a:gd name="connsiteY1258" fmla="*/ 2889322 h 6851544"/>
              <a:gd name="connsiteX1259" fmla="*/ 4187557 w 6901213"/>
              <a:gd name="connsiteY1259" fmla="*/ 2870715 h 6851544"/>
              <a:gd name="connsiteX1260" fmla="*/ 4058372 w 6901213"/>
              <a:gd name="connsiteY1260" fmla="*/ 2741605 h 6851544"/>
              <a:gd name="connsiteX1261" fmla="*/ 4039764 w 6901213"/>
              <a:gd name="connsiteY1261" fmla="*/ 2722998 h 6851544"/>
              <a:gd name="connsiteX1262" fmla="*/ 4021157 w 6901213"/>
              <a:gd name="connsiteY1262" fmla="*/ 2741605 h 6851544"/>
              <a:gd name="connsiteX1263" fmla="*/ 4039764 w 6901213"/>
              <a:gd name="connsiteY1263" fmla="*/ 2760212 h 6851544"/>
              <a:gd name="connsiteX1264" fmla="*/ 4058372 w 6901213"/>
              <a:gd name="connsiteY1264" fmla="*/ 2741605 h 6851544"/>
              <a:gd name="connsiteX1265" fmla="*/ 3919997 w 6901213"/>
              <a:gd name="connsiteY1265" fmla="*/ 2622445 h 6851544"/>
              <a:gd name="connsiteX1266" fmla="*/ 3901390 w 6901213"/>
              <a:gd name="connsiteY1266" fmla="*/ 2603838 h 6851544"/>
              <a:gd name="connsiteX1267" fmla="*/ 3882782 w 6901213"/>
              <a:gd name="connsiteY1267" fmla="*/ 2622445 h 6851544"/>
              <a:gd name="connsiteX1268" fmla="*/ 3901390 w 6901213"/>
              <a:gd name="connsiteY1268" fmla="*/ 2641052 h 6851544"/>
              <a:gd name="connsiteX1269" fmla="*/ 3919997 w 6901213"/>
              <a:gd name="connsiteY1269" fmla="*/ 2622445 h 6851544"/>
              <a:gd name="connsiteX1270" fmla="*/ 3772432 w 6901213"/>
              <a:gd name="connsiteY1270" fmla="*/ 2513993 h 6851544"/>
              <a:gd name="connsiteX1271" fmla="*/ 3754356 w 6901213"/>
              <a:gd name="connsiteY1271" fmla="*/ 2495917 h 6851544"/>
              <a:gd name="connsiteX1272" fmla="*/ 3736281 w 6901213"/>
              <a:gd name="connsiteY1272" fmla="*/ 2513993 h 6851544"/>
              <a:gd name="connsiteX1273" fmla="*/ 3754356 w 6901213"/>
              <a:gd name="connsiteY1273" fmla="*/ 2532068 h 6851544"/>
              <a:gd name="connsiteX1274" fmla="*/ 3772432 w 6901213"/>
              <a:gd name="connsiteY1274" fmla="*/ 2513993 h 6851544"/>
              <a:gd name="connsiteX1275" fmla="*/ 3617272 w 6901213"/>
              <a:gd name="connsiteY1275" fmla="*/ 2416780 h 6851544"/>
              <a:gd name="connsiteX1276" fmla="*/ 3599804 w 6901213"/>
              <a:gd name="connsiteY1276" fmla="*/ 2399313 h 6851544"/>
              <a:gd name="connsiteX1277" fmla="*/ 3582337 w 6901213"/>
              <a:gd name="connsiteY1277" fmla="*/ 2416780 h 6851544"/>
              <a:gd name="connsiteX1278" fmla="*/ 3599804 w 6901213"/>
              <a:gd name="connsiteY1278" fmla="*/ 2434248 h 6851544"/>
              <a:gd name="connsiteX1279" fmla="*/ 3617272 w 6901213"/>
              <a:gd name="connsiteY1279" fmla="*/ 2416780 h 6851544"/>
              <a:gd name="connsiteX1280" fmla="*/ 3455202 w 6901213"/>
              <a:gd name="connsiteY1280" fmla="*/ 2331492 h 6851544"/>
              <a:gd name="connsiteX1281" fmla="*/ 3438266 w 6901213"/>
              <a:gd name="connsiteY1281" fmla="*/ 2314556 h 6851544"/>
              <a:gd name="connsiteX1282" fmla="*/ 3421329 w 6901213"/>
              <a:gd name="connsiteY1282" fmla="*/ 2331492 h 6851544"/>
              <a:gd name="connsiteX1283" fmla="*/ 3438266 w 6901213"/>
              <a:gd name="connsiteY1283" fmla="*/ 2348428 h 6851544"/>
              <a:gd name="connsiteX1284" fmla="*/ 3455202 w 6901213"/>
              <a:gd name="connsiteY1284" fmla="*/ 2331492 h 6851544"/>
              <a:gd name="connsiteX1285" fmla="*/ 3287207 w 6901213"/>
              <a:gd name="connsiteY1285" fmla="*/ 2258431 h 6851544"/>
              <a:gd name="connsiteX1286" fmla="*/ 3270803 w 6901213"/>
              <a:gd name="connsiteY1286" fmla="*/ 2242103 h 6851544"/>
              <a:gd name="connsiteX1287" fmla="*/ 3254398 w 6901213"/>
              <a:gd name="connsiteY1287" fmla="*/ 2258431 h 6851544"/>
              <a:gd name="connsiteX1288" fmla="*/ 3270803 w 6901213"/>
              <a:gd name="connsiteY1288" fmla="*/ 2274836 h 6851544"/>
              <a:gd name="connsiteX1289" fmla="*/ 3287207 w 6901213"/>
              <a:gd name="connsiteY1289" fmla="*/ 2258431 h 6851544"/>
              <a:gd name="connsiteX1290" fmla="*/ 3113745 w 6901213"/>
              <a:gd name="connsiteY1290" fmla="*/ 2198130 h 6851544"/>
              <a:gd name="connsiteX1291" fmla="*/ 3098479 w 6901213"/>
              <a:gd name="connsiteY1291" fmla="*/ 2182864 h 6851544"/>
              <a:gd name="connsiteX1292" fmla="*/ 3083214 w 6901213"/>
              <a:gd name="connsiteY1292" fmla="*/ 2198130 h 6851544"/>
              <a:gd name="connsiteX1293" fmla="*/ 3098479 w 6901213"/>
              <a:gd name="connsiteY1293" fmla="*/ 2213395 h 6851544"/>
              <a:gd name="connsiteX1294" fmla="*/ 3113745 w 6901213"/>
              <a:gd name="connsiteY1294" fmla="*/ 2198130 h 6851544"/>
              <a:gd name="connsiteX1295" fmla="*/ 2936181 w 6901213"/>
              <a:gd name="connsiteY1295" fmla="*/ 2150891 h 6851544"/>
              <a:gd name="connsiteX1296" fmla="*/ 2922055 w 6901213"/>
              <a:gd name="connsiteY1296" fmla="*/ 2136765 h 6851544"/>
              <a:gd name="connsiteX1297" fmla="*/ 2907929 w 6901213"/>
              <a:gd name="connsiteY1297" fmla="*/ 2150891 h 6851544"/>
              <a:gd name="connsiteX1298" fmla="*/ 2922055 w 6901213"/>
              <a:gd name="connsiteY1298" fmla="*/ 2165017 h 6851544"/>
              <a:gd name="connsiteX1299" fmla="*/ 2936181 w 6901213"/>
              <a:gd name="connsiteY1299" fmla="*/ 2150891 h 6851544"/>
              <a:gd name="connsiteX1300" fmla="*/ 2755579 w 6901213"/>
              <a:gd name="connsiteY1300" fmla="*/ 2116866 h 6851544"/>
              <a:gd name="connsiteX1301" fmla="*/ 2742592 w 6901213"/>
              <a:gd name="connsiteY1301" fmla="*/ 2103880 h 6851544"/>
              <a:gd name="connsiteX1302" fmla="*/ 2729606 w 6901213"/>
              <a:gd name="connsiteY1302" fmla="*/ 2116866 h 6851544"/>
              <a:gd name="connsiteX1303" fmla="*/ 2742592 w 6901213"/>
              <a:gd name="connsiteY1303" fmla="*/ 2129853 h 6851544"/>
              <a:gd name="connsiteX1304" fmla="*/ 2755579 w 6901213"/>
              <a:gd name="connsiteY1304" fmla="*/ 2116866 h 6851544"/>
              <a:gd name="connsiteX1305" fmla="*/ 2572396 w 6901213"/>
              <a:gd name="connsiteY1305" fmla="*/ 2096437 h 6851544"/>
              <a:gd name="connsiteX1306" fmla="*/ 2561080 w 6901213"/>
              <a:gd name="connsiteY1306" fmla="*/ 2085197 h 6851544"/>
              <a:gd name="connsiteX1307" fmla="*/ 2549764 w 6901213"/>
              <a:gd name="connsiteY1307" fmla="*/ 2096437 h 6851544"/>
              <a:gd name="connsiteX1308" fmla="*/ 2561080 w 6901213"/>
              <a:gd name="connsiteY1308" fmla="*/ 2107753 h 6851544"/>
              <a:gd name="connsiteX1309" fmla="*/ 2572396 w 6901213"/>
              <a:gd name="connsiteY1309" fmla="*/ 2096437 h 6851544"/>
              <a:gd name="connsiteX1310" fmla="*/ 2388756 w 6901213"/>
              <a:gd name="connsiteY1310" fmla="*/ 2089602 h 6851544"/>
              <a:gd name="connsiteX1311" fmla="*/ 2378579 w 6901213"/>
              <a:gd name="connsiteY1311" fmla="*/ 2079425 h 6851544"/>
              <a:gd name="connsiteX1312" fmla="*/ 2368402 w 6901213"/>
              <a:gd name="connsiteY1312" fmla="*/ 2089602 h 6851544"/>
              <a:gd name="connsiteX1313" fmla="*/ 2378579 w 6901213"/>
              <a:gd name="connsiteY1313" fmla="*/ 2099778 h 6851544"/>
              <a:gd name="connsiteX1314" fmla="*/ 2388756 w 6901213"/>
              <a:gd name="connsiteY1314" fmla="*/ 2089602 h 6851544"/>
              <a:gd name="connsiteX1315" fmla="*/ 2205117 w 6901213"/>
              <a:gd name="connsiteY1315" fmla="*/ 2096437 h 6851544"/>
              <a:gd name="connsiteX1316" fmla="*/ 2196079 w 6901213"/>
              <a:gd name="connsiteY1316" fmla="*/ 2087399 h 6851544"/>
              <a:gd name="connsiteX1317" fmla="*/ 2187041 w 6901213"/>
              <a:gd name="connsiteY1317" fmla="*/ 2096437 h 6851544"/>
              <a:gd name="connsiteX1318" fmla="*/ 2196079 w 6901213"/>
              <a:gd name="connsiteY1318" fmla="*/ 2105474 h 6851544"/>
              <a:gd name="connsiteX1319" fmla="*/ 2205117 w 6901213"/>
              <a:gd name="connsiteY1319" fmla="*/ 2096437 h 6851544"/>
              <a:gd name="connsiteX1320" fmla="*/ 2021933 w 6901213"/>
              <a:gd name="connsiteY1320" fmla="*/ 2116866 h 6851544"/>
              <a:gd name="connsiteX1321" fmla="*/ 2014566 w 6901213"/>
              <a:gd name="connsiteY1321" fmla="*/ 2109500 h 6851544"/>
              <a:gd name="connsiteX1322" fmla="*/ 2007199 w 6901213"/>
              <a:gd name="connsiteY1322" fmla="*/ 2116866 h 6851544"/>
              <a:gd name="connsiteX1323" fmla="*/ 2014566 w 6901213"/>
              <a:gd name="connsiteY1323" fmla="*/ 2124233 h 6851544"/>
              <a:gd name="connsiteX1324" fmla="*/ 2021933 w 6901213"/>
              <a:gd name="connsiteY1324" fmla="*/ 2116866 h 6851544"/>
              <a:gd name="connsiteX1325" fmla="*/ 1841407 w 6901213"/>
              <a:gd name="connsiteY1325" fmla="*/ 2150891 h 6851544"/>
              <a:gd name="connsiteX1326" fmla="*/ 1835180 w 6901213"/>
              <a:gd name="connsiteY1326" fmla="*/ 2144663 h 6851544"/>
              <a:gd name="connsiteX1327" fmla="*/ 1828952 w 6901213"/>
              <a:gd name="connsiteY1327" fmla="*/ 2150891 h 6851544"/>
              <a:gd name="connsiteX1328" fmla="*/ 1835180 w 6901213"/>
              <a:gd name="connsiteY1328" fmla="*/ 2157118 h 6851544"/>
              <a:gd name="connsiteX1329" fmla="*/ 1841407 w 6901213"/>
              <a:gd name="connsiteY1329" fmla="*/ 2150891 h 6851544"/>
              <a:gd name="connsiteX1330" fmla="*/ 1663844 w 6901213"/>
              <a:gd name="connsiteY1330" fmla="*/ 2198130 h 6851544"/>
              <a:gd name="connsiteX1331" fmla="*/ 1658755 w 6901213"/>
              <a:gd name="connsiteY1331" fmla="*/ 2193041 h 6851544"/>
              <a:gd name="connsiteX1332" fmla="*/ 1653667 w 6901213"/>
              <a:gd name="connsiteY1332" fmla="*/ 2198130 h 6851544"/>
              <a:gd name="connsiteX1333" fmla="*/ 1658755 w 6901213"/>
              <a:gd name="connsiteY1333" fmla="*/ 2203218 h 6851544"/>
              <a:gd name="connsiteX1334" fmla="*/ 1663844 w 6901213"/>
              <a:gd name="connsiteY1334" fmla="*/ 2198130 h 6851544"/>
              <a:gd name="connsiteX1335" fmla="*/ 1490305 w 6901213"/>
              <a:gd name="connsiteY1335" fmla="*/ 2258431 h 6851544"/>
              <a:gd name="connsiteX1336" fmla="*/ 1486356 w 6901213"/>
              <a:gd name="connsiteY1336" fmla="*/ 2254482 h 6851544"/>
              <a:gd name="connsiteX1337" fmla="*/ 1482407 w 6901213"/>
              <a:gd name="connsiteY1337" fmla="*/ 2258431 h 6851544"/>
              <a:gd name="connsiteX1338" fmla="*/ 1486356 w 6901213"/>
              <a:gd name="connsiteY1338" fmla="*/ 2262381 h 6851544"/>
              <a:gd name="connsiteX1339" fmla="*/ 1490305 w 6901213"/>
              <a:gd name="connsiteY1339" fmla="*/ 2258431 h 6851544"/>
              <a:gd name="connsiteX1340" fmla="*/ 1321779 w 6901213"/>
              <a:gd name="connsiteY1340" fmla="*/ 2331492 h 6851544"/>
              <a:gd name="connsiteX1341" fmla="*/ 1318969 w 6901213"/>
              <a:gd name="connsiteY1341" fmla="*/ 2328682 h 6851544"/>
              <a:gd name="connsiteX1342" fmla="*/ 1316159 w 6901213"/>
              <a:gd name="connsiteY1342" fmla="*/ 2331492 h 6851544"/>
              <a:gd name="connsiteX1343" fmla="*/ 1318969 w 6901213"/>
              <a:gd name="connsiteY1343" fmla="*/ 2334302 h 6851544"/>
              <a:gd name="connsiteX1344" fmla="*/ 1321779 w 6901213"/>
              <a:gd name="connsiteY1344" fmla="*/ 2331492 h 6851544"/>
              <a:gd name="connsiteX1345" fmla="*/ 1159784 w 6901213"/>
              <a:gd name="connsiteY1345" fmla="*/ 2416780 h 6851544"/>
              <a:gd name="connsiteX1346" fmla="*/ 1157506 w 6901213"/>
              <a:gd name="connsiteY1346" fmla="*/ 2414502 h 6851544"/>
              <a:gd name="connsiteX1347" fmla="*/ 1155227 w 6901213"/>
              <a:gd name="connsiteY1347" fmla="*/ 2416780 h 6851544"/>
              <a:gd name="connsiteX1348" fmla="*/ 1157506 w 6901213"/>
              <a:gd name="connsiteY1348" fmla="*/ 2419059 h 6851544"/>
              <a:gd name="connsiteX1349" fmla="*/ 1159784 w 6901213"/>
              <a:gd name="connsiteY1349" fmla="*/ 2416780 h 6851544"/>
              <a:gd name="connsiteX1350" fmla="*/ 1004017 w 6901213"/>
              <a:gd name="connsiteY1350" fmla="*/ 2513993 h 6851544"/>
              <a:gd name="connsiteX1351" fmla="*/ 1002878 w 6901213"/>
              <a:gd name="connsiteY1351" fmla="*/ 2512853 h 6851544"/>
              <a:gd name="connsiteX1352" fmla="*/ 1001739 w 6901213"/>
              <a:gd name="connsiteY1352" fmla="*/ 2513993 h 6851544"/>
              <a:gd name="connsiteX1353" fmla="*/ 1002878 w 6901213"/>
              <a:gd name="connsiteY1353" fmla="*/ 2515132 h 6851544"/>
              <a:gd name="connsiteX1354" fmla="*/ 1004017 w 6901213"/>
              <a:gd name="connsiteY1354" fmla="*/ 2513993 h 6851544"/>
              <a:gd name="connsiteX1355" fmla="*/ 857060 w 6901213"/>
              <a:gd name="connsiteY1355" fmla="*/ 2622445 h 6851544"/>
              <a:gd name="connsiteX1356" fmla="*/ 855921 w 6901213"/>
              <a:gd name="connsiteY1356" fmla="*/ 2621306 h 6851544"/>
              <a:gd name="connsiteX1357" fmla="*/ 854782 w 6901213"/>
              <a:gd name="connsiteY1357" fmla="*/ 2622445 h 6851544"/>
              <a:gd name="connsiteX1358" fmla="*/ 855921 w 6901213"/>
              <a:gd name="connsiteY1358" fmla="*/ 2623584 h 6851544"/>
              <a:gd name="connsiteX1359" fmla="*/ 857060 w 6901213"/>
              <a:gd name="connsiteY1359" fmla="*/ 2622445 h 6851544"/>
              <a:gd name="connsiteX1360" fmla="*/ 718077 w 6901213"/>
              <a:gd name="connsiteY1360" fmla="*/ 2741605 h 6851544"/>
              <a:gd name="connsiteX1361" fmla="*/ 717546 w 6901213"/>
              <a:gd name="connsiteY1361" fmla="*/ 2741074 h 6851544"/>
              <a:gd name="connsiteX1362" fmla="*/ 717014 w 6901213"/>
              <a:gd name="connsiteY1362" fmla="*/ 2741605 h 6851544"/>
              <a:gd name="connsiteX1363" fmla="*/ 717546 w 6901213"/>
              <a:gd name="connsiteY1363" fmla="*/ 2742137 h 6851544"/>
              <a:gd name="connsiteX1364" fmla="*/ 718077 w 6901213"/>
              <a:gd name="connsiteY1364" fmla="*/ 2741605 h 6851544"/>
              <a:gd name="connsiteX1365" fmla="*/ 4328970 w 6901213"/>
              <a:gd name="connsiteY1365" fmla="*/ 6320221 h 6851544"/>
              <a:gd name="connsiteX1366" fmla="*/ 4328439 w 6901213"/>
              <a:gd name="connsiteY1366" fmla="*/ 6319689 h 6851544"/>
              <a:gd name="connsiteX1367" fmla="*/ 4327907 w 6901213"/>
              <a:gd name="connsiteY1367" fmla="*/ 6320221 h 6851544"/>
              <a:gd name="connsiteX1368" fmla="*/ 4328439 w 6901213"/>
              <a:gd name="connsiteY1368" fmla="*/ 6320752 h 6851544"/>
              <a:gd name="connsiteX1369" fmla="*/ 4328970 w 6901213"/>
              <a:gd name="connsiteY1369" fmla="*/ 6320221 h 6851544"/>
              <a:gd name="connsiteX1370" fmla="*/ 4448283 w 6901213"/>
              <a:gd name="connsiteY1370" fmla="*/ 6181466 h 6851544"/>
              <a:gd name="connsiteX1371" fmla="*/ 4447144 w 6901213"/>
              <a:gd name="connsiteY1371" fmla="*/ 6180326 h 6851544"/>
              <a:gd name="connsiteX1372" fmla="*/ 4446004 w 6901213"/>
              <a:gd name="connsiteY1372" fmla="*/ 6181466 h 6851544"/>
              <a:gd name="connsiteX1373" fmla="*/ 4447144 w 6901213"/>
              <a:gd name="connsiteY1373" fmla="*/ 6182605 h 6851544"/>
              <a:gd name="connsiteX1374" fmla="*/ 4448283 w 6901213"/>
              <a:gd name="connsiteY1374" fmla="*/ 6181466 h 6851544"/>
              <a:gd name="connsiteX1375" fmla="*/ 4557190 w 6901213"/>
              <a:gd name="connsiteY1375" fmla="*/ 6034812 h 6851544"/>
              <a:gd name="connsiteX1376" fmla="*/ 4556052 w 6901213"/>
              <a:gd name="connsiteY1376" fmla="*/ 6033673 h 6851544"/>
              <a:gd name="connsiteX1377" fmla="*/ 4554912 w 6901213"/>
              <a:gd name="connsiteY1377" fmla="*/ 6034812 h 6851544"/>
              <a:gd name="connsiteX1378" fmla="*/ 4556052 w 6901213"/>
              <a:gd name="connsiteY1378" fmla="*/ 6035952 h 6851544"/>
              <a:gd name="connsiteX1379" fmla="*/ 4557190 w 6901213"/>
              <a:gd name="connsiteY1379" fmla="*/ 6034812 h 6851544"/>
              <a:gd name="connsiteX1380" fmla="*/ 4656833 w 6901213"/>
              <a:gd name="connsiteY1380" fmla="*/ 5881020 h 6851544"/>
              <a:gd name="connsiteX1381" fmla="*/ 4654554 w 6901213"/>
              <a:gd name="connsiteY1381" fmla="*/ 5878742 h 6851544"/>
              <a:gd name="connsiteX1382" fmla="*/ 4652276 w 6901213"/>
              <a:gd name="connsiteY1382" fmla="*/ 5881020 h 6851544"/>
              <a:gd name="connsiteX1383" fmla="*/ 4654554 w 6901213"/>
              <a:gd name="connsiteY1383" fmla="*/ 5883298 h 6851544"/>
              <a:gd name="connsiteX1384" fmla="*/ 4656833 w 6901213"/>
              <a:gd name="connsiteY1384" fmla="*/ 5881020 h 6851544"/>
              <a:gd name="connsiteX1385" fmla="*/ 4745615 w 6901213"/>
              <a:gd name="connsiteY1385" fmla="*/ 5720772 h 6851544"/>
              <a:gd name="connsiteX1386" fmla="*/ 4742197 w 6901213"/>
              <a:gd name="connsiteY1386" fmla="*/ 5717355 h 6851544"/>
              <a:gd name="connsiteX1387" fmla="*/ 4738780 w 6901213"/>
              <a:gd name="connsiteY1387" fmla="*/ 5720772 h 6851544"/>
              <a:gd name="connsiteX1388" fmla="*/ 4742197 w 6901213"/>
              <a:gd name="connsiteY1388" fmla="*/ 5724190 h 6851544"/>
              <a:gd name="connsiteX1389" fmla="*/ 4745615 w 6901213"/>
              <a:gd name="connsiteY1389" fmla="*/ 5720772 h 6851544"/>
              <a:gd name="connsiteX1390" fmla="*/ 4823080 w 6901213"/>
              <a:gd name="connsiteY1390" fmla="*/ 5554904 h 6851544"/>
              <a:gd name="connsiteX1391" fmla="*/ 4818524 w 6901213"/>
              <a:gd name="connsiteY1391" fmla="*/ 5550423 h 6851544"/>
              <a:gd name="connsiteX1392" fmla="*/ 4814043 w 6901213"/>
              <a:gd name="connsiteY1392" fmla="*/ 5554904 h 6851544"/>
              <a:gd name="connsiteX1393" fmla="*/ 4818524 w 6901213"/>
              <a:gd name="connsiteY1393" fmla="*/ 5559461 h 6851544"/>
              <a:gd name="connsiteX1394" fmla="*/ 4823080 w 6901213"/>
              <a:gd name="connsiteY1394" fmla="*/ 5554904 h 6851544"/>
              <a:gd name="connsiteX1395" fmla="*/ 4888471 w 6901213"/>
              <a:gd name="connsiteY1395" fmla="*/ 5384100 h 6851544"/>
              <a:gd name="connsiteX1396" fmla="*/ 4883382 w 6901213"/>
              <a:gd name="connsiteY1396" fmla="*/ 5379012 h 6851544"/>
              <a:gd name="connsiteX1397" fmla="*/ 4878294 w 6901213"/>
              <a:gd name="connsiteY1397" fmla="*/ 5384100 h 6851544"/>
              <a:gd name="connsiteX1398" fmla="*/ 4883382 w 6901213"/>
              <a:gd name="connsiteY1398" fmla="*/ 5389188 h 6851544"/>
              <a:gd name="connsiteX1399" fmla="*/ 4888471 w 6901213"/>
              <a:gd name="connsiteY1399" fmla="*/ 5384100 h 6851544"/>
              <a:gd name="connsiteX1400" fmla="*/ 4943000 w 6901213"/>
              <a:gd name="connsiteY1400" fmla="*/ 5209270 h 6851544"/>
              <a:gd name="connsiteX1401" fmla="*/ 4936241 w 6901213"/>
              <a:gd name="connsiteY1401" fmla="*/ 5202511 h 6851544"/>
              <a:gd name="connsiteX1402" fmla="*/ 4929482 w 6901213"/>
              <a:gd name="connsiteY1402" fmla="*/ 5209270 h 6851544"/>
              <a:gd name="connsiteX1403" fmla="*/ 4936241 w 6901213"/>
              <a:gd name="connsiteY1403" fmla="*/ 5216030 h 6851544"/>
              <a:gd name="connsiteX1404" fmla="*/ 4943000 w 6901213"/>
              <a:gd name="connsiteY1404" fmla="*/ 5209270 h 6851544"/>
              <a:gd name="connsiteX1405" fmla="*/ 4984771 w 6901213"/>
              <a:gd name="connsiteY1405" fmla="*/ 5031175 h 6851544"/>
              <a:gd name="connsiteX1406" fmla="*/ 4976873 w 6901213"/>
              <a:gd name="connsiteY1406" fmla="*/ 5023276 h 6851544"/>
              <a:gd name="connsiteX1407" fmla="*/ 4968974 w 6901213"/>
              <a:gd name="connsiteY1407" fmla="*/ 5031175 h 6851544"/>
              <a:gd name="connsiteX1408" fmla="*/ 4976873 w 6901213"/>
              <a:gd name="connsiteY1408" fmla="*/ 5039073 h 6851544"/>
              <a:gd name="connsiteX1409" fmla="*/ 4984771 w 6901213"/>
              <a:gd name="connsiteY1409" fmla="*/ 5031175 h 6851544"/>
              <a:gd name="connsiteX1410" fmla="*/ 5014087 w 6901213"/>
              <a:gd name="connsiteY1410" fmla="*/ 4850801 h 6851544"/>
              <a:gd name="connsiteX1411" fmla="*/ 5005049 w 6901213"/>
              <a:gd name="connsiteY1411" fmla="*/ 4841763 h 6851544"/>
              <a:gd name="connsiteX1412" fmla="*/ 4996012 w 6901213"/>
              <a:gd name="connsiteY1412" fmla="*/ 4850801 h 6851544"/>
              <a:gd name="connsiteX1413" fmla="*/ 5005049 w 6901213"/>
              <a:gd name="connsiteY1413" fmla="*/ 4859839 h 6851544"/>
              <a:gd name="connsiteX1414" fmla="*/ 5014087 w 6901213"/>
              <a:gd name="connsiteY1414" fmla="*/ 4850801 h 6851544"/>
              <a:gd name="connsiteX1415" fmla="*/ 5031555 w 6901213"/>
              <a:gd name="connsiteY1415" fmla="*/ 4668833 h 6851544"/>
              <a:gd name="connsiteX1416" fmla="*/ 5020846 w 6901213"/>
              <a:gd name="connsiteY1416" fmla="*/ 4658124 h 6851544"/>
              <a:gd name="connsiteX1417" fmla="*/ 5010138 w 6901213"/>
              <a:gd name="connsiteY1417" fmla="*/ 4668833 h 6851544"/>
              <a:gd name="connsiteX1418" fmla="*/ 5020846 w 6901213"/>
              <a:gd name="connsiteY1418" fmla="*/ 4679541 h 6851544"/>
              <a:gd name="connsiteX1419" fmla="*/ 5031555 w 6901213"/>
              <a:gd name="connsiteY1419" fmla="*/ 4668833 h 6851544"/>
              <a:gd name="connsiteX1420" fmla="*/ 5035884 w 6901213"/>
              <a:gd name="connsiteY1420" fmla="*/ 4486181 h 6851544"/>
              <a:gd name="connsiteX1421" fmla="*/ 5024036 w 6901213"/>
              <a:gd name="connsiteY1421" fmla="*/ 4474333 h 6851544"/>
              <a:gd name="connsiteX1422" fmla="*/ 5012188 w 6901213"/>
              <a:gd name="connsiteY1422" fmla="*/ 4486181 h 6851544"/>
              <a:gd name="connsiteX1423" fmla="*/ 5024036 w 6901213"/>
              <a:gd name="connsiteY1423" fmla="*/ 4498028 h 6851544"/>
              <a:gd name="connsiteX1424" fmla="*/ 5035884 w 6901213"/>
              <a:gd name="connsiteY1424" fmla="*/ 4486181 h 6851544"/>
              <a:gd name="connsiteX1425" fmla="*/ 5028061 w 6901213"/>
              <a:gd name="connsiteY1425" fmla="*/ 4303756 h 6851544"/>
              <a:gd name="connsiteX1426" fmla="*/ 5014543 w 6901213"/>
              <a:gd name="connsiteY1426" fmla="*/ 4290237 h 6851544"/>
              <a:gd name="connsiteX1427" fmla="*/ 5001024 w 6901213"/>
              <a:gd name="connsiteY1427" fmla="*/ 4303756 h 6851544"/>
              <a:gd name="connsiteX1428" fmla="*/ 5014543 w 6901213"/>
              <a:gd name="connsiteY1428" fmla="*/ 4317274 h 6851544"/>
              <a:gd name="connsiteX1429" fmla="*/ 5028061 w 6901213"/>
              <a:gd name="connsiteY1429" fmla="*/ 4303756 h 6851544"/>
              <a:gd name="connsiteX1430" fmla="*/ 5007175 w 6901213"/>
              <a:gd name="connsiteY1430" fmla="*/ 4122471 h 6851544"/>
              <a:gd name="connsiteX1431" fmla="*/ 4992518 w 6901213"/>
              <a:gd name="connsiteY1431" fmla="*/ 4107813 h 6851544"/>
              <a:gd name="connsiteX1432" fmla="*/ 4977860 w 6901213"/>
              <a:gd name="connsiteY1432" fmla="*/ 4122471 h 6851544"/>
              <a:gd name="connsiteX1433" fmla="*/ 4992518 w 6901213"/>
              <a:gd name="connsiteY1433" fmla="*/ 4137129 h 6851544"/>
              <a:gd name="connsiteX1434" fmla="*/ 5007175 w 6901213"/>
              <a:gd name="connsiteY1434" fmla="*/ 4122471 h 6851544"/>
              <a:gd name="connsiteX1435" fmla="*/ 4974442 w 6901213"/>
              <a:gd name="connsiteY1435" fmla="*/ 3943084 h 6851544"/>
              <a:gd name="connsiteX1436" fmla="*/ 4958038 w 6901213"/>
              <a:gd name="connsiteY1436" fmla="*/ 3926756 h 6851544"/>
              <a:gd name="connsiteX1437" fmla="*/ 4941633 w 6901213"/>
              <a:gd name="connsiteY1437" fmla="*/ 3943084 h 6851544"/>
              <a:gd name="connsiteX1438" fmla="*/ 4958038 w 6901213"/>
              <a:gd name="connsiteY1438" fmla="*/ 3959489 h 6851544"/>
              <a:gd name="connsiteX1439" fmla="*/ 4974442 w 6901213"/>
              <a:gd name="connsiteY1439" fmla="*/ 3943084 h 6851544"/>
              <a:gd name="connsiteX1440" fmla="*/ 4928798 w 6901213"/>
              <a:gd name="connsiteY1440" fmla="*/ 3766584 h 6851544"/>
              <a:gd name="connsiteX1441" fmla="*/ 4911331 w 6901213"/>
              <a:gd name="connsiteY1441" fmla="*/ 3749116 h 6851544"/>
              <a:gd name="connsiteX1442" fmla="*/ 4893863 w 6901213"/>
              <a:gd name="connsiteY1442" fmla="*/ 3766584 h 6851544"/>
              <a:gd name="connsiteX1443" fmla="*/ 4911331 w 6901213"/>
              <a:gd name="connsiteY1443" fmla="*/ 3784052 h 6851544"/>
              <a:gd name="connsiteX1444" fmla="*/ 4928798 w 6901213"/>
              <a:gd name="connsiteY1444" fmla="*/ 3766584 h 6851544"/>
              <a:gd name="connsiteX1445" fmla="*/ 4871079 w 6901213"/>
              <a:gd name="connsiteY1445" fmla="*/ 3593653 h 6851544"/>
              <a:gd name="connsiteX1446" fmla="*/ 4852472 w 6901213"/>
              <a:gd name="connsiteY1446" fmla="*/ 3575046 h 6851544"/>
              <a:gd name="connsiteX1447" fmla="*/ 4833865 w 6901213"/>
              <a:gd name="connsiteY1447" fmla="*/ 3593653 h 6851544"/>
              <a:gd name="connsiteX1448" fmla="*/ 4852472 w 6901213"/>
              <a:gd name="connsiteY1448" fmla="*/ 3612260 h 6851544"/>
              <a:gd name="connsiteX1449" fmla="*/ 4871079 w 6901213"/>
              <a:gd name="connsiteY1449" fmla="*/ 3593653 h 6851544"/>
              <a:gd name="connsiteX1450" fmla="*/ 4801587 w 6901213"/>
              <a:gd name="connsiteY1450" fmla="*/ 3425203 h 6851544"/>
              <a:gd name="connsiteX1451" fmla="*/ 4781841 w 6901213"/>
              <a:gd name="connsiteY1451" fmla="*/ 3405457 h 6851544"/>
              <a:gd name="connsiteX1452" fmla="*/ 4762095 w 6901213"/>
              <a:gd name="connsiteY1452" fmla="*/ 3425203 h 6851544"/>
              <a:gd name="connsiteX1453" fmla="*/ 4781841 w 6901213"/>
              <a:gd name="connsiteY1453" fmla="*/ 3444949 h 6851544"/>
              <a:gd name="connsiteX1454" fmla="*/ 4801587 w 6901213"/>
              <a:gd name="connsiteY1454" fmla="*/ 3425203 h 6851544"/>
              <a:gd name="connsiteX1455" fmla="*/ 4720097 w 6901213"/>
              <a:gd name="connsiteY1455" fmla="*/ 3262069 h 6851544"/>
              <a:gd name="connsiteX1456" fmla="*/ 4699743 w 6901213"/>
              <a:gd name="connsiteY1456" fmla="*/ 3241791 h 6851544"/>
              <a:gd name="connsiteX1457" fmla="*/ 4679389 w 6901213"/>
              <a:gd name="connsiteY1457" fmla="*/ 3262069 h 6851544"/>
              <a:gd name="connsiteX1458" fmla="*/ 4699743 w 6901213"/>
              <a:gd name="connsiteY1458" fmla="*/ 3282423 h 6851544"/>
              <a:gd name="connsiteX1459" fmla="*/ 4720097 w 6901213"/>
              <a:gd name="connsiteY1459" fmla="*/ 3262069 h 6851544"/>
              <a:gd name="connsiteX1460" fmla="*/ 4627517 w 6901213"/>
              <a:gd name="connsiteY1460" fmla="*/ 3104935 h 6851544"/>
              <a:gd name="connsiteX1461" fmla="*/ 4606632 w 6901213"/>
              <a:gd name="connsiteY1461" fmla="*/ 3084050 h 6851544"/>
              <a:gd name="connsiteX1462" fmla="*/ 4585747 w 6901213"/>
              <a:gd name="connsiteY1462" fmla="*/ 3104935 h 6851544"/>
              <a:gd name="connsiteX1463" fmla="*/ 4606632 w 6901213"/>
              <a:gd name="connsiteY1463" fmla="*/ 3125820 h 6851544"/>
              <a:gd name="connsiteX1464" fmla="*/ 4627517 w 6901213"/>
              <a:gd name="connsiteY1464" fmla="*/ 3104935 h 6851544"/>
              <a:gd name="connsiteX1465" fmla="*/ 4524305 w 6901213"/>
              <a:gd name="connsiteY1465" fmla="*/ 2954636 h 6851544"/>
              <a:gd name="connsiteX1466" fmla="*/ 4502889 w 6901213"/>
              <a:gd name="connsiteY1466" fmla="*/ 2933219 h 6851544"/>
              <a:gd name="connsiteX1467" fmla="*/ 4481472 w 6901213"/>
              <a:gd name="connsiteY1467" fmla="*/ 2954636 h 6851544"/>
              <a:gd name="connsiteX1468" fmla="*/ 4502889 w 6901213"/>
              <a:gd name="connsiteY1468" fmla="*/ 2976053 h 6851544"/>
              <a:gd name="connsiteX1469" fmla="*/ 4524305 w 6901213"/>
              <a:gd name="connsiteY1469" fmla="*/ 2954636 h 6851544"/>
              <a:gd name="connsiteX1470" fmla="*/ 4410993 w 6901213"/>
              <a:gd name="connsiteY1470" fmla="*/ 2811856 h 6851544"/>
              <a:gd name="connsiteX1471" fmla="*/ 4388968 w 6901213"/>
              <a:gd name="connsiteY1471" fmla="*/ 2789832 h 6851544"/>
              <a:gd name="connsiteX1472" fmla="*/ 4366944 w 6901213"/>
              <a:gd name="connsiteY1472" fmla="*/ 2811856 h 6851544"/>
              <a:gd name="connsiteX1473" fmla="*/ 4388968 w 6901213"/>
              <a:gd name="connsiteY1473" fmla="*/ 2833881 h 6851544"/>
              <a:gd name="connsiteX1474" fmla="*/ 4410993 w 6901213"/>
              <a:gd name="connsiteY1474" fmla="*/ 2811856 h 6851544"/>
              <a:gd name="connsiteX1475" fmla="*/ 4287579 w 6901213"/>
              <a:gd name="connsiteY1475" fmla="*/ 2677202 h 6851544"/>
              <a:gd name="connsiteX1476" fmla="*/ 4265555 w 6901213"/>
              <a:gd name="connsiteY1476" fmla="*/ 2655178 h 6851544"/>
              <a:gd name="connsiteX1477" fmla="*/ 4243530 w 6901213"/>
              <a:gd name="connsiteY1477" fmla="*/ 2677202 h 6851544"/>
              <a:gd name="connsiteX1478" fmla="*/ 4265555 w 6901213"/>
              <a:gd name="connsiteY1478" fmla="*/ 2699227 h 6851544"/>
              <a:gd name="connsiteX1479" fmla="*/ 4287579 w 6901213"/>
              <a:gd name="connsiteY1479" fmla="*/ 2677202 h 6851544"/>
              <a:gd name="connsiteX1480" fmla="*/ 4155128 w 6901213"/>
              <a:gd name="connsiteY1480" fmla="*/ 2551510 h 6851544"/>
              <a:gd name="connsiteX1481" fmla="*/ 4133103 w 6901213"/>
              <a:gd name="connsiteY1481" fmla="*/ 2529486 h 6851544"/>
              <a:gd name="connsiteX1482" fmla="*/ 4111079 w 6901213"/>
              <a:gd name="connsiteY1482" fmla="*/ 2551510 h 6851544"/>
              <a:gd name="connsiteX1483" fmla="*/ 4133103 w 6901213"/>
              <a:gd name="connsiteY1483" fmla="*/ 2573535 h 6851544"/>
              <a:gd name="connsiteX1484" fmla="*/ 4155128 w 6901213"/>
              <a:gd name="connsiteY1484" fmla="*/ 2551510 h 6851544"/>
              <a:gd name="connsiteX1485" fmla="*/ 4013715 w 6901213"/>
              <a:gd name="connsiteY1485" fmla="*/ 2435160 h 6851544"/>
              <a:gd name="connsiteX1486" fmla="*/ 3992298 w 6901213"/>
              <a:gd name="connsiteY1486" fmla="*/ 2413743 h 6851544"/>
              <a:gd name="connsiteX1487" fmla="*/ 3970881 w 6901213"/>
              <a:gd name="connsiteY1487" fmla="*/ 2435160 h 6851544"/>
              <a:gd name="connsiteX1488" fmla="*/ 3992298 w 6901213"/>
              <a:gd name="connsiteY1488" fmla="*/ 2456577 h 6851544"/>
              <a:gd name="connsiteX1489" fmla="*/ 4013715 w 6901213"/>
              <a:gd name="connsiteY1489" fmla="*/ 2435160 h 6851544"/>
              <a:gd name="connsiteX1490" fmla="*/ 3864631 w 6901213"/>
              <a:gd name="connsiteY1490" fmla="*/ 2328834 h 6851544"/>
              <a:gd name="connsiteX1491" fmla="*/ 3843746 w 6901213"/>
              <a:gd name="connsiteY1491" fmla="*/ 2307949 h 6851544"/>
              <a:gd name="connsiteX1492" fmla="*/ 3822860 w 6901213"/>
              <a:gd name="connsiteY1492" fmla="*/ 2328834 h 6851544"/>
              <a:gd name="connsiteX1493" fmla="*/ 3843746 w 6901213"/>
              <a:gd name="connsiteY1493" fmla="*/ 2349720 h 6851544"/>
              <a:gd name="connsiteX1494" fmla="*/ 3864631 w 6901213"/>
              <a:gd name="connsiteY1494" fmla="*/ 2328834 h 6851544"/>
              <a:gd name="connsiteX1495" fmla="*/ 3708636 w 6901213"/>
              <a:gd name="connsiteY1495" fmla="*/ 2232989 h 6851544"/>
              <a:gd name="connsiteX1496" fmla="*/ 3688283 w 6901213"/>
              <a:gd name="connsiteY1496" fmla="*/ 2212711 h 6851544"/>
              <a:gd name="connsiteX1497" fmla="*/ 3667929 w 6901213"/>
              <a:gd name="connsiteY1497" fmla="*/ 2232989 h 6851544"/>
              <a:gd name="connsiteX1498" fmla="*/ 3688283 w 6901213"/>
              <a:gd name="connsiteY1498" fmla="*/ 2253343 h 6851544"/>
              <a:gd name="connsiteX1499" fmla="*/ 3708636 w 6901213"/>
              <a:gd name="connsiteY1499" fmla="*/ 2232989 h 6851544"/>
              <a:gd name="connsiteX1500" fmla="*/ 3546338 w 6901213"/>
              <a:gd name="connsiteY1500" fmla="*/ 2148081 h 6851544"/>
              <a:gd name="connsiteX1501" fmla="*/ 3526592 w 6901213"/>
              <a:gd name="connsiteY1501" fmla="*/ 2128335 h 6851544"/>
              <a:gd name="connsiteX1502" fmla="*/ 3506846 w 6901213"/>
              <a:gd name="connsiteY1502" fmla="*/ 2148081 h 6851544"/>
              <a:gd name="connsiteX1503" fmla="*/ 3526592 w 6901213"/>
              <a:gd name="connsiteY1503" fmla="*/ 2167827 h 6851544"/>
              <a:gd name="connsiteX1504" fmla="*/ 3546338 w 6901213"/>
              <a:gd name="connsiteY1504" fmla="*/ 2148081 h 6851544"/>
              <a:gd name="connsiteX1505" fmla="*/ 3378040 w 6901213"/>
              <a:gd name="connsiteY1505" fmla="*/ 2074564 h 6851544"/>
              <a:gd name="connsiteX1506" fmla="*/ 3359433 w 6901213"/>
              <a:gd name="connsiteY1506" fmla="*/ 2055957 h 6851544"/>
              <a:gd name="connsiteX1507" fmla="*/ 3340826 w 6901213"/>
              <a:gd name="connsiteY1507" fmla="*/ 2074564 h 6851544"/>
              <a:gd name="connsiteX1508" fmla="*/ 3359433 w 6901213"/>
              <a:gd name="connsiteY1508" fmla="*/ 2093171 h 6851544"/>
              <a:gd name="connsiteX1509" fmla="*/ 3378040 w 6901213"/>
              <a:gd name="connsiteY1509" fmla="*/ 2074564 h 6851544"/>
              <a:gd name="connsiteX1510" fmla="*/ 3205033 w 6901213"/>
              <a:gd name="connsiteY1510" fmla="*/ 2012819 h 6851544"/>
              <a:gd name="connsiteX1511" fmla="*/ 3187565 w 6901213"/>
              <a:gd name="connsiteY1511" fmla="*/ 1995351 h 6851544"/>
              <a:gd name="connsiteX1512" fmla="*/ 3170097 w 6901213"/>
              <a:gd name="connsiteY1512" fmla="*/ 2012819 h 6851544"/>
              <a:gd name="connsiteX1513" fmla="*/ 3187565 w 6901213"/>
              <a:gd name="connsiteY1513" fmla="*/ 2030287 h 6851544"/>
              <a:gd name="connsiteX1514" fmla="*/ 3205033 w 6901213"/>
              <a:gd name="connsiteY1514" fmla="*/ 2012819 h 6851544"/>
              <a:gd name="connsiteX1515" fmla="*/ 3028153 w 6901213"/>
              <a:gd name="connsiteY1515" fmla="*/ 1962998 h 6851544"/>
              <a:gd name="connsiteX1516" fmla="*/ 3011824 w 6901213"/>
              <a:gd name="connsiteY1516" fmla="*/ 1946669 h 6851544"/>
              <a:gd name="connsiteX1517" fmla="*/ 2995420 w 6901213"/>
              <a:gd name="connsiteY1517" fmla="*/ 1962998 h 6851544"/>
              <a:gd name="connsiteX1518" fmla="*/ 3011824 w 6901213"/>
              <a:gd name="connsiteY1518" fmla="*/ 1979403 h 6851544"/>
              <a:gd name="connsiteX1519" fmla="*/ 3028153 w 6901213"/>
              <a:gd name="connsiteY1519" fmla="*/ 1962998 h 6851544"/>
              <a:gd name="connsiteX1520" fmla="*/ 2848311 w 6901213"/>
              <a:gd name="connsiteY1520" fmla="*/ 1925404 h 6851544"/>
              <a:gd name="connsiteX1521" fmla="*/ 2833045 w 6901213"/>
              <a:gd name="connsiteY1521" fmla="*/ 1910139 h 6851544"/>
              <a:gd name="connsiteX1522" fmla="*/ 2817780 w 6901213"/>
              <a:gd name="connsiteY1522" fmla="*/ 1925404 h 6851544"/>
              <a:gd name="connsiteX1523" fmla="*/ 2833045 w 6901213"/>
              <a:gd name="connsiteY1523" fmla="*/ 1940670 h 6851544"/>
              <a:gd name="connsiteX1524" fmla="*/ 2848311 w 6901213"/>
              <a:gd name="connsiteY1524" fmla="*/ 1925404 h 6851544"/>
              <a:gd name="connsiteX1525" fmla="*/ 2666266 w 6901213"/>
              <a:gd name="connsiteY1525" fmla="*/ 1900266 h 6851544"/>
              <a:gd name="connsiteX1526" fmla="*/ 2652140 w 6901213"/>
              <a:gd name="connsiteY1526" fmla="*/ 1886140 h 6851544"/>
              <a:gd name="connsiteX1527" fmla="*/ 2638014 w 6901213"/>
              <a:gd name="connsiteY1527" fmla="*/ 1900266 h 6851544"/>
              <a:gd name="connsiteX1528" fmla="*/ 2652140 w 6901213"/>
              <a:gd name="connsiteY1528" fmla="*/ 1914392 h 6851544"/>
              <a:gd name="connsiteX1529" fmla="*/ 2666266 w 6901213"/>
              <a:gd name="connsiteY1529" fmla="*/ 1900266 h 6851544"/>
              <a:gd name="connsiteX1530" fmla="*/ 2482399 w 6901213"/>
              <a:gd name="connsiteY1530" fmla="*/ 1887659 h 6851544"/>
              <a:gd name="connsiteX1531" fmla="*/ 2469943 w 6901213"/>
              <a:gd name="connsiteY1531" fmla="*/ 1875204 h 6851544"/>
              <a:gd name="connsiteX1532" fmla="*/ 2457488 w 6901213"/>
              <a:gd name="connsiteY1532" fmla="*/ 1887659 h 6851544"/>
              <a:gd name="connsiteX1533" fmla="*/ 2469943 w 6901213"/>
              <a:gd name="connsiteY1533" fmla="*/ 1900114 h 6851544"/>
              <a:gd name="connsiteX1534" fmla="*/ 2482399 w 6901213"/>
              <a:gd name="connsiteY1534" fmla="*/ 1887659 h 6851544"/>
              <a:gd name="connsiteX1535" fmla="*/ 2298000 w 6901213"/>
              <a:gd name="connsiteY1535" fmla="*/ 1887659 h 6851544"/>
              <a:gd name="connsiteX1536" fmla="*/ 2287291 w 6901213"/>
              <a:gd name="connsiteY1536" fmla="*/ 1876950 h 6851544"/>
              <a:gd name="connsiteX1537" fmla="*/ 2276583 w 6901213"/>
              <a:gd name="connsiteY1537" fmla="*/ 1887659 h 6851544"/>
              <a:gd name="connsiteX1538" fmla="*/ 2287291 w 6901213"/>
              <a:gd name="connsiteY1538" fmla="*/ 1898367 h 6851544"/>
              <a:gd name="connsiteX1539" fmla="*/ 2298000 w 6901213"/>
              <a:gd name="connsiteY1539" fmla="*/ 1887659 h 6851544"/>
              <a:gd name="connsiteX1540" fmla="*/ 2114664 w 6901213"/>
              <a:gd name="connsiteY1540" fmla="*/ 1900266 h 6851544"/>
              <a:gd name="connsiteX1541" fmla="*/ 2105095 w 6901213"/>
              <a:gd name="connsiteY1541" fmla="*/ 1890697 h 6851544"/>
              <a:gd name="connsiteX1542" fmla="*/ 2095525 w 6901213"/>
              <a:gd name="connsiteY1542" fmla="*/ 1900266 h 6851544"/>
              <a:gd name="connsiteX1543" fmla="*/ 2105095 w 6901213"/>
              <a:gd name="connsiteY1543" fmla="*/ 1909835 h 6851544"/>
              <a:gd name="connsiteX1544" fmla="*/ 2114664 w 6901213"/>
              <a:gd name="connsiteY1544" fmla="*/ 1900266 h 6851544"/>
              <a:gd name="connsiteX1545" fmla="*/ 1932088 w 6901213"/>
              <a:gd name="connsiteY1545" fmla="*/ 1925404 h 6851544"/>
              <a:gd name="connsiteX1546" fmla="*/ 1924189 w 6901213"/>
              <a:gd name="connsiteY1546" fmla="*/ 1917506 h 6851544"/>
              <a:gd name="connsiteX1547" fmla="*/ 1916291 w 6901213"/>
              <a:gd name="connsiteY1547" fmla="*/ 1925404 h 6851544"/>
              <a:gd name="connsiteX1548" fmla="*/ 1924189 w 6901213"/>
              <a:gd name="connsiteY1548" fmla="*/ 1933303 h 6851544"/>
              <a:gd name="connsiteX1549" fmla="*/ 1932088 w 6901213"/>
              <a:gd name="connsiteY1549" fmla="*/ 1925404 h 6851544"/>
              <a:gd name="connsiteX1550" fmla="*/ 1752246 w 6901213"/>
              <a:gd name="connsiteY1550" fmla="*/ 1962998 h 6851544"/>
              <a:gd name="connsiteX1551" fmla="*/ 1745486 w 6901213"/>
              <a:gd name="connsiteY1551" fmla="*/ 1956239 h 6851544"/>
              <a:gd name="connsiteX1552" fmla="*/ 1738727 w 6901213"/>
              <a:gd name="connsiteY1552" fmla="*/ 1962998 h 6851544"/>
              <a:gd name="connsiteX1553" fmla="*/ 1745486 w 6901213"/>
              <a:gd name="connsiteY1553" fmla="*/ 1969757 h 6851544"/>
              <a:gd name="connsiteX1554" fmla="*/ 1752246 w 6901213"/>
              <a:gd name="connsiteY1554" fmla="*/ 1962998 h 6851544"/>
              <a:gd name="connsiteX1555" fmla="*/ 1575365 w 6901213"/>
              <a:gd name="connsiteY1555" fmla="*/ 2012819 h 6851544"/>
              <a:gd name="connsiteX1556" fmla="*/ 1569745 w 6901213"/>
              <a:gd name="connsiteY1556" fmla="*/ 2007199 h 6851544"/>
              <a:gd name="connsiteX1557" fmla="*/ 1564125 w 6901213"/>
              <a:gd name="connsiteY1557" fmla="*/ 2012819 h 6851544"/>
              <a:gd name="connsiteX1558" fmla="*/ 1569745 w 6901213"/>
              <a:gd name="connsiteY1558" fmla="*/ 2018439 h 6851544"/>
              <a:gd name="connsiteX1559" fmla="*/ 1575365 w 6901213"/>
              <a:gd name="connsiteY1559" fmla="*/ 2012819 h 6851544"/>
              <a:gd name="connsiteX1560" fmla="*/ 1402358 w 6901213"/>
              <a:gd name="connsiteY1560" fmla="*/ 2074564 h 6851544"/>
              <a:gd name="connsiteX1561" fmla="*/ 1397878 w 6901213"/>
              <a:gd name="connsiteY1561" fmla="*/ 2070083 h 6851544"/>
              <a:gd name="connsiteX1562" fmla="*/ 1393397 w 6901213"/>
              <a:gd name="connsiteY1562" fmla="*/ 2074564 h 6851544"/>
              <a:gd name="connsiteX1563" fmla="*/ 1397878 w 6901213"/>
              <a:gd name="connsiteY1563" fmla="*/ 2079045 h 6851544"/>
              <a:gd name="connsiteX1564" fmla="*/ 1402358 w 6901213"/>
              <a:gd name="connsiteY1564" fmla="*/ 2074564 h 6851544"/>
              <a:gd name="connsiteX1565" fmla="*/ 1234060 w 6901213"/>
              <a:gd name="connsiteY1565" fmla="*/ 2148081 h 6851544"/>
              <a:gd name="connsiteX1566" fmla="*/ 1230643 w 6901213"/>
              <a:gd name="connsiteY1566" fmla="*/ 2144739 h 6851544"/>
              <a:gd name="connsiteX1567" fmla="*/ 1227225 w 6901213"/>
              <a:gd name="connsiteY1567" fmla="*/ 2148081 h 6851544"/>
              <a:gd name="connsiteX1568" fmla="*/ 1230643 w 6901213"/>
              <a:gd name="connsiteY1568" fmla="*/ 2151498 h 6851544"/>
              <a:gd name="connsiteX1569" fmla="*/ 1234060 w 6901213"/>
              <a:gd name="connsiteY1569" fmla="*/ 2148081 h 6851544"/>
              <a:gd name="connsiteX1570" fmla="*/ 1071230 w 6901213"/>
              <a:gd name="connsiteY1570" fmla="*/ 2232989 h 6851544"/>
              <a:gd name="connsiteX1571" fmla="*/ 1068952 w 6901213"/>
              <a:gd name="connsiteY1571" fmla="*/ 2230711 h 6851544"/>
              <a:gd name="connsiteX1572" fmla="*/ 1066673 w 6901213"/>
              <a:gd name="connsiteY1572" fmla="*/ 2232989 h 6851544"/>
              <a:gd name="connsiteX1573" fmla="*/ 1068952 w 6901213"/>
              <a:gd name="connsiteY1573" fmla="*/ 2235268 h 6851544"/>
              <a:gd name="connsiteX1574" fmla="*/ 1071230 w 6901213"/>
              <a:gd name="connsiteY1574" fmla="*/ 2232989 h 6851544"/>
              <a:gd name="connsiteX1575" fmla="*/ 915159 w 6901213"/>
              <a:gd name="connsiteY1575" fmla="*/ 2328834 h 6851544"/>
              <a:gd name="connsiteX1576" fmla="*/ 913489 w 6901213"/>
              <a:gd name="connsiteY1576" fmla="*/ 2327163 h 6851544"/>
              <a:gd name="connsiteX1577" fmla="*/ 911818 w 6901213"/>
              <a:gd name="connsiteY1577" fmla="*/ 2328834 h 6851544"/>
              <a:gd name="connsiteX1578" fmla="*/ 913489 w 6901213"/>
              <a:gd name="connsiteY1578" fmla="*/ 2330505 h 6851544"/>
              <a:gd name="connsiteX1579" fmla="*/ 915159 w 6901213"/>
              <a:gd name="connsiteY1579" fmla="*/ 2328834 h 6851544"/>
              <a:gd name="connsiteX1580" fmla="*/ 766076 w 6901213"/>
              <a:gd name="connsiteY1580" fmla="*/ 2435160 h 6851544"/>
              <a:gd name="connsiteX1581" fmla="*/ 764937 w 6901213"/>
              <a:gd name="connsiteY1581" fmla="*/ 2434021 h 6851544"/>
              <a:gd name="connsiteX1582" fmla="*/ 763797 w 6901213"/>
              <a:gd name="connsiteY1582" fmla="*/ 2435160 h 6851544"/>
              <a:gd name="connsiteX1583" fmla="*/ 764937 w 6901213"/>
              <a:gd name="connsiteY1583" fmla="*/ 2436299 h 6851544"/>
              <a:gd name="connsiteX1584" fmla="*/ 766076 w 6901213"/>
              <a:gd name="connsiteY1584" fmla="*/ 2435160 h 6851544"/>
              <a:gd name="connsiteX1585" fmla="*/ 624739 w 6901213"/>
              <a:gd name="connsiteY1585" fmla="*/ 2551510 h 6851544"/>
              <a:gd name="connsiteX1586" fmla="*/ 624207 w 6901213"/>
              <a:gd name="connsiteY1586" fmla="*/ 2550979 h 6851544"/>
              <a:gd name="connsiteX1587" fmla="*/ 623676 w 6901213"/>
              <a:gd name="connsiteY1587" fmla="*/ 2551510 h 6851544"/>
              <a:gd name="connsiteX1588" fmla="*/ 624207 w 6901213"/>
              <a:gd name="connsiteY1588" fmla="*/ 2552042 h 6851544"/>
              <a:gd name="connsiteX1589" fmla="*/ 624739 w 6901213"/>
              <a:gd name="connsiteY1589" fmla="*/ 2551510 h 6851544"/>
              <a:gd name="connsiteX1590" fmla="*/ 4488459 w 6901213"/>
              <a:gd name="connsiteY1590" fmla="*/ 6447432 h 6851544"/>
              <a:gd name="connsiteX1591" fmla="*/ 4487927 w 6901213"/>
              <a:gd name="connsiteY1591" fmla="*/ 6446900 h 6851544"/>
              <a:gd name="connsiteX1592" fmla="*/ 4487395 w 6901213"/>
              <a:gd name="connsiteY1592" fmla="*/ 6447432 h 6851544"/>
              <a:gd name="connsiteX1593" fmla="*/ 4487927 w 6901213"/>
              <a:gd name="connsiteY1593" fmla="*/ 6447963 h 6851544"/>
              <a:gd name="connsiteX1594" fmla="*/ 4488459 w 6901213"/>
              <a:gd name="connsiteY1594" fmla="*/ 6447432 h 6851544"/>
              <a:gd name="connsiteX1595" fmla="*/ 4607391 w 6901213"/>
              <a:gd name="connsiteY1595" fmla="*/ 6308373 h 6851544"/>
              <a:gd name="connsiteX1596" fmla="*/ 4606252 w 6901213"/>
              <a:gd name="connsiteY1596" fmla="*/ 6307234 h 6851544"/>
              <a:gd name="connsiteX1597" fmla="*/ 4605113 w 6901213"/>
              <a:gd name="connsiteY1597" fmla="*/ 6308373 h 6851544"/>
              <a:gd name="connsiteX1598" fmla="*/ 4606252 w 6901213"/>
              <a:gd name="connsiteY1598" fmla="*/ 6309512 h 6851544"/>
              <a:gd name="connsiteX1599" fmla="*/ 4607391 w 6901213"/>
              <a:gd name="connsiteY1599" fmla="*/ 6308373 h 6851544"/>
              <a:gd name="connsiteX1600" fmla="*/ 4717211 w 6901213"/>
              <a:gd name="connsiteY1600" fmla="*/ 6161947 h 6851544"/>
              <a:gd name="connsiteX1601" fmla="*/ 4715540 w 6901213"/>
              <a:gd name="connsiteY1601" fmla="*/ 6160277 h 6851544"/>
              <a:gd name="connsiteX1602" fmla="*/ 4713869 w 6901213"/>
              <a:gd name="connsiteY1602" fmla="*/ 6161947 h 6851544"/>
              <a:gd name="connsiteX1603" fmla="*/ 4715540 w 6901213"/>
              <a:gd name="connsiteY1603" fmla="*/ 6163618 h 6851544"/>
              <a:gd name="connsiteX1604" fmla="*/ 4717211 w 6901213"/>
              <a:gd name="connsiteY1604" fmla="*/ 6161947 h 6851544"/>
              <a:gd name="connsiteX1605" fmla="*/ 4817460 w 6901213"/>
              <a:gd name="connsiteY1605" fmla="*/ 6008915 h 6851544"/>
              <a:gd name="connsiteX1606" fmla="*/ 4815182 w 6901213"/>
              <a:gd name="connsiteY1606" fmla="*/ 6006636 h 6851544"/>
              <a:gd name="connsiteX1607" fmla="*/ 4812903 w 6901213"/>
              <a:gd name="connsiteY1607" fmla="*/ 6008915 h 6851544"/>
              <a:gd name="connsiteX1608" fmla="*/ 4815182 w 6901213"/>
              <a:gd name="connsiteY1608" fmla="*/ 6011193 h 6851544"/>
              <a:gd name="connsiteX1609" fmla="*/ 4817460 w 6901213"/>
              <a:gd name="connsiteY1609" fmla="*/ 6008915 h 6851544"/>
              <a:gd name="connsiteX1610" fmla="*/ 4908217 w 6901213"/>
              <a:gd name="connsiteY1610" fmla="*/ 5849730 h 6851544"/>
              <a:gd name="connsiteX1611" fmla="*/ 4904799 w 6901213"/>
              <a:gd name="connsiteY1611" fmla="*/ 5846312 h 6851544"/>
              <a:gd name="connsiteX1612" fmla="*/ 4901382 w 6901213"/>
              <a:gd name="connsiteY1612" fmla="*/ 5849730 h 6851544"/>
              <a:gd name="connsiteX1613" fmla="*/ 4904799 w 6901213"/>
              <a:gd name="connsiteY1613" fmla="*/ 5853148 h 6851544"/>
              <a:gd name="connsiteX1614" fmla="*/ 4908217 w 6901213"/>
              <a:gd name="connsiteY1614" fmla="*/ 5849730 h 6851544"/>
              <a:gd name="connsiteX1615" fmla="*/ 4988568 w 6901213"/>
              <a:gd name="connsiteY1615" fmla="*/ 5685229 h 6851544"/>
              <a:gd name="connsiteX1616" fmla="*/ 4984012 w 6901213"/>
              <a:gd name="connsiteY1616" fmla="*/ 5680672 h 6851544"/>
              <a:gd name="connsiteX1617" fmla="*/ 4979531 w 6901213"/>
              <a:gd name="connsiteY1617" fmla="*/ 5685229 h 6851544"/>
              <a:gd name="connsiteX1618" fmla="*/ 4984012 w 6901213"/>
              <a:gd name="connsiteY1618" fmla="*/ 5689710 h 6851544"/>
              <a:gd name="connsiteX1619" fmla="*/ 4988568 w 6901213"/>
              <a:gd name="connsiteY1619" fmla="*/ 5685229 h 6851544"/>
              <a:gd name="connsiteX1620" fmla="*/ 5058212 w 6901213"/>
              <a:gd name="connsiteY1620" fmla="*/ 5515867 h 6851544"/>
              <a:gd name="connsiteX1621" fmla="*/ 5052592 w 6901213"/>
              <a:gd name="connsiteY1621" fmla="*/ 5510248 h 6851544"/>
              <a:gd name="connsiteX1622" fmla="*/ 5046972 w 6901213"/>
              <a:gd name="connsiteY1622" fmla="*/ 5515867 h 6851544"/>
              <a:gd name="connsiteX1623" fmla="*/ 5052592 w 6901213"/>
              <a:gd name="connsiteY1623" fmla="*/ 5521487 h 6851544"/>
              <a:gd name="connsiteX1624" fmla="*/ 5058212 w 6901213"/>
              <a:gd name="connsiteY1624" fmla="*/ 5515867 h 6851544"/>
              <a:gd name="connsiteX1625" fmla="*/ 5116919 w 6901213"/>
              <a:gd name="connsiteY1625" fmla="*/ 5342557 h 6851544"/>
              <a:gd name="connsiteX1626" fmla="*/ 5110159 w 6901213"/>
              <a:gd name="connsiteY1626" fmla="*/ 5335798 h 6851544"/>
              <a:gd name="connsiteX1627" fmla="*/ 5103400 w 6901213"/>
              <a:gd name="connsiteY1627" fmla="*/ 5342557 h 6851544"/>
              <a:gd name="connsiteX1628" fmla="*/ 5110159 w 6901213"/>
              <a:gd name="connsiteY1628" fmla="*/ 5349316 h 6851544"/>
              <a:gd name="connsiteX1629" fmla="*/ 5116919 w 6901213"/>
              <a:gd name="connsiteY1629" fmla="*/ 5342557 h 6851544"/>
              <a:gd name="connsiteX1630" fmla="*/ 5164386 w 6901213"/>
              <a:gd name="connsiteY1630" fmla="*/ 5165905 h 6851544"/>
              <a:gd name="connsiteX1631" fmla="*/ 5156487 w 6901213"/>
              <a:gd name="connsiteY1631" fmla="*/ 5158006 h 6851544"/>
              <a:gd name="connsiteX1632" fmla="*/ 5148588 w 6901213"/>
              <a:gd name="connsiteY1632" fmla="*/ 5165905 h 6851544"/>
              <a:gd name="connsiteX1633" fmla="*/ 5156487 w 6901213"/>
              <a:gd name="connsiteY1633" fmla="*/ 5173803 h 6851544"/>
              <a:gd name="connsiteX1634" fmla="*/ 5164386 w 6901213"/>
              <a:gd name="connsiteY1634" fmla="*/ 5165905 h 6851544"/>
              <a:gd name="connsiteX1635" fmla="*/ 5200992 w 6901213"/>
              <a:gd name="connsiteY1635" fmla="*/ 4986594 h 6851544"/>
              <a:gd name="connsiteX1636" fmla="*/ 5191423 w 6901213"/>
              <a:gd name="connsiteY1636" fmla="*/ 4977025 h 6851544"/>
              <a:gd name="connsiteX1637" fmla="*/ 5181853 w 6901213"/>
              <a:gd name="connsiteY1637" fmla="*/ 4986594 h 6851544"/>
              <a:gd name="connsiteX1638" fmla="*/ 5191423 w 6901213"/>
              <a:gd name="connsiteY1638" fmla="*/ 4996163 h 6851544"/>
              <a:gd name="connsiteX1639" fmla="*/ 5200992 w 6901213"/>
              <a:gd name="connsiteY1639" fmla="*/ 4986594 h 6851544"/>
              <a:gd name="connsiteX1640" fmla="*/ 5226054 w 6901213"/>
              <a:gd name="connsiteY1640" fmla="*/ 4805461 h 6851544"/>
              <a:gd name="connsiteX1641" fmla="*/ 5214738 w 6901213"/>
              <a:gd name="connsiteY1641" fmla="*/ 4794145 h 6851544"/>
              <a:gd name="connsiteX1642" fmla="*/ 5203422 w 6901213"/>
              <a:gd name="connsiteY1642" fmla="*/ 4805461 h 6851544"/>
              <a:gd name="connsiteX1643" fmla="*/ 5214738 w 6901213"/>
              <a:gd name="connsiteY1643" fmla="*/ 4816777 h 6851544"/>
              <a:gd name="connsiteX1644" fmla="*/ 5226054 w 6901213"/>
              <a:gd name="connsiteY1644" fmla="*/ 4805461 h 6851544"/>
              <a:gd name="connsiteX1645" fmla="*/ 5238889 w 6901213"/>
              <a:gd name="connsiteY1645" fmla="*/ 4623188 h 6851544"/>
              <a:gd name="connsiteX1646" fmla="*/ 5226434 w 6901213"/>
              <a:gd name="connsiteY1646" fmla="*/ 4610733 h 6851544"/>
              <a:gd name="connsiteX1647" fmla="*/ 5213979 w 6901213"/>
              <a:gd name="connsiteY1647" fmla="*/ 4623188 h 6851544"/>
              <a:gd name="connsiteX1648" fmla="*/ 5226434 w 6901213"/>
              <a:gd name="connsiteY1648" fmla="*/ 4635644 h 6851544"/>
              <a:gd name="connsiteX1649" fmla="*/ 5238889 w 6901213"/>
              <a:gd name="connsiteY1649" fmla="*/ 4623188 h 6851544"/>
              <a:gd name="connsiteX1650" fmla="*/ 5240560 w 6901213"/>
              <a:gd name="connsiteY1650" fmla="*/ 4440536 h 6851544"/>
              <a:gd name="connsiteX1651" fmla="*/ 5226434 w 6901213"/>
              <a:gd name="connsiteY1651" fmla="*/ 4426410 h 6851544"/>
              <a:gd name="connsiteX1652" fmla="*/ 5212308 w 6901213"/>
              <a:gd name="connsiteY1652" fmla="*/ 4440536 h 6851544"/>
              <a:gd name="connsiteX1653" fmla="*/ 5226434 w 6901213"/>
              <a:gd name="connsiteY1653" fmla="*/ 4454662 h 6851544"/>
              <a:gd name="connsiteX1654" fmla="*/ 5240560 w 6901213"/>
              <a:gd name="connsiteY1654" fmla="*/ 4440536 h 6851544"/>
              <a:gd name="connsiteX1655" fmla="*/ 5230535 w 6901213"/>
              <a:gd name="connsiteY1655" fmla="*/ 4258264 h 6851544"/>
              <a:gd name="connsiteX1656" fmla="*/ 5214738 w 6901213"/>
              <a:gd name="connsiteY1656" fmla="*/ 4242467 h 6851544"/>
              <a:gd name="connsiteX1657" fmla="*/ 5198941 w 6901213"/>
              <a:gd name="connsiteY1657" fmla="*/ 4258264 h 6851544"/>
              <a:gd name="connsiteX1658" fmla="*/ 5214738 w 6901213"/>
              <a:gd name="connsiteY1658" fmla="*/ 4274061 h 6851544"/>
              <a:gd name="connsiteX1659" fmla="*/ 5230535 w 6901213"/>
              <a:gd name="connsiteY1659" fmla="*/ 4258264 h 6851544"/>
              <a:gd name="connsiteX1660" fmla="*/ 5208283 w 6901213"/>
              <a:gd name="connsiteY1660" fmla="*/ 4077130 h 6851544"/>
              <a:gd name="connsiteX1661" fmla="*/ 5191347 w 6901213"/>
              <a:gd name="connsiteY1661" fmla="*/ 4060194 h 6851544"/>
              <a:gd name="connsiteX1662" fmla="*/ 5174411 w 6901213"/>
              <a:gd name="connsiteY1662" fmla="*/ 4077130 h 6851544"/>
              <a:gd name="connsiteX1663" fmla="*/ 5191347 w 6901213"/>
              <a:gd name="connsiteY1663" fmla="*/ 4094067 h 6851544"/>
              <a:gd name="connsiteX1664" fmla="*/ 5208283 w 6901213"/>
              <a:gd name="connsiteY1664" fmla="*/ 4077130 h 6851544"/>
              <a:gd name="connsiteX1665" fmla="*/ 5175094 w 6901213"/>
              <a:gd name="connsiteY1665" fmla="*/ 3897820 h 6851544"/>
              <a:gd name="connsiteX1666" fmla="*/ 5156487 w 6901213"/>
              <a:gd name="connsiteY1666" fmla="*/ 3879213 h 6851544"/>
              <a:gd name="connsiteX1667" fmla="*/ 5137880 w 6901213"/>
              <a:gd name="connsiteY1667" fmla="*/ 3897820 h 6851544"/>
              <a:gd name="connsiteX1668" fmla="*/ 5156487 w 6901213"/>
              <a:gd name="connsiteY1668" fmla="*/ 3916427 h 6851544"/>
              <a:gd name="connsiteX1669" fmla="*/ 5175094 w 6901213"/>
              <a:gd name="connsiteY1669" fmla="*/ 3897820 h 6851544"/>
              <a:gd name="connsiteX1670" fmla="*/ 5129906 w 6901213"/>
              <a:gd name="connsiteY1670" fmla="*/ 3721168 h 6851544"/>
              <a:gd name="connsiteX1671" fmla="*/ 5110159 w 6901213"/>
              <a:gd name="connsiteY1671" fmla="*/ 3701422 h 6851544"/>
              <a:gd name="connsiteX1672" fmla="*/ 5090413 w 6901213"/>
              <a:gd name="connsiteY1672" fmla="*/ 3721168 h 6851544"/>
              <a:gd name="connsiteX1673" fmla="*/ 5110159 w 6901213"/>
              <a:gd name="connsiteY1673" fmla="*/ 3740914 h 6851544"/>
              <a:gd name="connsiteX1674" fmla="*/ 5129906 w 6901213"/>
              <a:gd name="connsiteY1674" fmla="*/ 3721168 h 6851544"/>
              <a:gd name="connsiteX1675" fmla="*/ 5073477 w 6901213"/>
              <a:gd name="connsiteY1675" fmla="*/ 3547781 h 6851544"/>
              <a:gd name="connsiteX1676" fmla="*/ 5052592 w 6901213"/>
              <a:gd name="connsiteY1676" fmla="*/ 3526896 h 6851544"/>
              <a:gd name="connsiteX1677" fmla="*/ 5031707 w 6901213"/>
              <a:gd name="connsiteY1677" fmla="*/ 3547781 h 6851544"/>
              <a:gd name="connsiteX1678" fmla="*/ 5052592 w 6901213"/>
              <a:gd name="connsiteY1678" fmla="*/ 3568666 h 6851544"/>
              <a:gd name="connsiteX1679" fmla="*/ 5073477 w 6901213"/>
              <a:gd name="connsiteY1679" fmla="*/ 3547781 h 6851544"/>
              <a:gd name="connsiteX1680" fmla="*/ 5006037 w 6901213"/>
              <a:gd name="connsiteY1680" fmla="*/ 3378495 h 6851544"/>
              <a:gd name="connsiteX1681" fmla="*/ 4984012 w 6901213"/>
              <a:gd name="connsiteY1681" fmla="*/ 3356471 h 6851544"/>
              <a:gd name="connsiteX1682" fmla="*/ 4961987 w 6901213"/>
              <a:gd name="connsiteY1682" fmla="*/ 3378495 h 6851544"/>
              <a:gd name="connsiteX1683" fmla="*/ 4984012 w 6901213"/>
              <a:gd name="connsiteY1683" fmla="*/ 3400520 h 6851544"/>
              <a:gd name="connsiteX1684" fmla="*/ 5006037 w 6901213"/>
              <a:gd name="connsiteY1684" fmla="*/ 3378495 h 6851544"/>
              <a:gd name="connsiteX1685" fmla="*/ 4927963 w 6901213"/>
              <a:gd name="connsiteY1685" fmla="*/ 3213919 h 6851544"/>
              <a:gd name="connsiteX1686" fmla="*/ 4904799 w 6901213"/>
              <a:gd name="connsiteY1686" fmla="*/ 3190755 h 6851544"/>
              <a:gd name="connsiteX1687" fmla="*/ 4881636 w 6901213"/>
              <a:gd name="connsiteY1687" fmla="*/ 3213919 h 6851544"/>
              <a:gd name="connsiteX1688" fmla="*/ 4904799 w 6901213"/>
              <a:gd name="connsiteY1688" fmla="*/ 3237082 h 6851544"/>
              <a:gd name="connsiteX1689" fmla="*/ 4927963 w 6901213"/>
              <a:gd name="connsiteY1689" fmla="*/ 3213919 h 6851544"/>
              <a:gd name="connsiteX1690" fmla="*/ 4838877 w 6901213"/>
              <a:gd name="connsiteY1690" fmla="*/ 3054810 h 6851544"/>
              <a:gd name="connsiteX1691" fmla="*/ 4815182 w 6901213"/>
              <a:gd name="connsiteY1691" fmla="*/ 3031115 h 6851544"/>
              <a:gd name="connsiteX1692" fmla="*/ 4791487 w 6901213"/>
              <a:gd name="connsiteY1692" fmla="*/ 3054810 h 6851544"/>
              <a:gd name="connsiteX1693" fmla="*/ 4815182 w 6901213"/>
              <a:gd name="connsiteY1693" fmla="*/ 3078505 h 6851544"/>
              <a:gd name="connsiteX1694" fmla="*/ 4838877 w 6901213"/>
              <a:gd name="connsiteY1694" fmla="*/ 3054810 h 6851544"/>
              <a:gd name="connsiteX1695" fmla="*/ 4739767 w 6901213"/>
              <a:gd name="connsiteY1695" fmla="*/ 2901701 h 6851544"/>
              <a:gd name="connsiteX1696" fmla="*/ 4715464 w 6901213"/>
              <a:gd name="connsiteY1696" fmla="*/ 2877474 h 6851544"/>
              <a:gd name="connsiteX1697" fmla="*/ 4691161 w 6901213"/>
              <a:gd name="connsiteY1697" fmla="*/ 2901701 h 6851544"/>
              <a:gd name="connsiteX1698" fmla="*/ 4715464 w 6901213"/>
              <a:gd name="connsiteY1698" fmla="*/ 2926004 h 6851544"/>
              <a:gd name="connsiteX1699" fmla="*/ 4739767 w 6901213"/>
              <a:gd name="connsiteY1699" fmla="*/ 2901701 h 6851544"/>
              <a:gd name="connsiteX1700" fmla="*/ 4631087 w 6901213"/>
              <a:gd name="connsiteY1700" fmla="*/ 2755352 h 6851544"/>
              <a:gd name="connsiteX1701" fmla="*/ 4606252 w 6901213"/>
              <a:gd name="connsiteY1701" fmla="*/ 2730517 h 6851544"/>
              <a:gd name="connsiteX1702" fmla="*/ 4581418 w 6901213"/>
              <a:gd name="connsiteY1702" fmla="*/ 2755352 h 6851544"/>
              <a:gd name="connsiteX1703" fmla="*/ 4606252 w 6901213"/>
              <a:gd name="connsiteY1703" fmla="*/ 2780186 h 6851544"/>
              <a:gd name="connsiteX1704" fmla="*/ 4631087 w 6901213"/>
              <a:gd name="connsiteY1704" fmla="*/ 2755352 h 6851544"/>
              <a:gd name="connsiteX1705" fmla="*/ 4513293 w 6901213"/>
              <a:gd name="connsiteY1705" fmla="*/ 2616293 h 6851544"/>
              <a:gd name="connsiteX1706" fmla="*/ 4487927 w 6901213"/>
              <a:gd name="connsiteY1706" fmla="*/ 2590927 h 6851544"/>
              <a:gd name="connsiteX1707" fmla="*/ 4462561 w 6901213"/>
              <a:gd name="connsiteY1707" fmla="*/ 2616293 h 6851544"/>
              <a:gd name="connsiteX1708" fmla="*/ 4487927 w 6901213"/>
              <a:gd name="connsiteY1708" fmla="*/ 2641659 h 6851544"/>
              <a:gd name="connsiteX1709" fmla="*/ 4513293 w 6901213"/>
              <a:gd name="connsiteY1709" fmla="*/ 2616293 h 6851544"/>
              <a:gd name="connsiteX1710" fmla="*/ 4386234 w 6901213"/>
              <a:gd name="connsiteY1710" fmla="*/ 2485057 h 6851544"/>
              <a:gd name="connsiteX1711" fmla="*/ 4360868 w 6901213"/>
              <a:gd name="connsiteY1711" fmla="*/ 2459691 h 6851544"/>
              <a:gd name="connsiteX1712" fmla="*/ 4335502 w 6901213"/>
              <a:gd name="connsiteY1712" fmla="*/ 2485057 h 6851544"/>
              <a:gd name="connsiteX1713" fmla="*/ 4360868 w 6901213"/>
              <a:gd name="connsiteY1713" fmla="*/ 2510423 h 6851544"/>
              <a:gd name="connsiteX1714" fmla="*/ 4386234 w 6901213"/>
              <a:gd name="connsiteY1714" fmla="*/ 2485057 h 6851544"/>
              <a:gd name="connsiteX1715" fmla="*/ 4250441 w 6901213"/>
              <a:gd name="connsiteY1715" fmla="*/ 2362327 h 6851544"/>
              <a:gd name="connsiteX1716" fmla="*/ 4225607 w 6901213"/>
              <a:gd name="connsiteY1716" fmla="*/ 2337492 h 6851544"/>
              <a:gd name="connsiteX1717" fmla="*/ 4200772 w 6901213"/>
              <a:gd name="connsiteY1717" fmla="*/ 2362327 h 6851544"/>
              <a:gd name="connsiteX1718" fmla="*/ 4225607 w 6901213"/>
              <a:gd name="connsiteY1718" fmla="*/ 2387161 h 6851544"/>
              <a:gd name="connsiteX1719" fmla="*/ 4250441 w 6901213"/>
              <a:gd name="connsiteY1719" fmla="*/ 2362327 h 6851544"/>
              <a:gd name="connsiteX1720" fmla="*/ 4107661 w 6901213"/>
              <a:gd name="connsiteY1720" fmla="*/ 2248406 h 6851544"/>
              <a:gd name="connsiteX1721" fmla="*/ 4082827 w 6901213"/>
              <a:gd name="connsiteY1721" fmla="*/ 2223572 h 6851544"/>
              <a:gd name="connsiteX1722" fmla="*/ 4057992 w 6901213"/>
              <a:gd name="connsiteY1722" fmla="*/ 2248406 h 6851544"/>
              <a:gd name="connsiteX1723" fmla="*/ 4082827 w 6901213"/>
              <a:gd name="connsiteY1723" fmla="*/ 2273241 h 6851544"/>
              <a:gd name="connsiteX1724" fmla="*/ 4107661 w 6901213"/>
              <a:gd name="connsiteY1724" fmla="*/ 2248406 h 6851544"/>
              <a:gd name="connsiteX1725" fmla="*/ 3957286 w 6901213"/>
              <a:gd name="connsiteY1725" fmla="*/ 2143904 h 6851544"/>
              <a:gd name="connsiteX1726" fmla="*/ 3932983 w 6901213"/>
              <a:gd name="connsiteY1726" fmla="*/ 2119676 h 6851544"/>
              <a:gd name="connsiteX1727" fmla="*/ 3908680 w 6901213"/>
              <a:gd name="connsiteY1727" fmla="*/ 2143904 h 6851544"/>
              <a:gd name="connsiteX1728" fmla="*/ 3932983 w 6901213"/>
              <a:gd name="connsiteY1728" fmla="*/ 2168207 h 6851544"/>
              <a:gd name="connsiteX1729" fmla="*/ 3957286 w 6901213"/>
              <a:gd name="connsiteY1729" fmla="*/ 2143904 h 6851544"/>
              <a:gd name="connsiteX1730" fmla="*/ 3800532 w 6901213"/>
              <a:gd name="connsiteY1730" fmla="*/ 2049198 h 6851544"/>
              <a:gd name="connsiteX1731" fmla="*/ 3776837 w 6901213"/>
              <a:gd name="connsiteY1731" fmla="*/ 2025502 h 6851544"/>
              <a:gd name="connsiteX1732" fmla="*/ 3753141 w 6901213"/>
              <a:gd name="connsiteY1732" fmla="*/ 2049198 h 6851544"/>
              <a:gd name="connsiteX1733" fmla="*/ 3776837 w 6901213"/>
              <a:gd name="connsiteY1733" fmla="*/ 2072893 h 6851544"/>
              <a:gd name="connsiteX1734" fmla="*/ 3800532 w 6901213"/>
              <a:gd name="connsiteY1734" fmla="*/ 2049198 h 6851544"/>
              <a:gd name="connsiteX1735" fmla="*/ 3637474 w 6901213"/>
              <a:gd name="connsiteY1735" fmla="*/ 1964745 h 6851544"/>
              <a:gd name="connsiteX1736" fmla="*/ 3614918 w 6901213"/>
              <a:gd name="connsiteY1736" fmla="*/ 1942189 h 6851544"/>
              <a:gd name="connsiteX1737" fmla="*/ 3592362 w 6901213"/>
              <a:gd name="connsiteY1737" fmla="*/ 1964745 h 6851544"/>
              <a:gd name="connsiteX1738" fmla="*/ 3614918 w 6901213"/>
              <a:gd name="connsiteY1738" fmla="*/ 1987301 h 6851544"/>
              <a:gd name="connsiteX1739" fmla="*/ 3637474 w 6901213"/>
              <a:gd name="connsiteY1739" fmla="*/ 1964745 h 6851544"/>
              <a:gd name="connsiteX1740" fmla="*/ 3469328 w 6901213"/>
              <a:gd name="connsiteY1740" fmla="*/ 1890849 h 6851544"/>
              <a:gd name="connsiteX1741" fmla="*/ 3447911 w 6901213"/>
              <a:gd name="connsiteY1741" fmla="*/ 1869432 h 6851544"/>
              <a:gd name="connsiteX1742" fmla="*/ 3426494 w 6901213"/>
              <a:gd name="connsiteY1742" fmla="*/ 1890849 h 6851544"/>
              <a:gd name="connsiteX1743" fmla="*/ 3447911 w 6901213"/>
              <a:gd name="connsiteY1743" fmla="*/ 1912266 h 6851544"/>
              <a:gd name="connsiteX1744" fmla="*/ 3469328 w 6901213"/>
              <a:gd name="connsiteY1744" fmla="*/ 1890849 h 6851544"/>
              <a:gd name="connsiteX1745" fmla="*/ 3296777 w 6901213"/>
              <a:gd name="connsiteY1745" fmla="*/ 1827737 h 6851544"/>
              <a:gd name="connsiteX1746" fmla="*/ 3276423 w 6901213"/>
              <a:gd name="connsiteY1746" fmla="*/ 1807383 h 6851544"/>
              <a:gd name="connsiteX1747" fmla="*/ 3256069 w 6901213"/>
              <a:gd name="connsiteY1747" fmla="*/ 1827737 h 6851544"/>
              <a:gd name="connsiteX1748" fmla="*/ 3276423 w 6901213"/>
              <a:gd name="connsiteY1748" fmla="*/ 1848091 h 6851544"/>
              <a:gd name="connsiteX1749" fmla="*/ 3296777 w 6901213"/>
              <a:gd name="connsiteY1749" fmla="*/ 1827737 h 6851544"/>
              <a:gd name="connsiteX1750" fmla="*/ 3120580 w 6901213"/>
              <a:gd name="connsiteY1750" fmla="*/ 1775789 h 6851544"/>
              <a:gd name="connsiteX1751" fmla="*/ 3101365 w 6901213"/>
              <a:gd name="connsiteY1751" fmla="*/ 1756651 h 6851544"/>
              <a:gd name="connsiteX1752" fmla="*/ 3082151 w 6901213"/>
              <a:gd name="connsiteY1752" fmla="*/ 1775789 h 6851544"/>
              <a:gd name="connsiteX1753" fmla="*/ 3101365 w 6901213"/>
              <a:gd name="connsiteY1753" fmla="*/ 1795004 h 6851544"/>
              <a:gd name="connsiteX1754" fmla="*/ 3120580 w 6901213"/>
              <a:gd name="connsiteY1754" fmla="*/ 1775789 h 6851544"/>
              <a:gd name="connsiteX1755" fmla="*/ 2941345 w 6901213"/>
              <a:gd name="connsiteY1755" fmla="*/ 1735158 h 6851544"/>
              <a:gd name="connsiteX1756" fmla="*/ 2923270 w 6901213"/>
              <a:gd name="connsiteY1756" fmla="*/ 1717082 h 6851544"/>
              <a:gd name="connsiteX1757" fmla="*/ 2905195 w 6901213"/>
              <a:gd name="connsiteY1757" fmla="*/ 1735158 h 6851544"/>
              <a:gd name="connsiteX1758" fmla="*/ 2923270 w 6901213"/>
              <a:gd name="connsiteY1758" fmla="*/ 1753233 h 6851544"/>
              <a:gd name="connsiteX1759" fmla="*/ 2941345 w 6901213"/>
              <a:gd name="connsiteY1759" fmla="*/ 1735158 h 6851544"/>
              <a:gd name="connsiteX1760" fmla="*/ 2759377 w 6901213"/>
              <a:gd name="connsiteY1760" fmla="*/ 1705994 h 6851544"/>
              <a:gd name="connsiteX1761" fmla="*/ 2742972 w 6901213"/>
              <a:gd name="connsiteY1761" fmla="*/ 1689665 h 6851544"/>
              <a:gd name="connsiteX1762" fmla="*/ 2726568 w 6901213"/>
              <a:gd name="connsiteY1762" fmla="*/ 1705994 h 6851544"/>
              <a:gd name="connsiteX1763" fmla="*/ 2742972 w 6901213"/>
              <a:gd name="connsiteY1763" fmla="*/ 1722398 h 6851544"/>
              <a:gd name="connsiteX1764" fmla="*/ 2759377 w 6901213"/>
              <a:gd name="connsiteY1764" fmla="*/ 1705994 h 6851544"/>
              <a:gd name="connsiteX1765" fmla="*/ 2575889 w 6901213"/>
              <a:gd name="connsiteY1765" fmla="*/ 1688450 h 6851544"/>
              <a:gd name="connsiteX1766" fmla="*/ 2561231 w 6901213"/>
              <a:gd name="connsiteY1766" fmla="*/ 1673793 h 6851544"/>
              <a:gd name="connsiteX1767" fmla="*/ 2546574 w 6901213"/>
              <a:gd name="connsiteY1767" fmla="*/ 1688450 h 6851544"/>
              <a:gd name="connsiteX1768" fmla="*/ 2561231 w 6901213"/>
              <a:gd name="connsiteY1768" fmla="*/ 1703108 h 6851544"/>
              <a:gd name="connsiteX1769" fmla="*/ 2575889 w 6901213"/>
              <a:gd name="connsiteY1769" fmla="*/ 1688450 h 6851544"/>
              <a:gd name="connsiteX1770" fmla="*/ 2392174 w 6901213"/>
              <a:gd name="connsiteY1770" fmla="*/ 1682602 h 6851544"/>
              <a:gd name="connsiteX1771" fmla="*/ 2378655 w 6901213"/>
              <a:gd name="connsiteY1771" fmla="*/ 1669084 h 6851544"/>
              <a:gd name="connsiteX1772" fmla="*/ 2365137 w 6901213"/>
              <a:gd name="connsiteY1772" fmla="*/ 1682602 h 6851544"/>
              <a:gd name="connsiteX1773" fmla="*/ 2378655 w 6901213"/>
              <a:gd name="connsiteY1773" fmla="*/ 1696121 h 6851544"/>
              <a:gd name="connsiteX1774" fmla="*/ 2392174 w 6901213"/>
              <a:gd name="connsiteY1774" fmla="*/ 1682602 h 6851544"/>
              <a:gd name="connsiteX1775" fmla="*/ 2207927 w 6901213"/>
              <a:gd name="connsiteY1775" fmla="*/ 1688450 h 6851544"/>
              <a:gd name="connsiteX1776" fmla="*/ 2196079 w 6901213"/>
              <a:gd name="connsiteY1776" fmla="*/ 1676603 h 6851544"/>
              <a:gd name="connsiteX1777" fmla="*/ 2184231 w 6901213"/>
              <a:gd name="connsiteY1777" fmla="*/ 1688450 h 6851544"/>
              <a:gd name="connsiteX1778" fmla="*/ 2196079 w 6901213"/>
              <a:gd name="connsiteY1778" fmla="*/ 1700298 h 6851544"/>
              <a:gd name="connsiteX1779" fmla="*/ 2207927 w 6901213"/>
              <a:gd name="connsiteY1779" fmla="*/ 1688450 h 6851544"/>
              <a:gd name="connsiteX1780" fmla="*/ 2024439 w 6901213"/>
              <a:gd name="connsiteY1780" fmla="*/ 1705994 h 6851544"/>
              <a:gd name="connsiteX1781" fmla="*/ 2014262 w 6901213"/>
              <a:gd name="connsiteY1781" fmla="*/ 1695817 h 6851544"/>
              <a:gd name="connsiteX1782" fmla="*/ 2004085 w 6901213"/>
              <a:gd name="connsiteY1782" fmla="*/ 1705994 h 6851544"/>
              <a:gd name="connsiteX1783" fmla="*/ 2014262 w 6901213"/>
              <a:gd name="connsiteY1783" fmla="*/ 1716171 h 6851544"/>
              <a:gd name="connsiteX1784" fmla="*/ 2024439 w 6901213"/>
              <a:gd name="connsiteY1784" fmla="*/ 1705994 h 6851544"/>
              <a:gd name="connsiteX1785" fmla="*/ 1843002 w 6901213"/>
              <a:gd name="connsiteY1785" fmla="*/ 1735158 h 6851544"/>
              <a:gd name="connsiteX1786" fmla="*/ 1833964 w 6901213"/>
              <a:gd name="connsiteY1786" fmla="*/ 1726120 h 6851544"/>
              <a:gd name="connsiteX1787" fmla="*/ 1824927 w 6901213"/>
              <a:gd name="connsiteY1787" fmla="*/ 1735158 h 6851544"/>
              <a:gd name="connsiteX1788" fmla="*/ 1833964 w 6901213"/>
              <a:gd name="connsiteY1788" fmla="*/ 1744195 h 6851544"/>
              <a:gd name="connsiteX1789" fmla="*/ 1843002 w 6901213"/>
              <a:gd name="connsiteY1789" fmla="*/ 1735158 h 6851544"/>
              <a:gd name="connsiteX1790" fmla="*/ 1663236 w 6901213"/>
              <a:gd name="connsiteY1790" fmla="*/ 1775789 h 6851544"/>
              <a:gd name="connsiteX1791" fmla="*/ 1655869 w 6901213"/>
              <a:gd name="connsiteY1791" fmla="*/ 1768422 h 6851544"/>
              <a:gd name="connsiteX1792" fmla="*/ 1648502 w 6901213"/>
              <a:gd name="connsiteY1792" fmla="*/ 1775789 h 6851544"/>
              <a:gd name="connsiteX1793" fmla="*/ 1655869 w 6901213"/>
              <a:gd name="connsiteY1793" fmla="*/ 1783156 h 6851544"/>
              <a:gd name="connsiteX1794" fmla="*/ 1663236 w 6901213"/>
              <a:gd name="connsiteY1794" fmla="*/ 1775789 h 6851544"/>
              <a:gd name="connsiteX1795" fmla="*/ 1487039 w 6901213"/>
              <a:gd name="connsiteY1795" fmla="*/ 1827737 h 6851544"/>
              <a:gd name="connsiteX1796" fmla="*/ 1480812 w 6901213"/>
              <a:gd name="connsiteY1796" fmla="*/ 1821509 h 6851544"/>
              <a:gd name="connsiteX1797" fmla="*/ 1474584 w 6901213"/>
              <a:gd name="connsiteY1797" fmla="*/ 1827737 h 6851544"/>
              <a:gd name="connsiteX1798" fmla="*/ 1480812 w 6901213"/>
              <a:gd name="connsiteY1798" fmla="*/ 1833964 h 6851544"/>
              <a:gd name="connsiteX1799" fmla="*/ 1487039 w 6901213"/>
              <a:gd name="connsiteY1799" fmla="*/ 1827737 h 6851544"/>
              <a:gd name="connsiteX1800" fmla="*/ 1314488 w 6901213"/>
              <a:gd name="connsiteY1800" fmla="*/ 1890849 h 6851544"/>
              <a:gd name="connsiteX1801" fmla="*/ 1309400 w 6901213"/>
              <a:gd name="connsiteY1801" fmla="*/ 1885760 h 6851544"/>
              <a:gd name="connsiteX1802" fmla="*/ 1304311 w 6901213"/>
              <a:gd name="connsiteY1802" fmla="*/ 1890849 h 6851544"/>
              <a:gd name="connsiteX1803" fmla="*/ 1309400 w 6901213"/>
              <a:gd name="connsiteY1803" fmla="*/ 1895937 h 6851544"/>
              <a:gd name="connsiteX1804" fmla="*/ 1314488 w 6901213"/>
              <a:gd name="connsiteY1804" fmla="*/ 1890849 h 6851544"/>
              <a:gd name="connsiteX1805" fmla="*/ 1146342 w 6901213"/>
              <a:gd name="connsiteY1805" fmla="*/ 1964745 h 6851544"/>
              <a:gd name="connsiteX1806" fmla="*/ 1142392 w 6901213"/>
              <a:gd name="connsiteY1806" fmla="*/ 1960796 h 6851544"/>
              <a:gd name="connsiteX1807" fmla="*/ 1138443 w 6901213"/>
              <a:gd name="connsiteY1807" fmla="*/ 1964745 h 6851544"/>
              <a:gd name="connsiteX1808" fmla="*/ 1142392 w 6901213"/>
              <a:gd name="connsiteY1808" fmla="*/ 1968694 h 6851544"/>
              <a:gd name="connsiteX1809" fmla="*/ 1146342 w 6901213"/>
              <a:gd name="connsiteY1809" fmla="*/ 1964745 h 6851544"/>
              <a:gd name="connsiteX1810" fmla="*/ 983284 w 6901213"/>
              <a:gd name="connsiteY1810" fmla="*/ 2049198 h 6851544"/>
              <a:gd name="connsiteX1811" fmla="*/ 980474 w 6901213"/>
              <a:gd name="connsiteY1811" fmla="*/ 2046388 h 6851544"/>
              <a:gd name="connsiteX1812" fmla="*/ 977664 w 6901213"/>
              <a:gd name="connsiteY1812" fmla="*/ 2049198 h 6851544"/>
              <a:gd name="connsiteX1813" fmla="*/ 980474 w 6901213"/>
              <a:gd name="connsiteY1813" fmla="*/ 2052008 h 6851544"/>
              <a:gd name="connsiteX1814" fmla="*/ 983284 w 6901213"/>
              <a:gd name="connsiteY1814" fmla="*/ 2049198 h 6851544"/>
              <a:gd name="connsiteX1815" fmla="*/ 825922 w 6901213"/>
              <a:gd name="connsiteY1815" fmla="*/ 2143904 h 6851544"/>
              <a:gd name="connsiteX1816" fmla="*/ 824251 w 6901213"/>
              <a:gd name="connsiteY1816" fmla="*/ 2142233 h 6851544"/>
              <a:gd name="connsiteX1817" fmla="*/ 822580 w 6901213"/>
              <a:gd name="connsiteY1817" fmla="*/ 2143904 h 6851544"/>
              <a:gd name="connsiteX1818" fmla="*/ 824251 w 6901213"/>
              <a:gd name="connsiteY1818" fmla="*/ 2145574 h 6851544"/>
              <a:gd name="connsiteX1819" fmla="*/ 825922 w 6901213"/>
              <a:gd name="connsiteY1819" fmla="*/ 2143904 h 6851544"/>
              <a:gd name="connsiteX1820" fmla="*/ 675547 w 6901213"/>
              <a:gd name="connsiteY1820" fmla="*/ 2248406 h 6851544"/>
              <a:gd name="connsiteX1821" fmla="*/ 674408 w 6901213"/>
              <a:gd name="connsiteY1821" fmla="*/ 2247267 h 6851544"/>
              <a:gd name="connsiteX1822" fmla="*/ 673269 w 6901213"/>
              <a:gd name="connsiteY1822" fmla="*/ 2248406 h 6851544"/>
              <a:gd name="connsiteX1823" fmla="*/ 674408 w 6901213"/>
              <a:gd name="connsiteY1823" fmla="*/ 2249546 h 6851544"/>
              <a:gd name="connsiteX1824" fmla="*/ 675547 w 6901213"/>
              <a:gd name="connsiteY1824" fmla="*/ 2248406 h 6851544"/>
              <a:gd name="connsiteX1825" fmla="*/ 532236 w 6901213"/>
              <a:gd name="connsiteY1825" fmla="*/ 2362327 h 6851544"/>
              <a:gd name="connsiteX1826" fmla="*/ 531704 w 6901213"/>
              <a:gd name="connsiteY1826" fmla="*/ 2361795 h 6851544"/>
              <a:gd name="connsiteX1827" fmla="*/ 531172 w 6901213"/>
              <a:gd name="connsiteY1827" fmla="*/ 2362327 h 6851544"/>
              <a:gd name="connsiteX1828" fmla="*/ 531704 w 6901213"/>
              <a:gd name="connsiteY1828" fmla="*/ 2362858 h 6851544"/>
              <a:gd name="connsiteX1829" fmla="*/ 532236 w 6901213"/>
              <a:gd name="connsiteY1829" fmla="*/ 2362327 h 6851544"/>
              <a:gd name="connsiteX1830" fmla="*/ 396974 w 6901213"/>
              <a:gd name="connsiteY1830" fmla="*/ 2485057 h 6851544"/>
              <a:gd name="connsiteX1831" fmla="*/ 396367 w 6901213"/>
              <a:gd name="connsiteY1831" fmla="*/ 2484525 h 6851544"/>
              <a:gd name="connsiteX1832" fmla="*/ 395835 w 6901213"/>
              <a:gd name="connsiteY1832" fmla="*/ 2485057 h 6851544"/>
              <a:gd name="connsiteX1833" fmla="*/ 396367 w 6901213"/>
              <a:gd name="connsiteY1833" fmla="*/ 2485589 h 6851544"/>
              <a:gd name="connsiteX1834" fmla="*/ 396974 w 6901213"/>
              <a:gd name="connsiteY1834" fmla="*/ 2485057 h 6851544"/>
              <a:gd name="connsiteX1835" fmla="*/ 4647871 w 6901213"/>
              <a:gd name="connsiteY1835" fmla="*/ 6574567 h 6851544"/>
              <a:gd name="connsiteX1836" fmla="*/ 4647339 w 6901213"/>
              <a:gd name="connsiteY1836" fmla="*/ 6574035 h 6851544"/>
              <a:gd name="connsiteX1837" fmla="*/ 4646808 w 6901213"/>
              <a:gd name="connsiteY1837" fmla="*/ 6574567 h 6851544"/>
              <a:gd name="connsiteX1838" fmla="*/ 4647339 w 6901213"/>
              <a:gd name="connsiteY1838" fmla="*/ 6575098 h 6851544"/>
              <a:gd name="connsiteX1839" fmla="*/ 4647871 w 6901213"/>
              <a:gd name="connsiteY1839" fmla="*/ 6574567 h 6851544"/>
              <a:gd name="connsiteX1840" fmla="*/ 4766500 w 6901213"/>
              <a:gd name="connsiteY1840" fmla="*/ 6435280 h 6851544"/>
              <a:gd name="connsiteX1841" fmla="*/ 4765361 w 6901213"/>
              <a:gd name="connsiteY1841" fmla="*/ 6434141 h 6851544"/>
              <a:gd name="connsiteX1842" fmla="*/ 4764222 w 6901213"/>
              <a:gd name="connsiteY1842" fmla="*/ 6435280 h 6851544"/>
              <a:gd name="connsiteX1843" fmla="*/ 4765361 w 6901213"/>
              <a:gd name="connsiteY1843" fmla="*/ 6436419 h 6851544"/>
              <a:gd name="connsiteX1844" fmla="*/ 4766500 w 6901213"/>
              <a:gd name="connsiteY1844" fmla="*/ 6435280 h 6851544"/>
              <a:gd name="connsiteX1845" fmla="*/ 4876623 w 6901213"/>
              <a:gd name="connsiteY1845" fmla="*/ 6289082 h 6851544"/>
              <a:gd name="connsiteX1846" fmla="*/ 4874952 w 6901213"/>
              <a:gd name="connsiteY1846" fmla="*/ 6287412 h 6851544"/>
              <a:gd name="connsiteX1847" fmla="*/ 4873281 w 6901213"/>
              <a:gd name="connsiteY1847" fmla="*/ 6289082 h 6851544"/>
              <a:gd name="connsiteX1848" fmla="*/ 4874952 w 6901213"/>
              <a:gd name="connsiteY1848" fmla="*/ 6290753 h 6851544"/>
              <a:gd name="connsiteX1849" fmla="*/ 4876623 w 6901213"/>
              <a:gd name="connsiteY1849" fmla="*/ 6289082 h 6851544"/>
              <a:gd name="connsiteX1850" fmla="*/ 4978392 w 6901213"/>
              <a:gd name="connsiteY1850" fmla="*/ 6136657 h 6851544"/>
              <a:gd name="connsiteX1851" fmla="*/ 4975582 w 6901213"/>
              <a:gd name="connsiteY1851" fmla="*/ 6133847 h 6851544"/>
              <a:gd name="connsiteX1852" fmla="*/ 4972772 w 6901213"/>
              <a:gd name="connsiteY1852" fmla="*/ 6136657 h 6851544"/>
              <a:gd name="connsiteX1853" fmla="*/ 4975582 w 6901213"/>
              <a:gd name="connsiteY1853" fmla="*/ 6139467 h 6851544"/>
              <a:gd name="connsiteX1854" fmla="*/ 4978392 w 6901213"/>
              <a:gd name="connsiteY1854" fmla="*/ 6136657 h 6851544"/>
              <a:gd name="connsiteX1855" fmla="*/ 5070287 w 6901213"/>
              <a:gd name="connsiteY1855" fmla="*/ 5978460 h 6851544"/>
              <a:gd name="connsiteX1856" fmla="*/ 5066870 w 6901213"/>
              <a:gd name="connsiteY1856" fmla="*/ 5975118 h 6851544"/>
              <a:gd name="connsiteX1857" fmla="*/ 5063452 w 6901213"/>
              <a:gd name="connsiteY1857" fmla="*/ 5978460 h 6851544"/>
              <a:gd name="connsiteX1858" fmla="*/ 5066870 w 6901213"/>
              <a:gd name="connsiteY1858" fmla="*/ 5981878 h 6851544"/>
              <a:gd name="connsiteX1859" fmla="*/ 5070287 w 6901213"/>
              <a:gd name="connsiteY1859" fmla="*/ 5978460 h 6851544"/>
              <a:gd name="connsiteX1860" fmla="*/ 5153146 w 6901213"/>
              <a:gd name="connsiteY1860" fmla="*/ 5815098 h 6851544"/>
              <a:gd name="connsiteX1861" fmla="*/ 5148588 w 6901213"/>
              <a:gd name="connsiteY1861" fmla="*/ 5810617 h 6851544"/>
              <a:gd name="connsiteX1862" fmla="*/ 5144108 w 6901213"/>
              <a:gd name="connsiteY1862" fmla="*/ 5815098 h 6851544"/>
              <a:gd name="connsiteX1863" fmla="*/ 5148588 w 6901213"/>
              <a:gd name="connsiteY1863" fmla="*/ 5819579 h 6851544"/>
              <a:gd name="connsiteX1864" fmla="*/ 5153146 w 6901213"/>
              <a:gd name="connsiteY1864" fmla="*/ 5815098 h 6851544"/>
              <a:gd name="connsiteX1865" fmla="*/ 5226054 w 6901213"/>
              <a:gd name="connsiteY1865" fmla="*/ 5647180 h 6851544"/>
              <a:gd name="connsiteX1866" fmla="*/ 5220434 w 6901213"/>
              <a:gd name="connsiteY1866" fmla="*/ 5641559 h 6851544"/>
              <a:gd name="connsiteX1867" fmla="*/ 5214814 w 6901213"/>
              <a:gd name="connsiteY1867" fmla="*/ 5647180 h 6851544"/>
              <a:gd name="connsiteX1868" fmla="*/ 5220434 w 6901213"/>
              <a:gd name="connsiteY1868" fmla="*/ 5652800 h 6851544"/>
              <a:gd name="connsiteX1869" fmla="*/ 5226054 w 6901213"/>
              <a:gd name="connsiteY1869" fmla="*/ 5647180 h 6851544"/>
              <a:gd name="connsiteX1870" fmla="*/ 5289318 w 6901213"/>
              <a:gd name="connsiteY1870" fmla="*/ 5475236 h 6851544"/>
              <a:gd name="connsiteX1871" fmla="*/ 5281951 w 6901213"/>
              <a:gd name="connsiteY1871" fmla="*/ 5467869 h 6851544"/>
              <a:gd name="connsiteX1872" fmla="*/ 5274584 w 6901213"/>
              <a:gd name="connsiteY1872" fmla="*/ 5475236 h 6851544"/>
              <a:gd name="connsiteX1873" fmla="*/ 5281951 w 6901213"/>
              <a:gd name="connsiteY1873" fmla="*/ 5482603 h 6851544"/>
              <a:gd name="connsiteX1874" fmla="*/ 5289318 w 6901213"/>
              <a:gd name="connsiteY1874" fmla="*/ 5475236 h 6851544"/>
              <a:gd name="connsiteX1875" fmla="*/ 5341721 w 6901213"/>
              <a:gd name="connsiteY1875" fmla="*/ 5299875 h 6851544"/>
              <a:gd name="connsiteX1876" fmla="*/ 5333291 w 6901213"/>
              <a:gd name="connsiteY1876" fmla="*/ 5291445 h 6851544"/>
              <a:gd name="connsiteX1877" fmla="*/ 5324861 w 6901213"/>
              <a:gd name="connsiteY1877" fmla="*/ 5299875 h 6851544"/>
              <a:gd name="connsiteX1878" fmla="*/ 5333291 w 6901213"/>
              <a:gd name="connsiteY1878" fmla="*/ 5308381 h 6851544"/>
              <a:gd name="connsiteX1879" fmla="*/ 5341721 w 6901213"/>
              <a:gd name="connsiteY1879" fmla="*/ 5299875 h 6851544"/>
              <a:gd name="connsiteX1880" fmla="*/ 5384024 w 6901213"/>
              <a:gd name="connsiteY1880" fmla="*/ 5121855 h 6851544"/>
              <a:gd name="connsiteX1881" fmla="*/ 5373847 w 6901213"/>
              <a:gd name="connsiteY1881" fmla="*/ 5111679 h 6851544"/>
              <a:gd name="connsiteX1882" fmla="*/ 5363670 w 6901213"/>
              <a:gd name="connsiteY1882" fmla="*/ 5121855 h 6851544"/>
              <a:gd name="connsiteX1883" fmla="*/ 5373847 w 6901213"/>
              <a:gd name="connsiteY1883" fmla="*/ 5132032 h 6851544"/>
              <a:gd name="connsiteX1884" fmla="*/ 5384024 w 6901213"/>
              <a:gd name="connsiteY1884" fmla="*/ 5121855 h 6851544"/>
              <a:gd name="connsiteX1885" fmla="*/ 5415086 w 6901213"/>
              <a:gd name="connsiteY1885" fmla="*/ 4941634 h 6851544"/>
              <a:gd name="connsiteX1886" fmla="*/ 5403770 w 6901213"/>
              <a:gd name="connsiteY1886" fmla="*/ 4930394 h 6851544"/>
              <a:gd name="connsiteX1887" fmla="*/ 5392454 w 6901213"/>
              <a:gd name="connsiteY1887" fmla="*/ 4941634 h 6851544"/>
              <a:gd name="connsiteX1888" fmla="*/ 5403770 w 6901213"/>
              <a:gd name="connsiteY1888" fmla="*/ 4952950 h 6851544"/>
              <a:gd name="connsiteX1889" fmla="*/ 5415086 w 6901213"/>
              <a:gd name="connsiteY1889" fmla="*/ 4941634 h 6851544"/>
              <a:gd name="connsiteX1890" fmla="*/ 5435896 w 6901213"/>
              <a:gd name="connsiteY1890" fmla="*/ 4759969 h 6851544"/>
              <a:gd name="connsiteX1891" fmla="*/ 5422908 w 6901213"/>
              <a:gd name="connsiteY1891" fmla="*/ 4746982 h 6851544"/>
              <a:gd name="connsiteX1892" fmla="*/ 5409922 w 6901213"/>
              <a:gd name="connsiteY1892" fmla="*/ 4759969 h 6851544"/>
              <a:gd name="connsiteX1893" fmla="*/ 5422908 w 6901213"/>
              <a:gd name="connsiteY1893" fmla="*/ 4772955 h 6851544"/>
              <a:gd name="connsiteX1894" fmla="*/ 5435896 w 6901213"/>
              <a:gd name="connsiteY1894" fmla="*/ 4759969 h 6851544"/>
              <a:gd name="connsiteX1895" fmla="*/ 5445769 w 6901213"/>
              <a:gd name="connsiteY1895" fmla="*/ 4577544 h 6851544"/>
              <a:gd name="connsiteX1896" fmla="*/ 5431111 w 6901213"/>
              <a:gd name="connsiteY1896" fmla="*/ 4562887 h 6851544"/>
              <a:gd name="connsiteX1897" fmla="*/ 5416453 w 6901213"/>
              <a:gd name="connsiteY1897" fmla="*/ 4577544 h 6851544"/>
              <a:gd name="connsiteX1898" fmla="*/ 5431111 w 6901213"/>
              <a:gd name="connsiteY1898" fmla="*/ 4592202 h 6851544"/>
              <a:gd name="connsiteX1899" fmla="*/ 5445769 w 6901213"/>
              <a:gd name="connsiteY1899" fmla="*/ 4577544 h 6851544"/>
              <a:gd name="connsiteX1900" fmla="*/ 5444705 w 6901213"/>
              <a:gd name="connsiteY1900" fmla="*/ 4394892 h 6851544"/>
              <a:gd name="connsiteX1901" fmla="*/ 5428301 w 6901213"/>
              <a:gd name="connsiteY1901" fmla="*/ 4378487 h 6851544"/>
              <a:gd name="connsiteX1902" fmla="*/ 5411897 w 6901213"/>
              <a:gd name="connsiteY1902" fmla="*/ 4394892 h 6851544"/>
              <a:gd name="connsiteX1903" fmla="*/ 5428301 w 6901213"/>
              <a:gd name="connsiteY1903" fmla="*/ 4411221 h 6851544"/>
              <a:gd name="connsiteX1904" fmla="*/ 5444705 w 6901213"/>
              <a:gd name="connsiteY1904" fmla="*/ 4394892 h 6851544"/>
              <a:gd name="connsiteX1905" fmla="*/ 5432782 w 6901213"/>
              <a:gd name="connsiteY1905" fmla="*/ 4212772 h 6851544"/>
              <a:gd name="connsiteX1906" fmla="*/ 5414707 w 6901213"/>
              <a:gd name="connsiteY1906" fmla="*/ 4194696 h 6851544"/>
              <a:gd name="connsiteX1907" fmla="*/ 5396631 w 6901213"/>
              <a:gd name="connsiteY1907" fmla="*/ 4212772 h 6851544"/>
              <a:gd name="connsiteX1908" fmla="*/ 5414707 w 6901213"/>
              <a:gd name="connsiteY1908" fmla="*/ 4230847 h 6851544"/>
              <a:gd name="connsiteX1909" fmla="*/ 5432782 w 6901213"/>
              <a:gd name="connsiteY1909" fmla="*/ 4212772 h 6851544"/>
              <a:gd name="connsiteX1910" fmla="*/ 5409922 w 6901213"/>
              <a:gd name="connsiteY1910" fmla="*/ 4031790 h 6851544"/>
              <a:gd name="connsiteX1911" fmla="*/ 5390175 w 6901213"/>
              <a:gd name="connsiteY1911" fmla="*/ 4012044 h 6851544"/>
              <a:gd name="connsiteX1912" fmla="*/ 5370429 w 6901213"/>
              <a:gd name="connsiteY1912" fmla="*/ 4031790 h 6851544"/>
              <a:gd name="connsiteX1913" fmla="*/ 5390175 w 6901213"/>
              <a:gd name="connsiteY1913" fmla="*/ 4051536 h 6851544"/>
              <a:gd name="connsiteX1914" fmla="*/ 5409922 w 6901213"/>
              <a:gd name="connsiteY1914" fmla="*/ 4031790 h 6851544"/>
              <a:gd name="connsiteX1915" fmla="*/ 5375746 w 6901213"/>
              <a:gd name="connsiteY1915" fmla="*/ 3852556 h 6851544"/>
              <a:gd name="connsiteX1916" fmla="*/ 5354860 w 6901213"/>
              <a:gd name="connsiteY1916" fmla="*/ 3831670 h 6851544"/>
              <a:gd name="connsiteX1917" fmla="*/ 5333975 w 6901213"/>
              <a:gd name="connsiteY1917" fmla="*/ 3852556 h 6851544"/>
              <a:gd name="connsiteX1918" fmla="*/ 5354860 w 6901213"/>
              <a:gd name="connsiteY1918" fmla="*/ 3873441 h 6851544"/>
              <a:gd name="connsiteX1919" fmla="*/ 5375746 w 6901213"/>
              <a:gd name="connsiteY1919" fmla="*/ 3852556 h 6851544"/>
              <a:gd name="connsiteX1920" fmla="*/ 5331469 w 6901213"/>
              <a:gd name="connsiteY1920" fmla="*/ 3675751 h 6851544"/>
              <a:gd name="connsiteX1921" fmla="*/ 5308913 w 6901213"/>
              <a:gd name="connsiteY1921" fmla="*/ 3653195 h 6851544"/>
              <a:gd name="connsiteX1922" fmla="*/ 5286356 w 6901213"/>
              <a:gd name="connsiteY1922" fmla="*/ 3675751 h 6851544"/>
              <a:gd name="connsiteX1923" fmla="*/ 5308913 w 6901213"/>
              <a:gd name="connsiteY1923" fmla="*/ 3698308 h 6851544"/>
              <a:gd name="connsiteX1924" fmla="*/ 5331469 w 6901213"/>
              <a:gd name="connsiteY1924" fmla="*/ 3675751 h 6851544"/>
              <a:gd name="connsiteX1925" fmla="*/ 5276179 w 6901213"/>
              <a:gd name="connsiteY1925" fmla="*/ 3502061 h 6851544"/>
              <a:gd name="connsiteX1926" fmla="*/ 5252484 w 6901213"/>
              <a:gd name="connsiteY1926" fmla="*/ 3478366 h 6851544"/>
              <a:gd name="connsiteX1927" fmla="*/ 5228788 w 6901213"/>
              <a:gd name="connsiteY1927" fmla="*/ 3502061 h 6851544"/>
              <a:gd name="connsiteX1928" fmla="*/ 5252484 w 6901213"/>
              <a:gd name="connsiteY1928" fmla="*/ 3525756 h 6851544"/>
              <a:gd name="connsiteX1929" fmla="*/ 5276179 w 6901213"/>
              <a:gd name="connsiteY1929" fmla="*/ 3502061 h 6851544"/>
              <a:gd name="connsiteX1930" fmla="*/ 5210561 w 6901213"/>
              <a:gd name="connsiteY1930" fmla="*/ 3332016 h 6851544"/>
              <a:gd name="connsiteX1931" fmla="*/ 5185727 w 6901213"/>
              <a:gd name="connsiteY1931" fmla="*/ 3307181 h 6851544"/>
              <a:gd name="connsiteX1932" fmla="*/ 5160892 w 6901213"/>
              <a:gd name="connsiteY1932" fmla="*/ 3332016 h 6851544"/>
              <a:gd name="connsiteX1933" fmla="*/ 5185727 w 6901213"/>
              <a:gd name="connsiteY1933" fmla="*/ 3356851 h 6851544"/>
              <a:gd name="connsiteX1934" fmla="*/ 5210561 w 6901213"/>
              <a:gd name="connsiteY1934" fmla="*/ 3332016 h 6851544"/>
              <a:gd name="connsiteX1935" fmla="*/ 5134918 w 6901213"/>
              <a:gd name="connsiteY1935" fmla="*/ 3166300 h 6851544"/>
              <a:gd name="connsiteX1936" fmla="*/ 5108944 w 6901213"/>
              <a:gd name="connsiteY1936" fmla="*/ 3140326 h 6851544"/>
              <a:gd name="connsiteX1937" fmla="*/ 5082971 w 6901213"/>
              <a:gd name="connsiteY1937" fmla="*/ 3166300 h 6851544"/>
              <a:gd name="connsiteX1938" fmla="*/ 5108944 w 6901213"/>
              <a:gd name="connsiteY1938" fmla="*/ 3192274 h 6851544"/>
              <a:gd name="connsiteX1939" fmla="*/ 5134918 w 6901213"/>
              <a:gd name="connsiteY1939" fmla="*/ 3166300 h 6851544"/>
              <a:gd name="connsiteX1940" fmla="*/ 5049554 w 6901213"/>
              <a:gd name="connsiteY1940" fmla="*/ 3005445 h 6851544"/>
              <a:gd name="connsiteX1941" fmla="*/ 5022441 w 6901213"/>
              <a:gd name="connsiteY1941" fmla="*/ 2978331 h 6851544"/>
              <a:gd name="connsiteX1942" fmla="*/ 4995328 w 6901213"/>
              <a:gd name="connsiteY1942" fmla="*/ 3005445 h 6851544"/>
              <a:gd name="connsiteX1943" fmla="*/ 5022441 w 6901213"/>
              <a:gd name="connsiteY1943" fmla="*/ 3032558 h 6851544"/>
              <a:gd name="connsiteX1944" fmla="*/ 5049554 w 6901213"/>
              <a:gd name="connsiteY1944" fmla="*/ 3005445 h 6851544"/>
              <a:gd name="connsiteX1945" fmla="*/ 4954089 w 6901213"/>
              <a:gd name="connsiteY1945" fmla="*/ 2850057 h 6851544"/>
              <a:gd name="connsiteX1946" fmla="*/ 4926444 w 6901213"/>
              <a:gd name="connsiteY1946" fmla="*/ 2822413 h 6851544"/>
              <a:gd name="connsiteX1947" fmla="*/ 4898800 w 6901213"/>
              <a:gd name="connsiteY1947" fmla="*/ 2850057 h 6851544"/>
              <a:gd name="connsiteX1948" fmla="*/ 4926444 w 6901213"/>
              <a:gd name="connsiteY1948" fmla="*/ 2877702 h 6851544"/>
              <a:gd name="connsiteX1949" fmla="*/ 4954089 w 6901213"/>
              <a:gd name="connsiteY1949" fmla="*/ 2850057 h 6851544"/>
              <a:gd name="connsiteX1950" fmla="*/ 4849510 w 6901213"/>
              <a:gd name="connsiteY1950" fmla="*/ 2700746 h 6851544"/>
              <a:gd name="connsiteX1951" fmla="*/ 4821258 w 6901213"/>
              <a:gd name="connsiteY1951" fmla="*/ 2672494 h 6851544"/>
              <a:gd name="connsiteX1952" fmla="*/ 4793081 w 6901213"/>
              <a:gd name="connsiteY1952" fmla="*/ 2700746 h 6851544"/>
              <a:gd name="connsiteX1953" fmla="*/ 4821258 w 6901213"/>
              <a:gd name="connsiteY1953" fmla="*/ 2728998 h 6851544"/>
              <a:gd name="connsiteX1954" fmla="*/ 4849510 w 6901213"/>
              <a:gd name="connsiteY1954" fmla="*/ 2700746 h 6851544"/>
              <a:gd name="connsiteX1955" fmla="*/ 4735590 w 6901213"/>
              <a:gd name="connsiteY1955" fmla="*/ 2557890 h 6851544"/>
              <a:gd name="connsiteX1956" fmla="*/ 4707338 w 6901213"/>
              <a:gd name="connsiteY1956" fmla="*/ 2529638 h 6851544"/>
              <a:gd name="connsiteX1957" fmla="*/ 4679161 w 6901213"/>
              <a:gd name="connsiteY1957" fmla="*/ 2557890 h 6851544"/>
              <a:gd name="connsiteX1958" fmla="*/ 4707338 w 6901213"/>
              <a:gd name="connsiteY1958" fmla="*/ 2586142 h 6851544"/>
              <a:gd name="connsiteX1959" fmla="*/ 4735590 w 6901213"/>
              <a:gd name="connsiteY1959" fmla="*/ 2557890 h 6851544"/>
              <a:gd name="connsiteX1960" fmla="*/ 4613923 w 6901213"/>
              <a:gd name="connsiteY1960" fmla="*/ 2422173 h 6851544"/>
              <a:gd name="connsiteX1961" fmla="*/ 4585139 w 6901213"/>
              <a:gd name="connsiteY1961" fmla="*/ 2393389 h 6851544"/>
              <a:gd name="connsiteX1962" fmla="*/ 4556355 w 6901213"/>
              <a:gd name="connsiteY1962" fmla="*/ 2422173 h 6851544"/>
              <a:gd name="connsiteX1963" fmla="*/ 4585139 w 6901213"/>
              <a:gd name="connsiteY1963" fmla="*/ 2450957 h 6851544"/>
              <a:gd name="connsiteX1964" fmla="*/ 4613923 w 6901213"/>
              <a:gd name="connsiteY1964" fmla="*/ 2422173 h 6851544"/>
              <a:gd name="connsiteX1965" fmla="*/ 4483826 w 6901213"/>
              <a:gd name="connsiteY1965" fmla="*/ 2293975 h 6851544"/>
              <a:gd name="connsiteX1966" fmla="*/ 4455042 w 6901213"/>
              <a:gd name="connsiteY1966" fmla="*/ 2265191 h 6851544"/>
              <a:gd name="connsiteX1967" fmla="*/ 4426258 w 6901213"/>
              <a:gd name="connsiteY1967" fmla="*/ 2293975 h 6851544"/>
              <a:gd name="connsiteX1968" fmla="*/ 4455042 w 6901213"/>
              <a:gd name="connsiteY1968" fmla="*/ 2322758 h 6851544"/>
              <a:gd name="connsiteX1969" fmla="*/ 4483826 w 6901213"/>
              <a:gd name="connsiteY1969" fmla="*/ 2293975 h 6851544"/>
              <a:gd name="connsiteX1970" fmla="*/ 4345755 w 6901213"/>
              <a:gd name="connsiteY1970" fmla="*/ 2173827 h 6851544"/>
              <a:gd name="connsiteX1971" fmla="*/ 4317502 w 6901213"/>
              <a:gd name="connsiteY1971" fmla="*/ 2145650 h 6851544"/>
              <a:gd name="connsiteX1972" fmla="*/ 4289250 w 6901213"/>
              <a:gd name="connsiteY1972" fmla="*/ 2173827 h 6851544"/>
              <a:gd name="connsiteX1973" fmla="*/ 4317502 w 6901213"/>
              <a:gd name="connsiteY1973" fmla="*/ 2202079 h 6851544"/>
              <a:gd name="connsiteX1974" fmla="*/ 4345755 w 6901213"/>
              <a:gd name="connsiteY1974" fmla="*/ 2173827 h 6851544"/>
              <a:gd name="connsiteX1975" fmla="*/ 4201228 w 6901213"/>
              <a:gd name="connsiteY1975" fmla="*/ 2062109 h 6851544"/>
              <a:gd name="connsiteX1976" fmla="*/ 4172976 w 6901213"/>
              <a:gd name="connsiteY1976" fmla="*/ 2033933 h 6851544"/>
              <a:gd name="connsiteX1977" fmla="*/ 4144723 w 6901213"/>
              <a:gd name="connsiteY1977" fmla="*/ 2062109 h 6851544"/>
              <a:gd name="connsiteX1978" fmla="*/ 4172976 w 6901213"/>
              <a:gd name="connsiteY1978" fmla="*/ 2090361 h 6851544"/>
              <a:gd name="connsiteX1979" fmla="*/ 4201228 w 6901213"/>
              <a:gd name="connsiteY1979" fmla="*/ 2062109 h 6851544"/>
              <a:gd name="connsiteX1980" fmla="*/ 4049789 w 6901213"/>
              <a:gd name="connsiteY1980" fmla="*/ 1959201 h 6851544"/>
              <a:gd name="connsiteX1981" fmla="*/ 4022145 w 6901213"/>
              <a:gd name="connsiteY1981" fmla="*/ 1931556 h 6851544"/>
              <a:gd name="connsiteX1982" fmla="*/ 3994500 w 6901213"/>
              <a:gd name="connsiteY1982" fmla="*/ 1959201 h 6851544"/>
              <a:gd name="connsiteX1983" fmla="*/ 4022145 w 6901213"/>
              <a:gd name="connsiteY1983" fmla="*/ 1986845 h 6851544"/>
              <a:gd name="connsiteX1984" fmla="*/ 4049789 w 6901213"/>
              <a:gd name="connsiteY1984" fmla="*/ 1959201 h 6851544"/>
              <a:gd name="connsiteX1985" fmla="*/ 3891820 w 6901213"/>
              <a:gd name="connsiteY1985" fmla="*/ 1865482 h 6851544"/>
              <a:gd name="connsiteX1986" fmla="*/ 3865315 w 6901213"/>
              <a:gd name="connsiteY1986" fmla="*/ 1838977 h 6851544"/>
              <a:gd name="connsiteX1987" fmla="*/ 3838809 w 6901213"/>
              <a:gd name="connsiteY1987" fmla="*/ 1865482 h 6851544"/>
              <a:gd name="connsiteX1988" fmla="*/ 3865315 w 6901213"/>
              <a:gd name="connsiteY1988" fmla="*/ 1891988 h 6851544"/>
              <a:gd name="connsiteX1989" fmla="*/ 3891820 w 6901213"/>
              <a:gd name="connsiteY1989" fmla="*/ 1865482 h 6851544"/>
              <a:gd name="connsiteX1990" fmla="*/ 3729142 w 6901213"/>
              <a:gd name="connsiteY1990" fmla="*/ 1781409 h 6851544"/>
              <a:gd name="connsiteX1991" fmla="*/ 3703168 w 6901213"/>
              <a:gd name="connsiteY1991" fmla="*/ 1755435 h 6851544"/>
              <a:gd name="connsiteX1992" fmla="*/ 3677194 w 6901213"/>
              <a:gd name="connsiteY1992" fmla="*/ 1781409 h 6851544"/>
              <a:gd name="connsiteX1993" fmla="*/ 3703168 w 6901213"/>
              <a:gd name="connsiteY1993" fmla="*/ 1807383 h 6851544"/>
              <a:gd name="connsiteX1994" fmla="*/ 3729142 w 6901213"/>
              <a:gd name="connsiteY1994" fmla="*/ 1781409 h 6851544"/>
              <a:gd name="connsiteX1995" fmla="*/ 3561148 w 6901213"/>
              <a:gd name="connsiteY1995" fmla="*/ 1707057 h 6851544"/>
              <a:gd name="connsiteX1996" fmla="*/ 3536313 w 6901213"/>
              <a:gd name="connsiteY1996" fmla="*/ 1682223 h 6851544"/>
              <a:gd name="connsiteX1997" fmla="*/ 3511478 w 6901213"/>
              <a:gd name="connsiteY1997" fmla="*/ 1707057 h 6851544"/>
              <a:gd name="connsiteX1998" fmla="*/ 3536313 w 6901213"/>
              <a:gd name="connsiteY1998" fmla="*/ 1731892 h 6851544"/>
              <a:gd name="connsiteX1999" fmla="*/ 3561148 w 6901213"/>
              <a:gd name="connsiteY1999" fmla="*/ 1707057 h 6851544"/>
              <a:gd name="connsiteX2000" fmla="*/ 3389052 w 6901213"/>
              <a:gd name="connsiteY2000" fmla="*/ 1642882 h 6851544"/>
              <a:gd name="connsiteX2001" fmla="*/ 3365357 w 6901213"/>
              <a:gd name="connsiteY2001" fmla="*/ 1619187 h 6851544"/>
              <a:gd name="connsiteX2002" fmla="*/ 3341661 w 6901213"/>
              <a:gd name="connsiteY2002" fmla="*/ 1642882 h 6851544"/>
              <a:gd name="connsiteX2003" fmla="*/ 3365357 w 6901213"/>
              <a:gd name="connsiteY2003" fmla="*/ 1666578 h 6851544"/>
              <a:gd name="connsiteX2004" fmla="*/ 3389052 w 6901213"/>
              <a:gd name="connsiteY2004" fmla="*/ 1642882 h 6851544"/>
              <a:gd name="connsiteX2005" fmla="*/ 3212779 w 6901213"/>
              <a:gd name="connsiteY2005" fmla="*/ 1589112 h 6851544"/>
              <a:gd name="connsiteX2006" fmla="*/ 3190755 w 6901213"/>
              <a:gd name="connsiteY2006" fmla="*/ 1567087 h 6851544"/>
              <a:gd name="connsiteX2007" fmla="*/ 3168730 w 6901213"/>
              <a:gd name="connsiteY2007" fmla="*/ 1589112 h 6851544"/>
              <a:gd name="connsiteX2008" fmla="*/ 3190755 w 6901213"/>
              <a:gd name="connsiteY2008" fmla="*/ 1611136 h 6851544"/>
              <a:gd name="connsiteX2009" fmla="*/ 3212779 w 6901213"/>
              <a:gd name="connsiteY2009" fmla="*/ 1589112 h 6851544"/>
              <a:gd name="connsiteX2010" fmla="*/ 3034228 w 6901213"/>
              <a:gd name="connsiteY2010" fmla="*/ 1545746 h 6851544"/>
              <a:gd name="connsiteX2011" fmla="*/ 3013343 w 6901213"/>
              <a:gd name="connsiteY2011" fmla="*/ 1524861 h 6851544"/>
              <a:gd name="connsiteX2012" fmla="*/ 2992458 w 6901213"/>
              <a:gd name="connsiteY2012" fmla="*/ 1545746 h 6851544"/>
              <a:gd name="connsiteX2013" fmla="*/ 3013343 w 6901213"/>
              <a:gd name="connsiteY2013" fmla="*/ 1566632 h 6851544"/>
              <a:gd name="connsiteX2014" fmla="*/ 3034228 w 6901213"/>
              <a:gd name="connsiteY2014" fmla="*/ 1545746 h 6851544"/>
              <a:gd name="connsiteX2015" fmla="*/ 2852791 w 6901213"/>
              <a:gd name="connsiteY2015" fmla="*/ 1513165 h 6851544"/>
              <a:gd name="connsiteX2016" fmla="*/ 2833577 w 6901213"/>
              <a:gd name="connsiteY2016" fmla="*/ 1493950 h 6851544"/>
              <a:gd name="connsiteX2017" fmla="*/ 2814362 w 6901213"/>
              <a:gd name="connsiteY2017" fmla="*/ 1513165 h 6851544"/>
              <a:gd name="connsiteX2018" fmla="*/ 2833577 w 6901213"/>
              <a:gd name="connsiteY2018" fmla="*/ 1532380 h 6851544"/>
              <a:gd name="connsiteX2019" fmla="*/ 2852791 w 6901213"/>
              <a:gd name="connsiteY2019" fmla="*/ 1513165 h 6851544"/>
              <a:gd name="connsiteX2020" fmla="*/ 2669759 w 6901213"/>
              <a:gd name="connsiteY2020" fmla="*/ 1491368 h 6851544"/>
              <a:gd name="connsiteX2021" fmla="*/ 2652292 w 6901213"/>
              <a:gd name="connsiteY2021" fmla="*/ 1473901 h 6851544"/>
              <a:gd name="connsiteX2022" fmla="*/ 2634824 w 6901213"/>
              <a:gd name="connsiteY2022" fmla="*/ 1491368 h 6851544"/>
              <a:gd name="connsiteX2023" fmla="*/ 2652292 w 6901213"/>
              <a:gd name="connsiteY2023" fmla="*/ 1508836 h 6851544"/>
              <a:gd name="connsiteX2024" fmla="*/ 2669759 w 6901213"/>
              <a:gd name="connsiteY2024" fmla="*/ 1491368 h 6851544"/>
              <a:gd name="connsiteX2025" fmla="*/ 2485740 w 6901213"/>
              <a:gd name="connsiteY2025" fmla="*/ 1480432 h 6851544"/>
              <a:gd name="connsiteX2026" fmla="*/ 2469943 w 6901213"/>
              <a:gd name="connsiteY2026" fmla="*/ 1464635 h 6851544"/>
              <a:gd name="connsiteX2027" fmla="*/ 2454147 w 6901213"/>
              <a:gd name="connsiteY2027" fmla="*/ 1480432 h 6851544"/>
              <a:gd name="connsiteX2028" fmla="*/ 2469943 w 6901213"/>
              <a:gd name="connsiteY2028" fmla="*/ 1496229 h 6851544"/>
              <a:gd name="connsiteX2029" fmla="*/ 2485740 w 6901213"/>
              <a:gd name="connsiteY2029" fmla="*/ 1480432 h 6851544"/>
              <a:gd name="connsiteX2030" fmla="*/ 2301949 w 6901213"/>
              <a:gd name="connsiteY2030" fmla="*/ 1480432 h 6851544"/>
              <a:gd name="connsiteX2031" fmla="*/ 2287291 w 6901213"/>
              <a:gd name="connsiteY2031" fmla="*/ 1465774 h 6851544"/>
              <a:gd name="connsiteX2032" fmla="*/ 2272633 w 6901213"/>
              <a:gd name="connsiteY2032" fmla="*/ 1480432 h 6851544"/>
              <a:gd name="connsiteX2033" fmla="*/ 2287291 w 6901213"/>
              <a:gd name="connsiteY2033" fmla="*/ 1495090 h 6851544"/>
              <a:gd name="connsiteX2034" fmla="*/ 2301949 w 6901213"/>
              <a:gd name="connsiteY2034" fmla="*/ 1480432 h 6851544"/>
              <a:gd name="connsiteX2035" fmla="*/ 2117930 w 6901213"/>
              <a:gd name="connsiteY2035" fmla="*/ 1491368 h 6851544"/>
              <a:gd name="connsiteX2036" fmla="*/ 2104943 w 6901213"/>
              <a:gd name="connsiteY2036" fmla="*/ 1478381 h 6851544"/>
              <a:gd name="connsiteX2037" fmla="*/ 2091956 w 6901213"/>
              <a:gd name="connsiteY2037" fmla="*/ 1491368 h 6851544"/>
              <a:gd name="connsiteX2038" fmla="*/ 2104943 w 6901213"/>
              <a:gd name="connsiteY2038" fmla="*/ 1504355 h 6851544"/>
              <a:gd name="connsiteX2039" fmla="*/ 2117930 w 6901213"/>
              <a:gd name="connsiteY2039" fmla="*/ 1491368 h 6851544"/>
              <a:gd name="connsiteX2040" fmla="*/ 1934898 w 6901213"/>
              <a:gd name="connsiteY2040" fmla="*/ 1513165 h 6851544"/>
              <a:gd name="connsiteX2041" fmla="*/ 1923582 w 6901213"/>
              <a:gd name="connsiteY2041" fmla="*/ 1501849 h 6851544"/>
              <a:gd name="connsiteX2042" fmla="*/ 1912266 w 6901213"/>
              <a:gd name="connsiteY2042" fmla="*/ 1513165 h 6851544"/>
              <a:gd name="connsiteX2043" fmla="*/ 1923582 w 6901213"/>
              <a:gd name="connsiteY2043" fmla="*/ 1524481 h 6851544"/>
              <a:gd name="connsiteX2044" fmla="*/ 1934898 w 6901213"/>
              <a:gd name="connsiteY2044" fmla="*/ 1513165 h 6851544"/>
              <a:gd name="connsiteX2045" fmla="*/ 1753537 w 6901213"/>
              <a:gd name="connsiteY2045" fmla="*/ 1545746 h 6851544"/>
              <a:gd name="connsiteX2046" fmla="*/ 1743967 w 6901213"/>
              <a:gd name="connsiteY2046" fmla="*/ 1536177 h 6851544"/>
              <a:gd name="connsiteX2047" fmla="*/ 1734398 w 6901213"/>
              <a:gd name="connsiteY2047" fmla="*/ 1545746 h 6851544"/>
              <a:gd name="connsiteX2048" fmla="*/ 1743967 w 6901213"/>
              <a:gd name="connsiteY2048" fmla="*/ 1555315 h 6851544"/>
              <a:gd name="connsiteX2049" fmla="*/ 1753537 w 6901213"/>
              <a:gd name="connsiteY2049" fmla="*/ 1545746 h 6851544"/>
              <a:gd name="connsiteX2050" fmla="*/ 1574378 w 6901213"/>
              <a:gd name="connsiteY2050" fmla="*/ 1589112 h 6851544"/>
              <a:gd name="connsiteX2051" fmla="*/ 1566480 w 6901213"/>
              <a:gd name="connsiteY2051" fmla="*/ 1581213 h 6851544"/>
              <a:gd name="connsiteX2052" fmla="*/ 1558581 w 6901213"/>
              <a:gd name="connsiteY2052" fmla="*/ 1589112 h 6851544"/>
              <a:gd name="connsiteX2053" fmla="*/ 1566480 w 6901213"/>
              <a:gd name="connsiteY2053" fmla="*/ 1597010 h 6851544"/>
              <a:gd name="connsiteX2054" fmla="*/ 1574378 w 6901213"/>
              <a:gd name="connsiteY2054" fmla="*/ 1589112 h 6851544"/>
              <a:gd name="connsiteX2055" fmla="*/ 1398713 w 6901213"/>
              <a:gd name="connsiteY2055" fmla="*/ 1642882 h 6851544"/>
              <a:gd name="connsiteX2056" fmla="*/ 1391954 w 6901213"/>
              <a:gd name="connsiteY2056" fmla="*/ 1636123 h 6851544"/>
              <a:gd name="connsiteX2057" fmla="*/ 1385195 w 6901213"/>
              <a:gd name="connsiteY2057" fmla="*/ 1642882 h 6851544"/>
              <a:gd name="connsiteX2058" fmla="*/ 1391954 w 6901213"/>
              <a:gd name="connsiteY2058" fmla="*/ 1649642 h 6851544"/>
              <a:gd name="connsiteX2059" fmla="*/ 1398713 w 6901213"/>
              <a:gd name="connsiteY2059" fmla="*/ 1642882 h 6851544"/>
              <a:gd name="connsiteX2060" fmla="*/ 1226542 w 6901213"/>
              <a:gd name="connsiteY2060" fmla="*/ 1707057 h 6851544"/>
              <a:gd name="connsiteX2061" fmla="*/ 1220921 w 6901213"/>
              <a:gd name="connsiteY2061" fmla="*/ 1701437 h 6851544"/>
              <a:gd name="connsiteX2062" fmla="*/ 1215301 w 6901213"/>
              <a:gd name="connsiteY2062" fmla="*/ 1707057 h 6851544"/>
              <a:gd name="connsiteX2063" fmla="*/ 1220921 w 6901213"/>
              <a:gd name="connsiteY2063" fmla="*/ 1712677 h 6851544"/>
              <a:gd name="connsiteX2064" fmla="*/ 1226542 w 6901213"/>
              <a:gd name="connsiteY2064" fmla="*/ 1707057 h 6851544"/>
              <a:gd name="connsiteX2065" fmla="*/ 1058547 w 6901213"/>
              <a:gd name="connsiteY2065" fmla="*/ 1781409 h 6851544"/>
              <a:gd name="connsiteX2066" fmla="*/ 1054066 w 6901213"/>
              <a:gd name="connsiteY2066" fmla="*/ 1776928 h 6851544"/>
              <a:gd name="connsiteX2067" fmla="*/ 1049585 w 6901213"/>
              <a:gd name="connsiteY2067" fmla="*/ 1781409 h 6851544"/>
              <a:gd name="connsiteX2068" fmla="*/ 1054066 w 6901213"/>
              <a:gd name="connsiteY2068" fmla="*/ 1785966 h 6851544"/>
              <a:gd name="connsiteX2069" fmla="*/ 1058547 w 6901213"/>
              <a:gd name="connsiteY2069" fmla="*/ 1781409 h 6851544"/>
              <a:gd name="connsiteX2070" fmla="*/ 895337 w 6901213"/>
              <a:gd name="connsiteY2070" fmla="*/ 1865482 h 6851544"/>
              <a:gd name="connsiteX2071" fmla="*/ 891920 w 6901213"/>
              <a:gd name="connsiteY2071" fmla="*/ 1862065 h 6851544"/>
              <a:gd name="connsiteX2072" fmla="*/ 888502 w 6901213"/>
              <a:gd name="connsiteY2072" fmla="*/ 1865482 h 6851544"/>
              <a:gd name="connsiteX2073" fmla="*/ 891920 w 6901213"/>
              <a:gd name="connsiteY2073" fmla="*/ 1868900 h 6851544"/>
              <a:gd name="connsiteX2074" fmla="*/ 895337 w 6901213"/>
              <a:gd name="connsiteY2074" fmla="*/ 1865482 h 6851544"/>
              <a:gd name="connsiteX2075" fmla="*/ 737444 w 6901213"/>
              <a:gd name="connsiteY2075" fmla="*/ 1959201 h 6851544"/>
              <a:gd name="connsiteX2076" fmla="*/ 735165 w 6901213"/>
              <a:gd name="connsiteY2076" fmla="*/ 1956922 h 6851544"/>
              <a:gd name="connsiteX2077" fmla="*/ 732887 w 6901213"/>
              <a:gd name="connsiteY2077" fmla="*/ 1959201 h 6851544"/>
              <a:gd name="connsiteX2078" fmla="*/ 735165 w 6901213"/>
              <a:gd name="connsiteY2078" fmla="*/ 1961479 h 6851544"/>
              <a:gd name="connsiteX2079" fmla="*/ 737444 w 6901213"/>
              <a:gd name="connsiteY2079" fmla="*/ 1959201 h 6851544"/>
              <a:gd name="connsiteX2080" fmla="*/ 585398 w 6901213"/>
              <a:gd name="connsiteY2080" fmla="*/ 2062109 h 6851544"/>
              <a:gd name="connsiteX2081" fmla="*/ 584259 w 6901213"/>
              <a:gd name="connsiteY2081" fmla="*/ 2060970 h 6851544"/>
              <a:gd name="connsiteX2082" fmla="*/ 583120 w 6901213"/>
              <a:gd name="connsiteY2082" fmla="*/ 2062109 h 6851544"/>
              <a:gd name="connsiteX2083" fmla="*/ 584259 w 6901213"/>
              <a:gd name="connsiteY2083" fmla="*/ 2063248 h 6851544"/>
              <a:gd name="connsiteX2084" fmla="*/ 585398 w 6901213"/>
              <a:gd name="connsiteY2084" fmla="*/ 2062109 h 6851544"/>
              <a:gd name="connsiteX2085" fmla="*/ 440871 w 6901213"/>
              <a:gd name="connsiteY2085" fmla="*/ 2173827 h 6851544"/>
              <a:gd name="connsiteX2086" fmla="*/ 439732 w 6901213"/>
              <a:gd name="connsiteY2086" fmla="*/ 2172687 h 6851544"/>
              <a:gd name="connsiteX2087" fmla="*/ 438593 w 6901213"/>
              <a:gd name="connsiteY2087" fmla="*/ 2173827 h 6851544"/>
              <a:gd name="connsiteX2088" fmla="*/ 439732 w 6901213"/>
              <a:gd name="connsiteY2088" fmla="*/ 2174966 h 6851544"/>
              <a:gd name="connsiteX2089" fmla="*/ 440871 w 6901213"/>
              <a:gd name="connsiteY2089" fmla="*/ 2173827 h 6851544"/>
              <a:gd name="connsiteX2090" fmla="*/ 302800 w 6901213"/>
              <a:gd name="connsiteY2090" fmla="*/ 2293975 h 6851544"/>
              <a:gd name="connsiteX2091" fmla="*/ 302193 w 6901213"/>
              <a:gd name="connsiteY2091" fmla="*/ 2293443 h 6851544"/>
              <a:gd name="connsiteX2092" fmla="*/ 301661 w 6901213"/>
              <a:gd name="connsiteY2092" fmla="*/ 2293975 h 6851544"/>
              <a:gd name="connsiteX2093" fmla="*/ 302193 w 6901213"/>
              <a:gd name="connsiteY2093" fmla="*/ 2294506 h 6851544"/>
              <a:gd name="connsiteX2094" fmla="*/ 302800 w 6901213"/>
              <a:gd name="connsiteY2094" fmla="*/ 2293975 h 6851544"/>
              <a:gd name="connsiteX2095" fmla="*/ 4807207 w 6901213"/>
              <a:gd name="connsiteY2095" fmla="*/ 6701702 h 6851544"/>
              <a:gd name="connsiteX2096" fmla="*/ 4806676 w 6901213"/>
              <a:gd name="connsiteY2096" fmla="*/ 6701170 h 6851544"/>
              <a:gd name="connsiteX2097" fmla="*/ 4806144 w 6901213"/>
              <a:gd name="connsiteY2097" fmla="*/ 6701702 h 6851544"/>
              <a:gd name="connsiteX2098" fmla="*/ 4806676 w 6901213"/>
              <a:gd name="connsiteY2098" fmla="*/ 6702233 h 6851544"/>
              <a:gd name="connsiteX2099" fmla="*/ 4807207 w 6901213"/>
              <a:gd name="connsiteY2099" fmla="*/ 6701702 h 6851544"/>
              <a:gd name="connsiteX2100" fmla="*/ 4925685 w 6901213"/>
              <a:gd name="connsiteY2100" fmla="*/ 6562111 h 6851544"/>
              <a:gd name="connsiteX2101" fmla="*/ 4924545 w 6901213"/>
              <a:gd name="connsiteY2101" fmla="*/ 6560972 h 6851544"/>
              <a:gd name="connsiteX2102" fmla="*/ 4923406 w 6901213"/>
              <a:gd name="connsiteY2102" fmla="*/ 6562111 h 6851544"/>
              <a:gd name="connsiteX2103" fmla="*/ 4924545 w 6901213"/>
              <a:gd name="connsiteY2103" fmla="*/ 6563251 h 6851544"/>
              <a:gd name="connsiteX2104" fmla="*/ 4925685 w 6901213"/>
              <a:gd name="connsiteY2104" fmla="*/ 6562111 h 6851544"/>
              <a:gd name="connsiteX2105" fmla="*/ 5036035 w 6901213"/>
              <a:gd name="connsiteY2105" fmla="*/ 6416217 h 6851544"/>
              <a:gd name="connsiteX2106" fmla="*/ 5034365 w 6901213"/>
              <a:gd name="connsiteY2106" fmla="*/ 6414547 h 6851544"/>
              <a:gd name="connsiteX2107" fmla="*/ 5032694 w 6901213"/>
              <a:gd name="connsiteY2107" fmla="*/ 6416217 h 6851544"/>
              <a:gd name="connsiteX2108" fmla="*/ 5034365 w 6901213"/>
              <a:gd name="connsiteY2108" fmla="*/ 6417888 h 6851544"/>
              <a:gd name="connsiteX2109" fmla="*/ 5036035 w 6901213"/>
              <a:gd name="connsiteY2109" fmla="*/ 6416217 h 6851544"/>
              <a:gd name="connsiteX2110" fmla="*/ 5138639 w 6901213"/>
              <a:gd name="connsiteY2110" fmla="*/ 6264324 h 6851544"/>
              <a:gd name="connsiteX2111" fmla="*/ 5135829 w 6901213"/>
              <a:gd name="connsiteY2111" fmla="*/ 6261514 h 6851544"/>
              <a:gd name="connsiteX2112" fmla="*/ 5133019 w 6901213"/>
              <a:gd name="connsiteY2112" fmla="*/ 6264324 h 6851544"/>
              <a:gd name="connsiteX2113" fmla="*/ 5135829 w 6901213"/>
              <a:gd name="connsiteY2113" fmla="*/ 6267134 h 6851544"/>
              <a:gd name="connsiteX2114" fmla="*/ 5138639 w 6901213"/>
              <a:gd name="connsiteY2114" fmla="*/ 6264324 h 6851544"/>
              <a:gd name="connsiteX2115" fmla="*/ 5232054 w 6901213"/>
              <a:gd name="connsiteY2115" fmla="*/ 6107038 h 6851544"/>
              <a:gd name="connsiteX2116" fmla="*/ 5228637 w 6901213"/>
              <a:gd name="connsiteY2116" fmla="*/ 6103620 h 6851544"/>
              <a:gd name="connsiteX2117" fmla="*/ 5225219 w 6901213"/>
              <a:gd name="connsiteY2117" fmla="*/ 6107038 h 6851544"/>
              <a:gd name="connsiteX2118" fmla="*/ 5228637 w 6901213"/>
              <a:gd name="connsiteY2118" fmla="*/ 6110456 h 6851544"/>
              <a:gd name="connsiteX2119" fmla="*/ 5232054 w 6901213"/>
              <a:gd name="connsiteY2119" fmla="*/ 6107038 h 6851544"/>
              <a:gd name="connsiteX2120" fmla="*/ 5316963 w 6901213"/>
              <a:gd name="connsiteY2120" fmla="*/ 5944740 h 6851544"/>
              <a:gd name="connsiteX2121" fmla="*/ 5312406 w 6901213"/>
              <a:gd name="connsiteY2121" fmla="*/ 5940182 h 6851544"/>
              <a:gd name="connsiteX2122" fmla="*/ 5307925 w 6901213"/>
              <a:gd name="connsiteY2122" fmla="*/ 5944740 h 6851544"/>
              <a:gd name="connsiteX2123" fmla="*/ 5312406 w 6901213"/>
              <a:gd name="connsiteY2123" fmla="*/ 5949220 h 6851544"/>
              <a:gd name="connsiteX2124" fmla="*/ 5316963 w 6901213"/>
              <a:gd name="connsiteY2124" fmla="*/ 5944740 h 6851544"/>
              <a:gd name="connsiteX2125" fmla="*/ 5393289 w 6901213"/>
              <a:gd name="connsiteY2125" fmla="*/ 5777960 h 6851544"/>
              <a:gd name="connsiteX2126" fmla="*/ 5387062 w 6901213"/>
              <a:gd name="connsiteY2126" fmla="*/ 5771732 h 6851544"/>
              <a:gd name="connsiteX2127" fmla="*/ 5380834 w 6901213"/>
              <a:gd name="connsiteY2127" fmla="*/ 5777960 h 6851544"/>
              <a:gd name="connsiteX2128" fmla="*/ 5387062 w 6901213"/>
              <a:gd name="connsiteY2128" fmla="*/ 5784188 h 6851544"/>
              <a:gd name="connsiteX2129" fmla="*/ 5393289 w 6901213"/>
              <a:gd name="connsiteY2129" fmla="*/ 5777960 h 6851544"/>
              <a:gd name="connsiteX2130" fmla="*/ 5459515 w 6901213"/>
              <a:gd name="connsiteY2130" fmla="*/ 5607383 h 6851544"/>
              <a:gd name="connsiteX2131" fmla="*/ 5452148 w 6901213"/>
              <a:gd name="connsiteY2131" fmla="*/ 5600017 h 6851544"/>
              <a:gd name="connsiteX2132" fmla="*/ 5444781 w 6901213"/>
              <a:gd name="connsiteY2132" fmla="*/ 5607383 h 6851544"/>
              <a:gd name="connsiteX2133" fmla="*/ 5452148 w 6901213"/>
              <a:gd name="connsiteY2133" fmla="*/ 5614750 h 6851544"/>
              <a:gd name="connsiteX2134" fmla="*/ 5459515 w 6901213"/>
              <a:gd name="connsiteY2134" fmla="*/ 5607383 h 6851544"/>
              <a:gd name="connsiteX2135" fmla="*/ 5516171 w 6901213"/>
              <a:gd name="connsiteY2135" fmla="*/ 5433313 h 6851544"/>
              <a:gd name="connsiteX2136" fmla="*/ 5507741 w 6901213"/>
              <a:gd name="connsiteY2136" fmla="*/ 5424883 h 6851544"/>
              <a:gd name="connsiteX2137" fmla="*/ 5499311 w 6901213"/>
              <a:gd name="connsiteY2137" fmla="*/ 5433313 h 6851544"/>
              <a:gd name="connsiteX2138" fmla="*/ 5507741 w 6901213"/>
              <a:gd name="connsiteY2138" fmla="*/ 5441743 h 6851544"/>
              <a:gd name="connsiteX2139" fmla="*/ 5516171 w 6901213"/>
              <a:gd name="connsiteY2139" fmla="*/ 5433313 h 6851544"/>
              <a:gd name="connsiteX2140" fmla="*/ 5563486 w 6901213"/>
              <a:gd name="connsiteY2140" fmla="*/ 5256433 h 6851544"/>
              <a:gd name="connsiteX2141" fmla="*/ 5553310 w 6901213"/>
              <a:gd name="connsiteY2141" fmla="*/ 5246256 h 6851544"/>
              <a:gd name="connsiteX2142" fmla="*/ 5543132 w 6901213"/>
              <a:gd name="connsiteY2142" fmla="*/ 5256433 h 6851544"/>
              <a:gd name="connsiteX2143" fmla="*/ 5553310 w 6901213"/>
              <a:gd name="connsiteY2143" fmla="*/ 5266610 h 6851544"/>
              <a:gd name="connsiteX2144" fmla="*/ 5563486 w 6901213"/>
              <a:gd name="connsiteY2144" fmla="*/ 5256433 h 6851544"/>
              <a:gd name="connsiteX2145" fmla="*/ 5600776 w 6901213"/>
              <a:gd name="connsiteY2145" fmla="*/ 5077350 h 6851544"/>
              <a:gd name="connsiteX2146" fmla="*/ 5588929 w 6901213"/>
              <a:gd name="connsiteY2146" fmla="*/ 5065503 h 6851544"/>
              <a:gd name="connsiteX2147" fmla="*/ 5577081 w 6901213"/>
              <a:gd name="connsiteY2147" fmla="*/ 5077350 h 6851544"/>
              <a:gd name="connsiteX2148" fmla="*/ 5588929 w 6901213"/>
              <a:gd name="connsiteY2148" fmla="*/ 5089198 h 6851544"/>
              <a:gd name="connsiteX2149" fmla="*/ 5600776 w 6901213"/>
              <a:gd name="connsiteY2149" fmla="*/ 5077350 h 6851544"/>
              <a:gd name="connsiteX2150" fmla="*/ 5628041 w 6901213"/>
              <a:gd name="connsiteY2150" fmla="*/ 4896445 h 6851544"/>
              <a:gd name="connsiteX2151" fmla="*/ 5614523 w 6901213"/>
              <a:gd name="connsiteY2151" fmla="*/ 4882927 h 6851544"/>
              <a:gd name="connsiteX2152" fmla="*/ 5601004 w 6901213"/>
              <a:gd name="connsiteY2152" fmla="*/ 4896445 h 6851544"/>
              <a:gd name="connsiteX2153" fmla="*/ 5614523 w 6901213"/>
              <a:gd name="connsiteY2153" fmla="*/ 4909964 h 6851544"/>
              <a:gd name="connsiteX2154" fmla="*/ 5628041 w 6901213"/>
              <a:gd name="connsiteY2154" fmla="*/ 4896445 h 6851544"/>
              <a:gd name="connsiteX2155" fmla="*/ 5645053 w 6901213"/>
              <a:gd name="connsiteY2155" fmla="*/ 4714401 h 6851544"/>
              <a:gd name="connsiteX2156" fmla="*/ 5629788 w 6901213"/>
              <a:gd name="connsiteY2156" fmla="*/ 4699135 h 6851544"/>
              <a:gd name="connsiteX2157" fmla="*/ 5614523 w 6901213"/>
              <a:gd name="connsiteY2157" fmla="*/ 4714401 h 6851544"/>
              <a:gd name="connsiteX2158" fmla="*/ 5629788 w 6901213"/>
              <a:gd name="connsiteY2158" fmla="*/ 4729666 h 6851544"/>
              <a:gd name="connsiteX2159" fmla="*/ 5645053 w 6901213"/>
              <a:gd name="connsiteY2159" fmla="*/ 4714401 h 6851544"/>
              <a:gd name="connsiteX2160" fmla="*/ 5651888 w 6901213"/>
              <a:gd name="connsiteY2160" fmla="*/ 4531824 h 6851544"/>
              <a:gd name="connsiteX2161" fmla="*/ 5634952 w 6901213"/>
              <a:gd name="connsiteY2161" fmla="*/ 4514888 h 6851544"/>
              <a:gd name="connsiteX2162" fmla="*/ 5618016 w 6901213"/>
              <a:gd name="connsiteY2162" fmla="*/ 4531824 h 6851544"/>
              <a:gd name="connsiteX2163" fmla="*/ 5634952 w 6901213"/>
              <a:gd name="connsiteY2163" fmla="*/ 4548761 h 6851544"/>
              <a:gd name="connsiteX2164" fmla="*/ 5651888 w 6901213"/>
              <a:gd name="connsiteY2164" fmla="*/ 4531824 h 6851544"/>
              <a:gd name="connsiteX2165" fmla="*/ 5648471 w 6901213"/>
              <a:gd name="connsiteY2165" fmla="*/ 4349248 h 6851544"/>
              <a:gd name="connsiteX2166" fmla="*/ 5629864 w 6901213"/>
              <a:gd name="connsiteY2166" fmla="*/ 4330641 h 6851544"/>
              <a:gd name="connsiteX2167" fmla="*/ 5611257 w 6901213"/>
              <a:gd name="connsiteY2167" fmla="*/ 4349248 h 6851544"/>
              <a:gd name="connsiteX2168" fmla="*/ 5629864 w 6901213"/>
              <a:gd name="connsiteY2168" fmla="*/ 4367855 h 6851544"/>
              <a:gd name="connsiteX2169" fmla="*/ 5648471 w 6901213"/>
              <a:gd name="connsiteY2169" fmla="*/ 4349248 h 6851544"/>
              <a:gd name="connsiteX2170" fmla="*/ 5634800 w 6901213"/>
              <a:gd name="connsiteY2170" fmla="*/ 4167279 h 6851544"/>
              <a:gd name="connsiteX2171" fmla="*/ 5614447 w 6901213"/>
              <a:gd name="connsiteY2171" fmla="*/ 4147002 h 6851544"/>
              <a:gd name="connsiteX2172" fmla="*/ 5594093 w 6901213"/>
              <a:gd name="connsiteY2172" fmla="*/ 4167279 h 6851544"/>
              <a:gd name="connsiteX2173" fmla="*/ 5614447 w 6901213"/>
              <a:gd name="connsiteY2173" fmla="*/ 4187633 h 6851544"/>
              <a:gd name="connsiteX2174" fmla="*/ 5634800 w 6901213"/>
              <a:gd name="connsiteY2174" fmla="*/ 4167279 h 6851544"/>
              <a:gd name="connsiteX2175" fmla="*/ 5610953 w 6901213"/>
              <a:gd name="connsiteY2175" fmla="*/ 3986374 h 6851544"/>
              <a:gd name="connsiteX2176" fmla="*/ 5588929 w 6901213"/>
              <a:gd name="connsiteY2176" fmla="*/ 3964349 h 6851544"/>
              <a:gd name="connsiteX2177" fmla="*/ 5566904 w 6901213"/>
              <a:gd name="connsiteY2177" fmla="*/ 3986374 h 6851544"/>
              <a:gd name="connsiteX2178" fmla="*/ 5588929 w 6901213"/>
              <a:gd name="connsiteY2178" fmla="*/ 4008399 h 6851544"/>
              <a:gd name="connsiteX2179" fmla="*/ 5610953 w 6901213"/>
              <a:gd name="connsiteY2179" fmla="*/ 3986374 h 6851544"/>
              <a:gd name="connsiteX2180" fmla="*/ 5577005 w 6901213"/>
              <a:gd name="connsiteY2180" fmla="*/ 3807291 h 6851544"/>
              <a:gd name="connsiteX2181" fmla="*/ 5553310 w 6901213"/>
              <a:gd name="connsiteY2181" fmla="*/ 3783596 h 6851544"/>
              <a:gd name="connsiteX2182" fmla="*/ 5529614 w 6901213"/>
              <a:gd name="connsiteY2182" fmla="*/ 3807291 h 6851544"/>
              <a:gd name="connsiteX2183" fmla="*/ 5553310 w 6901213"/>
              <a:gd name="connsiteY2183" fmla="*/ 3830987 h 6851544"/>
              <a:gd name="connsiteX2184" fmla="*/ 5577005 w 6901213"/>
              <a:gd name="connsiteY2184" fmla="*/ 3807291 h 6851544"/>
              <a:gd name="connsiteX2185" fmla="*/ 5533107 w 6901213"/>
              <a:gd name="connsiteY2185" fmla="*/ 3630411 h 6851544"/>
              <a:gd name="connsiteX2186" fmla="*/ 5507741 w 6901213"/>
              <a:gd name="connsiteY2186" fmla="*/ 3605045 h 6851544"/>
              <a:gd name="connsiteX2187" fmla="*/ 5482375 w 6901213"/>
              <a:gd name="connsiteY2187" fmla="*/ 3630411 h 6851544"/>
              <a:gd name="connsiteX2188" fmla="*/ 5507741 w 6901213"/>
              <a:gd name="connsiteY2188" fmla="*/ 3655777 h 6851544"/>
              <a:gd name="connsiteX2189" fmla="*/ 5533107 w 6901213"/>
              <a:gd name="connsiteY2189" fmla="*/ 3630411 h 6851544"/>
              <a:gd name="connsiteX2190" fmla="*/ 5478730 w 6901213"/>
              <a:gd name="connsiteY2190" fmla="*/ 3456341 h 6851544"/>
              <a:gd name="connsiteX2191" fmla="*/ 5452224 w 6901213"/>
              <a:gd name="connsiteY2191" fmla="*/ 3429836 h 6851544"/>
              <a:gd name="connsiteX2192" fmla="*/ 5425718 w 6901213"/>
              <a:gd name="connsiteY2192" fmla="*/ 3456341 h 6851544"/>
              <a:gd name="connsiteX2193" fmla="*/ 5452224 w 6901213"/>
              <a:gd name="connsiteY2193" fmla="*/ 3482847 h 6851544"/>
              <a:gd name="connsiteX2194" fmla="*/ 5478730 w 6901213"/>
              <a:gd name="connsiteY2194" fmla="*/ 3456341 h 6851544"/>
              <a:gd name="connsiteX2195" fmla="*/ 5414707 w 6901213"/>
              <a:gd name="connsiteY2195" fmla="*/ 3285688 h 6851544"/>
              <a:gd name="connsiteX2196" fmla="*/ 5387062 w 6901213"/>
              <a:gd name="connsiteY2196" fmla="*/ 3258044 h 6851544"/>
              <a:gd name="connsiteX2197" fmla="*/ 5359417 w 6901213"/>
              <a:gd name="connsiteY2197" fmla="*/ 3285688 h 6851544"/>
              <a:gd name="connsiteX2198" fmla="*/ 5387062 w 6901213"/>
              <a:gd name="connsiteY2198" fmla="*/ 3313333 h 6851544"/>
              <a:gd name="connsiteX2199" fmla="*/ 5414707 w 6901213"/>
              <a:gd name="connsiteY2199" fmla="*/ 3285688 h 6851544"/>
              <a:gd name="connsiteX2200" fmla="*/ 5341266 w 6901213"/>
              <a:gd name="connsiteY2200" fmla="*/ 3118985 h 6851544"/>
              <a:gd name="connsiteX2201" fmla="*/ 5312482 w 6901213"/>
              <a:gd name="connsiteY2201" fmla="*/ 3090201 h 6851544"/>
              <a:gd name="connsiteX2202" fmla="*/ 5283698 w 6901213"/>
              <a:gd name="connsiteY2202" fmla="*/ 3118985 h 6851544"/>
              <a:gd name="connsiteX2203" fmla="*/ 5312482 w 6901213"/>
              <a:gd name="connsiteY2203" fmla="*/ 3147769 h 6851544"/>
              <a:gd name="connsiteX2204" fmla="*/ 5341266 w 6901213"/>
              <a:gd name="connsiteY2204" fmla="*/ 3118985 h 6851544"/>
              <a:gd name="connsiteX2205" fmla="*/ 5258560 w 6901213"/>
              <a:gd name="connsiteY2205" fmla="*/ 2956687 h 6851544"/>
              <a:gd name="connsiteX2206" fmla="*/ 5228637 w 6901213"/>
              <a:gd name="connsiteY2206" fmla="*/ 2926764 h 6851544"/>
              <a:gd name="connsiteX2207" fmla="*/ 5198714 w 6901213"/>
              <a:gd name="connsiteY2207" fmla="*/ 2956687 h 6851544"/>
              <a:gd name="connsiteX2208" fmla="*/ 5228637 w 6901213"/>
              <a:gd name="connsiteY2208" fmla="*/ 2986610 h 6851544"/>
              <a:gd name="connsiteX2209" fmla="*/ 5258560 w 6901213"/>
              <a:gd name="connsiteY2209" fmla="*/ 2956687 h 6851544"/>
              <a:gd name="connsiteX2210" fmla="*/ 5166892 w 6901213"/>
              <a:gd name="connsiteY2210" fmla="*/ 2799401 h 6851544"/>
              <a:gd name="connsiteX2211" fmla="*/ 5135829 w 6901213"/>
              <a:gd name="connsiteY2211" fmla="*/ 2768338 h 6851544"/>
              <a:gd name="connsiteX2212" fmla="*/ 5104767 w 6901213"/>
              <a:gd name="connsiteY2212" fmla="*/ 2799401 h 6851544"/>
              <a:gd name="connsiteX2213" fmla="*/ 5135829 w 6901213"/>
              <a:gd name="connsiteY2213" fmla="*/ 2830463 h 6851544"/>
              <a:gd name="connsiteX2214" fmla="*/ 5166892 w 6901213"/>
              <a:gd name="connsiteY2214" fmla="*/ 2799401 h 6851544"/>
              <a:gd name="connsiteX2215" fmla="*/ 5065958 w 6901213"/>
              <a:gd name="connsiteY2215" fmla="*/ 2647507 h 6851544"/>
              <a:gd name="connsiteX2216" fmla="*/ 5034365 w 6901213"/>
              <a:gd name="connsiteY2216" fmla="*/ 2615913 h 6851544"/>
              <a:gd name="connsiteX2217" fmla="*/ 5002770 w 6901213"/>
              <a:gd name="connsiteY2217" fmla="*/ 2647507 h 6851544"/>
              <a:gd name="connsiteX2218" fmla="*/ 5034365 w 6901213"/>
              <a:gd name="connsiteY2218" fmla="*/ 2679101 h 6851544"/>
              <a:gd name="connsiteX2219" fmla="*/ 5065958 w 6901213"/>
              <a:gd name="connsiteY2219" fmla="*/ 2647507 h 6851544"/>
              <a:gd name="connsiteX2220" fmla="*/ 4956671 w 6901213"/>
              <a:gd name="connsiteY2220" fmla="*/ 2501537 h 6851544"/>
              <a:gd name="connsiteX2221" fmla="*/ 4924469 w 6901213"/>
              <a:gd name="connsiteY2221" fmla="*/ 2469412 h 6851544"/>
              <a:gd name="connsiteX2222" fmla="*/ 4892268 w 6901213"/>
              <a:gd name="connsiteY2222" fmla="*/ 2501537 h 6851544"/>
              <a:gd name="connsiteX2223" fmla="*/ 4924469 w 6901213"/>
              <a:gd name="connsiteY2223" fmla="*/ 2533739 h 6851544"/>
              <a:gd name="connsiteX2224" fmla="*/ 4956671 w 6901213"/>
              <a:gd name="connsiteY2224" fmla="*/ 2501537 h 6851544"/>
              <a:gd name="connsiteX2225" fmla="*/ 4838877 w 6901213"/>
              <a:gd name="connsiteY2225" fmla="*/ 2362023 h 6851544"/>
              <a:gd name="connsiteX2226" fmla="*/ 4806676 w 6901213"/>
              <a:gd name="connsiteY2226" fmla="*/ 2329898 h 6851544"/>
              <a:gd name="connsiteX2227" fmla="*/ 4774474 w 6901213"/>
              <a:gd name="connsiteY2227" fmla="*/ 2362023 h 6851544"/>
              <a:gd name="connsiteX2228" fmla="*/ 4806676 w 6901213"/>
              <a:gd name="connsiteY2228" fmla="*/ 2394224 h 6851544"/>
              <a:gd name="connsiteX2229" fmla="*/ 4838877 w 6901213"/>
              <a:gd name="connsiteY2229" fmla="*/ 2362023 h 6851544"/>
              <a:gd name="connsiteX2230" fmla="*/ 4713337 w 6901213"/>
              <a:gd name="connsiteY2230" fmla="*/ 2229268 h 6851544"/>
              <a:gd name="connsiteX2231" fmla="*/ 4681136 w 6901213"/>
              <a:gd name="connsiteY2231" fmla="*/ 2197142 h 6851544"/>
              <a:gd name="connsiteX2232" fmla="*/ 4648934 w 6901213"/>
              <a:gd name="connsiteY2232" fmla="*/ 2229268 h 6851544"/>
              <a:gd name="connsiteX2233" fmla="*/ 4681136 w 6901213"/>
              <a:gd name="connsiteY2233" fmla="*/ 2261469 h 6851544"/>
              <a:gd name="connsiteX2234" fmla="*/ 4713337 w 6901213"/>
              <a:gd name="connsiteY2234" fmla="*/ 2229268 h 6851544"/>
              <a:gd name="connsiteX2235" fmla="*/ 4580658 w 6901213"/>
              <a:gd name="connsiteY2235" fmla="*/ 2103804 h 6851544"/>
              <a:gd name="connsiteX2236" fmla="*/ 4548457 w 6901213"/>
              <a:gd name="connsiteY2236" fmla="*/ 2071678 h 6851544"/>
              <a:gd name="connsiteX2237" fmla="*/ 4516255 w 6901213"/>
              <a:gd name="connsiteY2237" fmla="*/ 2103804 h 6851544"/>
              <a:gd name="connsiteX2238" fmla="*/ 4548457 w 6901213"/>
              <a:gd name="connsiteY2238" fmla="*/ 2136005 h 6851544"/>
              <a:gd name="connsiteX2239" fmla="*/ 4580658 w 6901213"/>
              <a:gd name="connsiteY2239" fmla="*/ 2103804 h 6851544"/>
              <a:gd name="connsiteX2240" fmla="*/ 4441068 w 6901213"/>
              <a:gd name="connsiteY2240" fmla="*/ 1985934 h 6851544"/>
              <a:gd name="connsiteX2241" fmla="*/ 4408867 w 6901213"/>
              <a:gd name="connsiteY2241" fmla="*/ 1953809 h 6851544"/>
              <a:gd name="connsiteX2242" fmla="*/ 4376665 w 6901213"/>
              <a:gd name="connsiteY2242" fmla="*/ 1985934 h 6851544"/>
              <a:gd name="connsiteX2243" fmla="*/ 4408867 w 6901213"/>
              <a:gd name="connsiteY2243" fmla="*/ 2018136 h 6851544"/>
              <a:gd name="connsiteX2244" fmla="*/ 4441068 w 6901213"/>
              <a:gd name="connsiteY2244" fmla="*/ 1985934 h 6851544"/>
              <a:gd name="connsiteX2245" fmla="*/ 4294566 w 6901213"/>
              <a:gd name="connsiteY2245" fmla="*/ 1876115 h 6851544"/>
              <a:gd name="connsiteX2246" fmla="*/ 4262972 w 6901213"/>
              <a:gd name="connsiteY2246" fmla="*/ 1844521 h 6851544"/>
              <a:gd name="connsiteX2247" fmla="*/ 4231379 w 6901213"/>
              <a:gd name="connsiteY2247" fmla="*/ 1876115 h 6851544"/>
              <a:gd name="connsiteX2248" fmla="*/ 4262972 w 6901213"/>
              <a:gd name="connsiteY2248" fmla="*/ 1907709 h 6851544"/>
              <a:gd name="connsiteX2249" fmla="*/ 4294566 w 6901213"/>
              <a:gd name="connsiteY2249" fmla="*/ 1876115 h 6851544"/>
              <a:gd name="connsiteX2250" fmla="*/ 4142141 w 6901213"/>
              <a:gd name="connsiteY2250" fmla="*/ 1774650 h 6851544"/>
              <a:gd name="connsiteX2251" fmla="*/ 4111079 w 6901213"/>
              <a:gd name="connsiteY2251" fmla="*/ 1743588 h 6851544"/>
              <a:gd name="connsiteX2252" fmla="*/ 4080016 w 6901213"/>
              <a:gd name="connsiteY2252" fmla="*/ 1774650 h 6851544"/>
              <a:gd name="connsiteX2253" fmla="*/ 4111079 w 6901213"/>
              <a:gd name="connsiteY2253" fmla="*/ 1805712 h 6851544"/>
              <a:gd name="connsiteX2254" fmla="*/ 4142141 w 6901213"/>
              <a:gd name="connsiteY2254" fmla="*/ 1774650 h 6851544"/>
              <a:gd name="connsiteX2255" fmla="*/ 3983716 w 6901213"/>
              <a:gd name="connsiteY2255" fmla="*/ 1681843 h 6851544"/>
              <a:gd name="connsiteX2256" fmla="*/ 3953793 w 6901213"/>
              <a:gd name="connsiteY2256" fmla="*/ 1651920 h 6851544"/>
              <a:gd name="connsiteX2257" fmla="*/ 3923869 w 6901213"/>
              <a:gd name="connsiteY2257" fmla="*/ 1681843 h 6851544"/>
              <a:gd name="connsiteX2258" fmla="*/ 3953793 w 6901213"/>
              <a:gd name="connsiteY2258" fmla="*/ 1711766 h 6851544"/>
              <a:gd name="connsiteX2259" fmla="*/ 3983716 w 6901213"/>
              <a:gd name="connsiteY2259" fmla="*/ 1681843 h 6851544"/>
              <a:gd name="connsiteX2260" fmla="*/ 3820278 w 6901213"/>
              <a:gd name="connsiteY2260" fmla="*/ 1597998 h 6851544"/>
              <a:gd name="connsiteX2261" fmla="*/ 3791494 w 6901213"/>
              <a:gd name="connsiteY2261" fmla="*/ 1569214 h 6851544"/>
              <a:gd name="connsiteX2262" fmla="*/ 3762711 w 6901213"/>
              <a:gd name="connsiteY2262" fmla="*/ 1597998 h 6851544"/>
              <a:gd name="connsiteX2263" fmla="*/ 3791494 w 6901213"/>
              <a:gd name="connsiteY2263" fmla="*/ 1626781 h 6851544"/>
              <a:gd name="connsiteX2264" fmla="*/ 3820278 w 6901213"/>
              <a:gd name="connsiteY2264" fmla="*/ 1597998 h 6851544"/>
              <a:gd name="connsiteX2265" fmla="*/ 3652436 w 6901213"/>
              <a:gd name="connsiteY2265" fmla="*/ 1523418 h 6851544"/>
              <a:gd name="connsiteX2266" fmla="*/ 3624791 w 6901213"/>
              <a:gd name="connsiteY2266" fmla="*/ 1495773 h 6851544"/>
              <a:gd name="connsiteX2267" fmla="*/ 3597146 w 6901213"/>
              <a:gd name="connsiteY2267" fmla="*/ 1523418 h 6851544"/>
              <a:gd name="connsiteX2268" fmla="*/ 3624791 w 6901213"/>
              <a:gd name="connsiteY2268" fmla="*/ 1551062 h 6851544"/>
              <a:gd name="connsiteX2269" fmla="*/ 3652436 w 6901213"/>
              <a:gd name="connsiteY2269" fmla="*/ 1523418 h 6851544"/>
              <a:gd name="connsiteX2270" fmla="*/ 3480644 w 6901213"/>
              <a:gd name="connsiteY2270" fmla="*/ 1458255 h 6851544"/>
              <a:gd name="connsiteX2271" fmla="*/ 3454138 w 6901213"/>
              <a:gd name="connsiteY2271" fmla="*/ 1431750 h 6851544"/>
              <a:gd name="connsiteX2272" fmla="*/ 3427633 w 6901213"/>
              <a:gd name="connsiteY2272" fmla="*/ 1458255 h 6851544"/>
              <a:gd name="connsiteX2273" fmla="*/ 3454138 w 6901213"/>
              <a:gd name="connsiteY2273" fmla="*/ 1484761 h 6851544"/>
              <a:gd name="connsiteX2274" fmla="*/ 3480644 w 6901213"/>
              <a:gd name="connsiteY2274" fmla="*/ 1458255 h 6851544"/>
              <a:gd name="connsiteX2275" fmla="*/ 3305510 w 6901213"/>
              <a:gd name="connsiteY2275" fmla="*/ 1402814 h 6851544"/>
              <a:gd name="connsiteX2276" fmla="*/ 3280144 w 6901213"/>
              <a:gd name="connsiteY2276" fmla="*/ 1377448 h 6851544"/>
              <a:gd name="connsiteX2277" fmla="*/ 3254778 w 6901213"/>
              <a:gd name="connsiteY2277" fmla="*/ 1402814 h 6851544"/>
              <a:gd name="connsiteX2278" fmla="*/ 3280144 w 6901213"/>
              <a:gd name="connsiteY2278" fmla="*/ 1428180 h 6851544"/>
              <a:gd name="connsiteX2279" fmla="*/ 3305510 w 6901213"/>
              <a:gd name="connsiteY2279" fmla="*/ 1402814 h 6851544"/>
              <a:gd name="connsiteX2280" fmla="*/ 3126960 w 6901213"/>
              <a:gd name="connsiteY2280" fmla="*/ 1357170 h 6851544"/>
              <a:gd name="connsiteX2281" fmla="*/ 3103264 w 6901213"/>
              <a:gd name="connsiteY2281" fmla="*/ 1333475 h 6851544"/>
              <a:gd name="connsiteX2282" fmla="*/ 3079569 w 6901213"/>
              <a:gd name="connsiteY2282" fmla="*/ 1357170 h 6851544"/>
              <a:gd name="connsiteX2283" fmla="*/ 3103264 w 6901213"/>
              <a:gd name="connsiteY2283" fmla="*/ 1380866 h 6851544"/>
              <a:gd name="connsiteX2284" fmla="*/ 3126960 w 6901213"/>
              <a:gd name="connsiteY2284" fmla="*/ 1357170 h 6851544"/>
              <a:gd name="connsiteX2285" fmla="*/ 2946130 w 6901213"/>
              <a:gd name="connsiteY2285" fmla="*/ 1321551 h 6851544"/>
              <a:gd name="connsiteX2286" fmla="*/ 2924105 w 6901213"/>
              <a:gd name="connsiteY2286" fmla="*/ 1299527 h 6851544"/>
              <a:gd name="connsiteX2287" fmla="*/ 2902081 w 6901213"/>
              <a:gd name="connsiteY2287" fmla="*/ 1321551 h 6851544"/>
              <a:gd name="connsiteX2288" fmla="*/ 2924105 w 6901213"/>
              <a:gd name="connsiteY2288" fmla="*/ 1343576 h 6851544"/>
              <a:gd name="connsiteX2289" fmla="*/ 2946130 w 6901213"/>
              <a:gd name="connsiteY2289" fmla="*/ 1321551 h 6851544"/>
              <a:gd name="connsiteX2290" fmla="*/ 2763554 w 6901213"/>
              <a:gd name="connsiteY2290" fmla="*/ 1296033 h 6851544"/>
              <a:gd name="connsiteX2291" fmla="*/ 2743200 w 6901213"/>
              <a:gd name="connsiteY2291" fmla="*/ 1275755 h 6851544"/>
              <a:gd name="connsiteX2292" fmla="*/ 2722846 w 6901213"/>
              <a:gd name="connsiteY2292" fmla="*/ 1296033 h 6851544"/>
              <a:gd name="connsiteX2293" fmla="*/ 2743200 w 6901213"/>
              <a:gd name="connsiteY2293" fmla="*/ 1316387 h 6851544"/>
              <a:gd name="connsiteX2294" fmla="*/ 2763554 w 6901213"/>
              <a:gd name="connsiteY2294" fmla="*/ 1296033 h 6851544"/>
              <a:gd name="connsiteX2295" fmla="*/ 2579838 w 6901213"/>
              <a:gd name="connsiteY2295" fmla="*/ 1280692 h 6851544"/>
              <a:gd name="connsiteX2296" fmla="*/ 2561231 w 6901213"/>
              <a:gd name="connsiteY2296" fmla="*/ 1262085 h 6851544"/>
              <a:gd name="connsiteX2297" fmla="*/ 2542625 w 6901213"/>
              <a:gd name="connsiteY2297" fmla="*/ 1280692 h 6851544"/>
              <a:gd name="connsiteX2298" fmla="*/ 2561231 w 6901213"/>
              <a:gd name="connsiteY2298" fmla="*/ 1299299 h 6851544"/>
              <a:gd name="connsiteX2299" fmla="*/ 2579838 w 6901213"/>
              <a:gd name="connsiteY2299" fmla="*/ 1280692 h 6851544"/>
              <a:gd name="connsiteX2300" fmla="*/ 2395591 w 6901213"/>
              <a:gd name="connsiteY2300" fmla="*/ 1275527 h 6851544"/>
              <a:gd name="connsiteX2301" fmla="*/ 2378655 w 6901213"/>
              <a:gd name="connsiteY2301" fmla="*/ 1258591 h 6851544"/>
              <a:gd name="connsiteX2302" fmla="*/ 2361719 w 6901213"/>
              <a:gd name="connsiteY2302" fmla="*/ 1275527 h 6851544"/>
              <a:gd name="connsiteX2303" fmla="*/ 2378655 w 6901213"/>
              <a:gd name="connsiteY2303" fmla="*/ 1292464 h 6851544"/>
              <a:gd name="connsiteX2304" fmla="*/ 2395591 w 6901213"/>
              <a:gd name="connsiteY2304" fmla="*/ 1275527 h 6851544"/>
              <a:gd name="connsiteX2305" fmla="*/ 2211268 w 6901213"/>
              <a:gd name="connsiteY2305" fmla="*/ 1280692 h 6851544"/>
              <a:gd name="connsiteX2306" fmla="*/ 2196003 w 6901213"/>
              <a:gd name="connsiteY2306" fmla="*/ 1265426 h 6851544"/>
              <a:gd name="connsiteX2307" fmla="*/ 2180738 w 6901213"/>
              <a:gd name="connsiteY2307" fmla="*/ 1280692 h 6851544"/>
              <a:gd name="connsiteX2308" fmla="*/ 2196003 w 6901213"/>
              <a:gd name="connsiteY2308" fmla="*/ 1295957 h 6851544"/>
              <a:gd name="connsiteX2309" fmla="*/ 2211268 w 6901213"/>
              <a:gd name="connsiteY2309" fmla="*/ 1280692 h 6851544"/>
              <a:gd name="connsiteX2310" fmla="*/ 2027553 w 6901213"/>
              <a:gd name="connsiteY2310" fmla="*/ 1296033 h 6851544"/>
              <a:gd name="connsiteX2311" fmla="*/ 2014034 w 6901213"/>
              <a:gd name="connsiteY2311" fmla="*/ 1282514 h 6851544"/>
              <a:gd name="connsiteX2312" fmla="*/ 2000516 w 6901213"/>
              <a:gd name="connsiteY2312" fmla="*/ 1296033 h 6851544"/>
              <a:gd name="connsiteX2313" fmla="*/ 2014034 w 6901213"/>
              <a:gd name="connsiteY2313" fmla="*/ 1309552 h 6851544"/>
              <a:gd name="connsiteX2314" fmla="*/ 2027553 w 6901213"/>
              <a:gd name="connsiteY2314" fmla="*/ 1296033 h 6851544"/>
              <a:gd name="connsiteX2315" fmla="*/ 1845053 w 6901213"/>
              <a:gd name="connsiteY2315" fmla="*/ 1321551 h 6851544"/>
              <a:gd name="connsiteX2316" fmla="*/ 1833205 w 6901213"/>
              <a:gd name="connsiteY2316" fmla="*/ 1309703 h 6851544"/>
              <a:gd name="connsiteX2317" fmla="*/ 1821357 w 6901213"/>
              <a:gd name="connsiteY2317" fmla="*/ 1321551 h 6851544"/>
              <a:gd name="connsiteX2318" fmla="*/ 1833205 w 6901213"/>
              <a:gd name="connsiteY2318" fmla="*/ 1333399 h 6851544"/>
              <a:gd name="connsiteX2319" fmla="*/ 1845053 w 6901213"/>
              <a:gd name="connsiteY2319" fmla="*/ 1321551 h 6851544"/>
              <a:gd name="connsiteX2320" fmla="*/ 1664223 w 6901213"/>
              <a:gd name="connsiteY2320" fmla="*/ 1357170 h 6851544"/>
              <a:gd name="connsiteX2321" fmla="*/ 1654046 w 6901213"/>
              <a:gd name="connsiteY2321" fmla="*/ 1346993 h 6851544"/>
              <a:gd name="connsiteX2322" fmla="*/ 1643869 w 6901213"/>
              <a:gd name="connsiteY2322" fmla="*/ 1357170 h 6851544"/>
              <a:gd name="connsiteX2323" fmla="*/ 1654046 w 6901213"/>
              <a:gd name="connsiteY2323" fmla="*/ 1367347 h 6851544"/>
              <a:gd name="connsiteX2324" fmla="*/ 1664223 w 6901213"/>
              <a:gd name="connsiteY2324" fmla="*/ 1357170 h 6851544"/>
              <a:gd name="connsiteX2325" fmla="*/ 1485596 w 6901213"/>
              <a:gd name="connsiteY2325" fmla="*/ 1402814 h 6851544"/>
              <a:gd name="connsiteX2326" fmla="*/ 1477166 w 6901213"/>
              <a:gd name="connsiteY2326" fmla="*/ 1394384 h 6851544"/>
              <a:gd name="connsiteX2327" fmla="*/ 1468736 w 6901213"/>
              <a:gd name="connsiteY2327" fmla="*/ 1402814 h 6851544"/>
              <a:gd name="connsiteX2328" fmla="*/ 1477166 w 6901213"/>
              <a:gd name="connsiteY2328" fmla="*/ 1411244 h 6851544"/>
              <a:gd name="connsiteX2329" fmla="*/ 1485596 w 6901213"/>
              <a:gd name="connsiteY2329" fmla="*/ 1402814 h 6851544"/>
              <a:gd name="connsiteX2330" fmla="*/ 1310463 w 6901213"/>
              <a:gd name="connsiteY2330" fmla="*/ 1458255 h 6851544"/>
              <a:gd name="connsiteX2331" fmla="*/ 1303096 w 6901213"/>
              <a:gd name="connsiteY2331" fmla="*/ 1450889 h 6851544"/>
              <a:gd name="connsiteX2332" fmla="*/ 1295729 w 6901213"/>
              <a:gd name="connsiteY2332" fmla="*/ 1458255 h 6851544"/>
              <a:gd name="connsiteX2333" fmla="*/ 1303096 w 6901213"/>
              <a:gd name="connsiteY2333" fmla="*/ 1465622 h 6851544"/>
              <a:gd name="connsiteX2334" fmla="*/ 1310463 w 6901213"/>
              <a:gd name="connsiteY2334" fmla="*/ 1458255 h 6851544"/>
              <a:gd name="connsiteX2335" fmla="*/ 1138671 w 6901213"/>
              <a:gd name="connsiteY2335" fmla="*/ 1523418 h 6851544"/>
              <a:gd name="connsiteX2336" fmla="*/ 1132443 w 6901213"/>
              <a:gd name="connsiteY2336" fmla="*/ 1517190 h 6851544"/>
              <a:gd name="connsiteX2337" fmla="*/ 1126216 w 6901213"/>
              <a:gd name="connsiteY2337" fmla="*/ 1523418 h 6851544"/>
              <a:gd name="connsiteX2338" fmla="*/ 1132443 w 6901213"/>
              <a:gd name="connsiteY2338" fmla="*/ 1529645 h 6851544"/>
              <a:gd name="connsiteX2339" fmla="*/ 1138671 w 6901213"/>
              <a:gd name="connsiteY2339" fmla="*/ 1523418 h 6851544"/>
              <a:gd name="connsiteX2340" fmla="*/ 970297 w 6901213"/>
              <a:gd name="connsiteY2340" fmla="*/ 1597998 h 6851544"/>
              <a:gd name="connsiteX2341" fmla="*/ 965740 w 6901213"/>
              <a:gd name="connsiteY2341" fmla="*/ 1593517 h 6851544"/>
              <a:gd name="connsiteX2342" fmla="*/ 961259 w 6901213"/>
              <a:gd name="connsiteY2342" fmla="*/ 1597998 h 6851544"/>
              <a:gd name="connsiteX2343" fmla="*/ 965740 w 6901213"/>
              <a:gd name="connsiteY2343" fmla="*/ 1602554 h 6851544"/>
              <a:gd name="connsiteX2344" fmla="*/ 970297 w 6901213"/>
              <a:gd name="connsiteY2344" fmla="*/ 1597998 h 6851544"/>
              <a:gd name="connsiteX2345" fmla="*/ 806859 w 6901213"/>
              <a:gd name="connsiteY2345" fmla="*/ 1681843 h 6851544"/>
              <a:gd name="connsiteX2346" fmla="*/ 803442 w 6901213"/>
              <a:gd name="connsiteY2346" fmla="*/ 1678425 h 6851544"/>
              <a:gd name="connsiteX2347" fmla="*/ 800024 w 6901213"/>
              <a:gd name="connsiteY2347" fmla="*/ 1681843 h 6851544"/>
              <a:gd name="connsiteX2348" fmla="*/ 803442 w 6901213"/>
              <a:gd name="connsiteY2348" fmla="*/ 1685260 h 6851544"/>
              <a:gd name="connsiteX2349" fmla="*/ 806859 w 6901213"/>
              <a:gd name="connsiteY2349" fmla="*/ 1681843 h 6851544"/>
              <a:gd name="connsiteX2350" fmla="*/ 648966 w 6901213"/>
              <a:gd name="connsiteY2350" fmla="*/ 1774650 h 6851544"/>
              <a:gd name="connsiteX2351" fmla="*/ 646156 w 6901213"/>
              <a:gd name="connsiteY2351" fmla="*/ 1771840 h 6851544"/>
              <a:gd name="connsiteX2352" fmla="*/ 643346 w 6901213"/>
              <a:gd name="connsiteY2352" fmla="*/ 1774650 h 6851544"/>
              <a:gd name="connsiteX2353" fmla="*/ 646156 w 6901213"/>
              <a:gd name="connsiteY2353" fmla="*/ 1777460 h 6851544"/>
              <a:gd name="connsiteX2354" fmla="*/ 648966 w 6901213"/>
              <a:gd name="connsiteY2354" fmla="*/ 1774650 h 6851544"/>
              <a:gd name="connsiteX2355" fmla="*/ 496009 w 6901213"/>
              <a:gd name="connsiteY2355" fmla="*/ 1876115 h 6851544"/>
              <a:gd name="connsiteX2356" fmla="*/ 494338 w 6901213"/>
              <a:gd name="connsiteY2356" fmla="*/ 1874444 h 6851544"/>
              <a:gd name="connsiteX2357" fmla="*/ 492667 w 6901213"/>
              <a:gd name="connsiteY2357" fmla="*/ 1876115 h 6851544"/>
              <a:gd name="connsiteX2358" fmla="*/ 494338 w 6901213"/>
              <a:gd name="connsiteY2358" fmla="*/ 1877786 h 6851544"/>
              <a:gd name="connsiteX2359" fmla="*/ 496009 w 6901213"/>
              <a:gd name="connsiteY2359" fmla="*/ 1876115 h 6851544"/>
              <a:gd name="connsiteX2360" fmla="*/ 349507 w 6901213"/>
              <a:gd name="connsiteY2360" fmla="*/ 1985934 h 6851544"/>
              <a:gd name="connsiteX2361" fmla="*/ 348368 w 6901213"/>
              <a:gd name="connsiteY2361" fmla="*/ 1984795 h 6851544"/>
              <a:gd name="connsiteX2362" fmla="*/ 347229 w 6901213"/>
              <a:gd name="connsiteY2362" fmla="*/ 1985934 h 6851544"/>
              <a:gd name="connsiteX2363" fmla="*/ 348368 w 6901213"/>
              <a:gd name="connsiteY2363" fmla="*/ 1987073 h 6851544"/>
              <a:gd name="connsiteX2364" fmla="*/ 349507 w 6901213"/>
              <a:gd name="connsiteY2364" fmla="*/ 1985934 h 6851544"/>
              <a:gd name="connsiteX2365" fmla="*/ 209385 w 6901213"/>
              <a:gd name="connsiteY2365" fmla="*/ 2103804 h 6851544"/>
              <a:gd name="connsiteX2366" fmla="*/ 208778 w 6901213"/>
              <a:gd name="connsiteY2366" fmla="*/ 2103272 h 6851544"/>
              <a:gd name="connsiteX2367" fmla="*/ 208246 w 6901213"/>
              <a:gd name="connsiteY2367" fmla="*/ 2103804 h 6851544"/>
              <a:gd name="connsiteX2368" fmla="*/ 208778 w 6901213"/>
              <a:gd name="connsiteY2368" fmla="*/ 2104335 h 6851544"/>
              <a:gd name="connsiteX2369" fmla="*/ 209385 w 6901213"/>
              <a:gd name="connsiteY2369" fmla="*/ 2103804 h 6851544"/>
              <a:gd name="connsiteX2370" fmla="*/ 4966620 w 6901213"/>
              <a:gd name="connsiteY2370" fmla="*/ 6828761 h 6851544"/>
              <a:gd name="connsiteX2371" fmla="*/ 4966088 w 6901213"/>
              <a:gd name="connsiteY2371" fmla="*/ 6828229 h 6851544"/>
              <a:gd name="connsiteX2372" fmla="*/ 4965557 w 6901213"/>
              <a:gd name="connsiteY2372" fmla="*/ 6828761 h 6851544"/>
              <a:gd name="connsiteX2373" fmla="*/ 4966088 w 6901213"/>
              <a:gd name="connsiteY2373" fmla="*/ 6829292 h 6851544"/>
              <a:gd name="connsiteX2374" fmla="*/ 4966620 w 6901213"/>
              <a:gd name="connsiteY2374" fmla="*/ 6828761 h 6851544"/>
              <a:gd name="connsiteX2375" fmla="*/ 5084793 w 6901213"/>
              <a:gd name="connsiteY2375" fmla="*/ 6689019 h 6851544"/>
              <a:gd name="connsiteX2376" fmla="*/ 5083654 w 6901213"/>
              <a:gd name="connsiteY2376" fmla="*/ 6687879 h 6851544"/>
              <a:gd name="connsiteX2377" fmla="*/ 5082515 w 6901213"/>
              <a:gd name="connsiteY2377" fmla="*/ 6689019 h 6851544"/>
              <a:gd name="connsiteX2378" fmla="*/ 5083654 w 6901213"/>
              <a:gd name="connsiteY2378" fmla="*/ 6690158 h 6851544"/>
              <a:gd name="connsiteX2379" fmla="*/ 5084793 w 6901213"/>
              <a:gd name="connsiteY2379" fmla="*/ 6689019 h 6851544"/>
              <a:gd name="connsiteX2380" fmla="*/ 5195372 w 6901213"/>
              <a:gd name="connsiteY2380" fmla="*/ 6543277 h 6851544"/>
              <a:gd name="connsiteX2381" fmla="*/ 5193701 w 6901213"/>
              <a:gd name="connsiteY2381" fmla="*/ 6541606 h 6851544"/>
              <a:gd name="connsiteX2382" fmla="*/ 5192030 w 6901213"/>
              <a:gd name="connsiteY2382" fmla="*/ 6543277 h 6851544"/>
              <a:gd name="connsiteX2383" fmla="*/ 5193701 w 6901213"/>
              <a:gd name="connsiteY2383" fmla="*/ 6544947 h 6851544"/>
              <a:gd name="connsiteX2384" fmla="*/ 5195372 w 6901213"/>
              <a:gd name="connsiteY2384" fmla="*/ 6543277 h 6851544"/>
              <a:gd name="connsiteX2385" fmla="*/ 5298736 w 6901213"/>
              <a:gd name="connsiteY2385" fmla="*/ 6391915 h 6851544"/>
              <a:gd name="connsiteX2386" fmla="*/ 5295926 w 6901213"/>
              <a:gd name="connsiteY2386" fmla="*/ 6389105 h 6851544"/>
              <a:gd name="connsiteX2387" fmla="*/ 5293116 w 6901213"/>
              <a:gd name="connsiteY2387" fmla="*/ 6391915 h 6851544"/>
              <a:gd name="connsiteX2388" fmla="*/ 5295926 w 6901213"/>
              <a:gd name="connsiteY2388" fmla="*/ 6394725 h 6851544"/>
              <a:gd name="connsiteX2389" fmla="*/ 5298736 w 6901213"/>
              <a:gd name="connsiteY2389" fmla="*/ 6391915 h 6851544"/>
              <a:gd name="connsiteX2390" fmla="*/ 5393973 w 6901213"/>
              <a:gd name="connsiteY2390" fmla="*/ 6235312 h 6851544"/>
              <a:gd name="connsiteX2391" fmla="*/ 5390024 w 6901213"/>
              <a:gd name="connsiteY2391" fmla="*/ 6231363 h 6851544"/>
              <a:gd name="connsiteX2392" fmla="*/ 5386074 w 6901213"/>
              <a:gd name="connsiteY2392" fmla="*/ 6235312 h 6851544"/>
              <a:gd name="connsiteX2393" fmla="*/ 5390024 w 6901213"/>
              <a:gd name="connsiteY2393" fmla="*/ 6239261 h 6851544"/>
              <a:gd name="connsiteX2394" fmla="*/ 5393973 w 6901213"/>
              <a:gd name="connsiteY2394" fmla="*/ 6235312 h 6851544"/>
              <a:gd name="connsiteX2395" fmla="*/ 5480856 w 6901213"/>
              <a:gd name="connsiteY2395" fmla="*/ 6074077 h 6851544"/>
              <a:gd name="connsiteX2396" fmla="*/ 5475768 w 6901213"/>
              <a:gd name="connsiteY2396" fmla="*/ 6068988 h 6851544"/>
              <a:gd name="connsiteX2397" fmla="*/ 5470679 w 6901213"/>
              <a:gd name="connsiteY2397" fmla="*/ 6074077 h 6851544"/>
              <a:gd name="connsiteX2398" fmla="*/ 5475768 w 6901213"/>
              <a:gd name="connsiteY2398" fmla="*/ 6079166 h 6851544"/>
              <a:gd name="connsiteX2399" fmla="*/ 5480856 w 6901213"/>
              <a:gd name="connsiteY2399" fmla="*/ 6074077 h 6851544"/>
              <a:gd name="connsiteX2400" fmla="*/ 5559006 w 6901213"/>
              <a:gd name="connsiteY2400" fmla="*/ 5908437 h 6851544"/>
              <a:gd name="connsiteX2401" fmla="*/ 5552778 w 6901213"/>
              <a:gd name="connsiteY2401" fmla="*/ 5902209 h 6851544"/>
              <a:gd name="connsiteX2402" fmla="*/ 5546550 w 6901213"/>
              <a:gd name="connsiteY2402" fmla="*/ 5908437 h 6851544"/>
              <a:gd name="connsiteX2403" fmla="*/ 5552778 w 6901213"/>
              <a:gd name="connsiteY2403" fmla="*/ 5914664 h 6851544"/>
              <a:gd name="connsiteX2404" fmla="*/ 5559006 w 6901213"/>
              <a:gd name="connsiteY2404" fmla="*/ 5908437 h 6851544"/>
              <a:gd name="connsiteX2405" fmla="*/ 5628345 w 6901213"/>
              <a:gd name="connsiteY2405" fmla="*/ 5738999 h 6851544"/>
              <a:gd name="connsiteX2406" fmla="*/ 5620978 w 6901213"/>
              <a:gd name="connsiteY2406" fmla="*/ 5731633 h 6851544"/>
              <a:gd name="connsiteX2407" fmla="*/ 5613611 w 6901213"/>
              <a:gd name="connsiteY2407" fmla="*/ 5738999 h 6851544"/>
              <a:gd name="connsiteX2408" fmla="*/ 5620978 w 6901213"/>
              <a:gd name="connsiteY2408" fmla="*/ 5746366 h 6851544"/>
              <a:gd name="connsiteX2409" fmla="*/ 5628345 w 6901213"/>
              <a:gd name="connsiteY2409" fmla="*/ 5738999 h 6851544"/>
              <a:gd name="connsiteX2410" fmla="*/ 5689254 w 6901213"/>
              <a:gd name="connsiteY2410" fmla="*/ 5566220 h 6851544"/>
              <a:gd name="connsiteX2411" fmla="*/ 5680216 w 6901213"/>
              <a:gd name="connsiteY2411" fmla="*/ 5557183 h 6851544"/>
              <a:gd name="connsiteX2412" fmla="*/ 5671179 w 6901213"/>
              <a:gd name="connsiteY2412" fmla="*/ 5566220 h 6851544"/>
              <a:gd name="connsiteX2413" fmla="*/ 5680216 w 6901213"/>
              <a:gd name="connsiteY2413" fmla="*/ 5575258 h 6851544"/>
              <a:gd name="connsiteX2414" fmla="*/ 5689254 w 6901213"/>
              <a:gd name="connsiteY2414" fmla="*/ 5566220 h 6851544"/>
              <a:gd name="connsiteX2415" fmla="*/ 5740974 w 6901213"/>
              <a:gd name="connsiteY2415" fmla="*/ 5390479 h 6851544"/>
              <a:gd name="connsiteX2416" fmla="*/ 5730266 w 6901213"/>
              <a:gd name="connsiteY2416" fmla="*/ 5379771 h 6851544"/>
              <a:gd name="connsiteX2417" fmla="*/ 5719557 w 6901213"/>
              <a:gd name="connsiteY2417" fmla="*/ 5390479 h 6851544"/>
              <a:gd name="connsiteX2418" fmla="*/ 5730266 w 6901213"/>
              <a:gd name="connsiteY2418" fmla="*/ 5401188 h 6851544"/>
              <a:gd name="connsiteX2419" fmla="*/ 5740974 w 6901213"/>
              <a:gd name="connsiteY2419" fmla="*/ 5390479 h 6851544"/>
              <a:gd name="connsiteX2420" fmla="*/ 5783276 w 6901213"/>
              <a:gd name="connsiteY2420" fmla="*/ 5212460 h 6851544"/>
              <a:gd name="connsiteX2421" fmla="*/ 5770821 w 6901213"/>
              <a:gd name="connsiteY2421" fmla="*/ 5200005 h 6851544"/>
              <a:gd name="connsiteX2422" fmla="*/ 5758366 w 6901213"/>
              <a:gd name="connsiteY2422" fmla="*/ 5212460 h 6851544"/>
              <a:gd name="connsiteX2423" fmla="*/ 5770821 w 6901213"/>
              <a:gd name="connsiteY2423" fmla="*/ 5224915 h 6851544"/>
              <a:gd name="connsiteX2424" fmla="*/ 5783276 w 6901213"/>
              <a:gd name="connsiteY2424" fmla="*/ 5212460 h 6851544"/>
              <a:gd name="connsiteX2425" fmla="*/ 5816161 w 6901213"/>
              <a:gd name="connsiteY2425" fmla="*/ 5032466 h 6851544"/>
              <a:gd name="connsiteX2426" fmla="*/ 5802035 w 6901213"/>
              <a:gd name="connsiteY2426" fmla="*/ 5018340 h 6851544"/>
              <a:gd name="connsiteX2427" fmla="*/ 5787909 w 6901213"/>
              <a:gd name="connsiteY2427" fmla="*/ 5032466 h 6851544"/>
              <a:gd name="connsiteX2428" fmla="*/ 5802035 w 6901213"/>
              <a:gd name="connsiteY2428" fmla="*/ 5046592 h 6851544"/>
              <a:gd name="connsiteX2429" fmla="*/ 5816161 w 6901213"/>
              <a:gd name="connsiteY2429" fmla="*/ 5032466 h 6851544"/>
              <a:gd name="connsiteX2430" fmla="*/ 5839477 w 6901213"/>
              <a:gd name="connsiteY2430" fmla="*/ 4851105 h 6851544"/>
              <a:gd name="connsiteX2431" fmla="*/ 5823680 w 6901213"/>
              <a:gd name="connsiteY2431" fmla="*/ 4835308 h 6851544"/>
              <a:gd name="connsiteX2432" fmla="*/ 5807883 w 6901213"/>
              <a:gd name="connsiteY2432" fmla="*/ 4851105 h 6851544"/>
              <a:gd name="connsiteX2433" fmla="*/ 5823680 w 6901213"/>
              <a:gd name="connsiteY2433" fmla="*/ 4866902 h 6851544"/>
              <a:gd name="connsiteX2434" fmla="*/ 5839477 w 6901213"/>
              <a:gd name="connsiteY2434" fmla="*/ 4851105 h 6851544"/>
              <a:gd name="connsiteX2435" fmla="*/ 5853224 w 6901213"/>
              <a:gd name="connsiteY2435" fmla="*/ 4668833 h 6851544"/>
              <a:gd name="connsiteX2436" fmla="*/ 5835756 w 6901213"/>
              <a:gd name="connsiteY2436" fmla="*/ 4651365 h 6851544"/>
              <a:gd name="connsiteX2437" fmla="*/ 5818288 w 6901213"/>
              <a:gd name="connsiteY2437" fmla="*/ 4668833 h 6851544"/>
              <a:gd name="connsiteX2438" fmla="*/ 5835756 w 6901213"/>
              <a:gd name="connsiteY2438" fmla="*/ 4686300 h 6851544"/>
              <a:gd name="connsiteX2439" fmla="*/ 5853224 w 6901213"/>
              <a:gd name="connsiteY2439" fmla="*/ 4668833 h 6851544"/>
              <a:gd name="connsiteX2440" fmla="*/ 5857324 w 6901213"/>
              <a:gd name="connsiteY2440" fmla="*/ 4486181 h 6851544"/>
              <a:gd name="connsiteX2441" fmla="*/ 5838110 w 6901213"/>
              <a:gd name="connsiteY2441" fmla="*/ 4466966 h 6851544"/>
              <a:gd name="connsiteX2442" fmla="*/ 5818895 w 6901213"/>
              <a:gd name="connsiteY2442" fmla="*/ 4486181 h 6851544"/>
              <a:gd name="connsiteX2443" fmla="*/ 5838110 w 6901213"/>
              <a:gd name="connsiteY2443" fmla="*/ 4505395 h 6851544"/>
              <a:gd name="connsiteX2444" fmla="*/ 5857324 w 6901213"/>
              <a:gd name="connsiteY2444" fmla="*/ 4486181 h 6851544"/>
              <a:gd name="connsiteX2445" fmla="*/ 5852388 w 6901213"/>
              <a:gd name="connsiteY2445" fmla="*/ 4303680 h 6851544"/>
              <a:gd name="connsiteX2446" fmla="*/ 5830971 w 6901213"/>
              <a:gd name="connsiteY2446" fmla="*/ 4282263 h 6851544"/>
              <a:gd name="connsiteX2447" fmla="*/ 5809554 w 6901213"/>
              <a:gd name="connsiteY2447" fmla="*/ 4303680 h 6851544"/>
              <a:gd name="connsiteX2448" fmla="*/ 5830971 w 6901213"/>
              <a:gd name="connsiteY2448" fmla="*/ 4325097 h 6851544"/>
              <a:gd name="connsiteX2449" fmla="*/ 5852388 w 6901213"/>
              <a:gd name="connsiteY2449" fmla="*/ 4303680 h 6851544"/>
              <a:gd name="connsiteX2450" fmla="*/ 5837199 w 6901213"/>
              <a:gd name="connsiteY2450" fmla="*/ 4121787 h 6851544"/>
              <a:gd name="connsiteX2451" fmla="*/ 5814035 w 6901213"/>
              <a:gd name="connsiteY2451" fmla="*/ 4098623 h 6851544"/>
              <a:gd name="connsiteX2452" fmla="*/ 5790871 w 6901213"/>
              <a:gd name="connsiteY2452" fmla="*/ 4121787 h 6851544"/>
              <a:gd name="connsiteX2453" fmla="*/ 5814035 w 6901213"/>
              <a:gd name="connsiteY2453" fmla="*/ 4144951 h 6851544"/>
              <a:gd name="connsiteX2454" fmla="*/ 5837199 w 6901213"/>
              <a:gd name="connsiteY2454" fmla="*/ 4121787 h 6851544"/>
              <a:gd name="connsiteX2455" fmla="*/ 5812516 w 6901213"/>
              <a:gd name="connsiteY2455" fmla="*/ 3941034 h 6851544"/>
              <a:gd name="connsiteX2456" fmla="*/ 5787681 w 6901213"/>
              <a:gd name="connsiteY2456" fmla="*/ 3916199 h 6851544"/>
              <a:gd name="connsiteX2457" fmla="*/ 5762847 w 6901213"/>
              <a:gd name="connsiteY2457" fmla="*/ 3941034 h 6851544"/>
              <a:gd name="connsiteX2458" fmla="*/ 5787681 w 6901213"/>
              <a:gd name="connsiteY2458" fmla="*/ 3965868 h 6851544"/>
              <a:gd name="connsiteX2459" fmla="*/ 5812516 w 6901213"/>
              <a:gd name="connsiteY2459" fmla="*/ 3941034 h 6851544"/>
              <a:gd name="connsiteX2460" fmla="*/ 5778264 w 6901213"/>
              <a:gd name="connsiteY2460" fmla="*/ 3761951 h 6851544"/>
              <a:gd name="connsiteX2461" fmla="*/ 5751759 w 6901213"/>
              <a:gd name="connsiteY2461" fmla="*/ 3735446 h 6851544"/>
              <a:gd name="connsiteX2462" fmla="*/ 5725253 w 6901213"/>
              <a:gd name="connsiteY2462" fmla="*/ 3761951 h 6851544"/>
              <a:gd name="connsiteX2463" fmla="*/ 5751759 w 6901213"/>
              <a:gd name="connsiteY2463" fmla="*/ 3788457 h 6851544"/>
              <a:gd name="connsiteX2464" fmla="*/ 5778264 w 6901213"/>
              <a:gd name="connsiteY2464" fmla="*/ 3761951 h 6851544"/>
              <a:gd name="connsiteX2465" fmla="*/ 5734595 w 6901213"/>
              <a:gd name="connsiteY2465" fmla="*/ 3584995 h 6851544"/>
              <a:gd name="connsiteX2466" fmla="*/ 5706342 w 6901213"/>
              <a:gd name="connsiteY2466" fmla="*/ 3556819 h 6851544"/>
              <a:gd name="connsiteX2467" fmla="*/ 5678090 w 6901213"/>
              <a:gd name="connsiteY2467" fmla="*/ 3584995 h 6851544"/>
              <a:gd name="connsiteX2468" fmla="*/ 5706342 w 6901213"/>
              <a:gd name="connsiteY2468" fmla="*/ 3613247 h 6851544"/>
              <a:gd name="connsiteX2469" fmla="*/ 5734595 w 6901213"/>
              <a:gd name="connsiteY2469" fmla="*/ 3584995 h 6851544"/>
              <a:gd name="connsiteX2470" fmla="*/ 5681128 w 6901213"/>
              <a:gd name="connsiteY2470" fmla="*/ 3410697 h 6851544"/>
              <a:gd name="connsiteX2471" fmla="*/ 5651812 w 6901213"/>
              <a:gd name="connsiteY2471" fmla="*/ 3381381 h 6851544"/>
              <a:gd name="connsiteX2472" fmla="*/ 5622497 w 6901213"/>
              <a:gd name="connsiteY2472" fmla="*/ 3410697 h 6851544"/>
              <a:gd name="connsiteX2473" fmla="*/ 5651812 w 6901213"/>
              <a:gd name="connsiteY2473" fmla="*/ 3440012 h 6851544"/>
              <a:gd name="connsiteX2474" fmla="*/ 5681128 w 6901213"/>
              <a:gd name="connsiteY2474" fmla="*/ 3410697 h 6851544"/>
              <a:gd name="connsiteX2475" fmla="*/ 5619079 w 6901213"/>
              <a:gd name="connsiteY2475" fmla="*/ 3239513 h 6851544"/>
              <a:gd name="connsiteX2476" fmla="*/ 5588017 w 6901213"/>
              <a:gd name="connsiteY2476" fmla="*/ 3208451 h 6851544"/>
              <a:gd name="connsiteX2477" fmla="*/ 5556955 w 6901213"/>
              <a:gd name="connsiteY2477" fmla="*/ 3239513 h 6851544"/>
              <a:gd name="connsiteX2478" fmla="*/ 5588017 w 6901213"/>
              <a:gd name="connsiteY2478" fmla="*/ 3270575 h 6851544"/>
              <a:gd name="connsiteX2479" fmla="*/ 5619079 w 6901213"/>
              <a:gd name="connsiteY2479" fmla="*/ 3239513 h 6851544"/>
              <a:gd name="connsiteX2480" fmla="*/ 5547537 w 6901213"/>
              <a:gd name="connsiteY2480" fmla="*/ 3071974 h 6851544"/>
              <a:gd name="connsiteX2481" fmla="*/ 5515336 w 6901213"/>
              <a:gd name="connsiteY2481" fmla="*/ 3039773 h 6851544"/>
              <a:gd name="connsiteX2482" fmla="*/ 5483134 w 6901213"/>
              <a:gd name="connsiteY2482" fmla="*/ 3071974 h 6851544"/>
              <a:gd name="connsiteX2483" fmla="*/ 5515336 w 6901213"/>
              <a:gd name="connsiteY2483" fmla="*/ 3104175 h 6851544"/>
              <a:gd name="connsiteX2484" fmla="*/ 5547537 w 6901213"/>
              <a:gd name="connsiteY2484" fmla="*/ 3071974 h 6851544"/>
              <a:gd name="connsiteX2485" fmla="*/ 5467262 w 6901213"/>
              <a:gd name="connsiteY2485" fmla="*/ 2908461 h 6851544"/>
              <a:gd name="connsiteX2486" fmla="*/ 5433921 w 6901213"/>
              <a:gd name="connsiteY2486" fmla="*/ 2875196 h 6851544"/>
              <a:gd name="connsiteX2487" fmla="*/ 5400656 w 6901213"/>
              <a:gd name="connsiteY2487" fmla="*/ 2908461 h 6851544"/>
              <a:gd name="connsiteX2488" fmla="*/ 5433921 w 6901213"/>
              <a:gd name="connsiteY2488" fmla="*/ 2941725 h 6851544"/>
              <a:gd name="connsiteX2489" fmla="*/ 5467262 w 6901213"/>
              <a:gd name="connsiteY2489" fmla="*/ 2908461 h 6851544"/>
              <a:gd name="connsiteX2490" fmla="*/ 5378480 w 6901213"/>
              <a:gd name="connsiteY2490" fmla="*/ 2749504 h 6851544"/>
              <a:gd name="connsiteX2491" fmla="*/ 5344076 w 6901213"/>
              <a:gd name="connsiteY2491" fmla="*/ 2715100 h 6851544"/>
              <a:gd name="connsiteX2492" fmla="*/ 5309672 w 6901213"/>
              <a:gd name="connsiteY2492" fmla="*/ 2749504 h 6851544"/>
              <a:gd name="connsiteX2493" fmla="*/ 5344076 w 6901213"/>
              <a:gd name="connsiteY2493" fmla="*/ 2783908 h 6851544"/>
              <a:gd name="connsiteX2494" fmla="*/ 5378480 w 6901213"/>
              <a:gd name="connsiteY2494" fmla="*/ 2749504 h 6851544"/>
              <a:gd name="connsiteX2495" fmla="*/ 5280812 w 6901213"/>
              <a:gd name="connsiteY2495" fmla="*/ 2595484 h 6851544"/>
              <a:gd name="connsiteX2496" fmla="*/ 5245800 w 6901213"/>
              <a:gd name="connsiteY2496" fmla="*/ 2560472 h 6851544"/>
              <a:gd name="connsiteX2497" fmla="*/ 5210789 w 6901213"/>
              <a:gd name="connsiteY2497" fmla="*/ 2595484 h 6851544"/>
              <a:gd name="connsiteX2498" fmla="*/ 5245800 w 6901213"/>
              <a:gd name="connsiteY2498" fmla="*/ 2630495 h 6851544"/>
              <a:gd name="connsiteX2499" fmla="*/ 5280812 w 6901213"/>
              <a:gd name="connsiteY2499" fmla="*/ 2595484 h 6851544"/>
              <a:gd name="connsiteX2500" fmla="*/ 5175170 w 6901213"/>
              <a:gd name="connsiteY2500" fmla="*/ 2446856 h 6851544"/>
              <a:gd name="connsiteX2501" fmla="*/ 5139627 w 6901213"/>
              <a:gd name="connsiteY2501" fmla="*/ 2411313 h 6851544"/>
              <a:gd name="connsiteX2502" fmla="*/ 5104084 w 6901213"/>
              <a:gd name="connsiteY2502" fmla="*/ 2446856 h 6851544"/>
              <a:gd name="connsiteX2503" fmla="*/ 5139627 w 6901213"/>
              <a:gd name="connsiteY2503" fmla="*/ 2482399 h 6851544"/>
              <a:gd name="connsiteX2504" fmla="*/ 5175170 w 6901213"/>
              <a:gd name="connsiteY2504" fmla="*/ 2446856 h 6851544"/>
              <a:gd name="connsiteX2505" fmla="*/ 5061857 w 6901213"/>
              <a:gd name="connsiteY2505" fmla="*/ 2304000 h 6851544"/>
              <a:gd name="connsiteX2506" fmla="*/ 5025707 w 6901213"/>
              <a:gd name="connsiteY2506" fmla="*/ 2267849 h 6851544"/>
              <a:gd name="connsiteX2507" fmla="*/ 4989556 w 6901213"/>
              <a:gd name="connsiteY2507" fmla="*/ 2304000 h 6851544"/>
              <a:gd name="connsiteX2508" fmla="*/ 5025707 w 6901213"/>
              <a:gd name="connsiteY2508" fmla="*/ 2340150 h 6851544"/>
              <a:gd name="connsiteX2509" fmla="*/ 5061857 w 6901213"/>
              <a:gd name="connsiteY2509" fmla="*/ 2304000 h 6851544"/>
              <a:gd name="connsiteX2510" fmla="*/ 4941178 w 6901213"/>
              <a:gd name="connsiteY2510" fmla="*/ 2167447 h 6851544"/>
              <a:gd name="connsiteX2511" fmla="*/ 4904496 w 6901213"/>
              <a:gd name="connsiteY2511" fmla="*/ 2130765 h 6851544"/>
              <a:gd name="connsiteX2512" fmla="*/ 4867813 w 6901213"/>
              <a:gd name="connsiteY2512" fmla="*/ 2167447 h 6851544"/>
              <a:gd name="connsiteX2513" fmla="*/ 4904496 w 6901213"/>
              <a:gd name="connsiteY2513" fmla="*/ 2204129 h 6851544"/>
              <a:gd name="connsiteX2514" fmla="*/ 4941178 w 6901213"/>
              <a:gd name="connsiteY2514" fmla="*/ 2167447 h 6851544"/>
              <a:gd name="connsiteX2515" fmla="*/ 4812903 w 6901213"/>
              <a:gd name="connsiteY2515" fmla="*/ 2037426 h 6851544"/>
              <a:gd name="connsiteX2516" fmla="*/ 4776221 w 6901213"/>
              <a:gd name="connsiteY2516" fmla="*/ 2000744 h 6851544"/>
              <a:gd name="connsiteX2517" fmla="*/ 4739539 w 6901213"/>
              <a:gd name="connsiteY2517" fmla="*/ 2037426 h 6851544"/>
              <a:gd name="connsiteX2518" fmla="*/ 4776221 w 6901213"/>
              <a:gd name="connsiteY2518" fmla="*/ 2074108 h 6851544"/>
              <a:gd name="connsiteX2519" fmla="*/ 4812903 w 6901213"/>
              <a:gd name="connsiteY2519" fmla="*/ 2037426 h 6851544"/>
              <a:gd name="connsiteX2520" fmla="*/ 4677338 w 6901213"/>
              <a:gd name="connsiteY2520" fmla="*/ 1914392 h 6851544"/>
              <a:gd name="connsiteX2521" fmla="*/ 4641188 w 6901213"/>
              <a:gd name="connsiteY2521" fmla="*/ 1878241 h 6851544"/>
              <a:gd name="connsiteX2522" fmla="*/ 4605037 w 6901213"/>
              <a:gd name="connsiteY2522" fmla="*/ 1914392 h 6851544"/>
              <a:gd name="connsiteX2523" fmla="*/ 4641188 w 6901213"/>
              <a:gd name="connsiteY2523" fmla="*/ 1950543 h 6851544"/>
              <a:gd name="connsiteX2524" fmla="*/ 4677338 w 6901213"/>
              <a:gd name="connsiteY2524" fmla="*/ 1914392 h 6851544"/>
              <a:gd name="connsiteX2525" fmla="*/ 4536001 w 6901213"/>
              <a:gd name="connsiteY2525" fmla="*/ 1798573 h 6851544"/>
              <a:gd name="connsiteX2526" fmla="*/ 4499851 w 6901213"/>
              <a:gd name="connsiteY2526" fmla="*/ 1762499 h 6851544"/>
              <a:gd name="connsiteX2527" fmla="*/ 4463700 w 6901213"/>
              <a:gd name="connsiteY2527" fmla="*/ 1798573 h 6851544"/>
              <a:gd name="connsiteX2528" fmla="*/ 4499851 w 6901213"/>
              <a:gd name="connsiteY2528" fmla="*/ 1834724 h 6851544"/>
              <a:gd name="connsiteX2529" fmla="*/ 4536001 w 6901213"/>
              <a:gd name="connsiteY2529" fmla="*/ 1798573 h 6851544"/>
              <a:gd name="connsiteX2530" fmla="*/ 4388285 w 6901213"/>
              <a:gd name="connsiteY2530" fmla="*/ 1690501 h 6851544"/>
              <a:gd name="connsiteX2531" fmla="*/ 4352742 w 6901213"/>
              <a:gd name="connsiteY2531" fmla="*/ 1654958 h 6851544"/>
              <a:gd name="connsiteX2532" fmla="*/ 4317199 w 6901213"/>
              <a:gd name="connsiteY2532" fmla="*/ 1690501 h 6851544"/>
              <a:gd name="connsiteX2533" fmla="*/ 4352742 w 6901213"/>
              <a:gd name="connsiteY2533" fmla="*/ 1726044 h 6851544"/>
              <a:gd name="connsiteX2534" fmla="*/ 4388285 w 6901213"/>
              <a:gd name="connsiteY2534" fmla="*/ 1690501 h 6851544"/>
              <a:gd name="connsiteX2535" fmla="*/ 4234416 w 6901213"/>
              <a:gd name="connsiteY2535" fmla="*/ 1590251 h 6851544"/>
              <a:gd name="connsiteX2536" fmla="*/ 4200013 w 6901213"/>
              <a:gd name="connsiteY2536" fmla="*/ 1555847 h 6851544"/>
              <a:gd name="connsiteX2537" fmla="*/ 4165608 w 6901213"/>
              <a:gd name="connsiteY2537" fmla="*/ 1590251 h 6851544"/>
              <a:gd name="connsiteX2538" fmla="*/ 4200013 w 6901213"/>
              <a:gd name="connsiteY2538" fmla="*/ 1624655 h 6851544"/>
              <a:gd name="connsiteX2539" fmla="*/ 4234416 w 6901213"/>
              <a:gd name="connsiteY2539" fmla="*/ 1590251 h 6851544"/>
              <a:gd name="connsiteX2540" fmla="*/ 4075536 w 6901213"/>
              <a:gd name="connsiteY2540" fmla="*/ 1498203 h 6851544"/>
              <a:gd name="connsiteX2541" fmla="*/ 4042271 w 6901213"/>
              <a:gd name="connsiteY2541" fmla="*/ 1464939 h 6851544"/>
              <a:gd name="connsiteX2542" fmla="*/ 4008930 w 6901213"/>
              <a:gd name="connsiteY2542" fmla="*/ 1498203 h 6851544"/>
              <a:gd name="connsiteX2543" fmla="*/ 4042271 w 6901213"/>
              <a:gd name="connsiteY2543" fmla="*/ 1531468 h 6851544"/>
              <a:gd name="connsiteX2544" fmla="*/ 4075536 w 6901213"/>
              <a:gd name="connsiteY2544" fmla="*/ 1498203 h 6851544"/>
              <a:gd name="connsiteX2545" fmla="*/ 3911946 w 6901213"/>
              <a:gd name="connsiteY2545" fmla="*/ 1414662 h 6851544"/>
              <a:gd name="connsiteX2546" fmla="*/ 3879745 w 6901213"/>
              <a:gd name="connsiteY2546" fmla="*/ 1382536 h 6851544"/>
              <a:gd name="connsiteX2547" fmla="*/ 3847543 w 6901213"/>
              <a:gd name="connsiteY2547" fmla="*/ 1414662 h 6851544"/>
              <a:gd name="connsiteX2548" fmla="*/ 3879745 w 6901213"/>
              <a:gd name="connsiteY2548" fmla="*/ 1446863 h 6851544"/>
              <a:gd name="connsiteX2549" fmla="*/ 3911946 w 6901213"/>
              <a:gd name="connsiteY2549" fmla="*/ 1414662 h 6851544"/>
              <a:gd name="connsiteX2550" fmla="*/ 3744255 w 6901213"/>
              <a:gd name="connsiteY2550" fmla="*/ 1339778 h 6851544"/>
              <a:gd name="connsiteX2551" fmla="*/ 3713193 w 6901213"/>
              <a:gd name="connsiteY2551" fmla="*/ 1308716 h 6851544"/>
              <a:gd name="connsiteX2552" fmla="*/ 3682131 w 6901213"/>
              <a:gd name="connsiteY2552" fmla="*/ 1339778 h 6851544"/>
              <a:gd name="connsiteX2553" fmla="*/ 3713193 w 6901213"/>
              <a:gd name="connsiteY2553" fmla="*/ 1370841 h 6851544"/>
              <a:gd name="connsiteX2554" fmla="*/ 3744255 w 6901213"/>
              <a:gd name="connsiteY2554" fmla="*/ 1339778 h 6851544"/>
              <a:gd name="connsiteX2555" fmla="*/ 3572767 w 6901213"/>
              <a:gd name="connsiteY2555" fmla="*/ 1273781 h 6851544"/>
              <a:gd name="connsiteX2556" fmla="*/ 3542844 w 6901213"/>
              <a:gd name="connsiteY2556" fmla="*/ 1243857 h 6851544"/>
              <a:gd name="connsiteX2557" fmla="*/ 3512921 w 6901213"/>
              <a:gd name="connsiteY2557" fmla="*/ 1273781 h 6851544"/>
              <a:gd name="connsiteX2558" fmla="*/ 3542844 w 6901213"/>
              <a:gd name="connsiteY2558" fmla="*/ 1303704 h 6851544"/>
              <a:gd name="connsiteX2559" fmla="*/ 3572767 w 6901213"/>
              <a:gd name="connsiteY2559" fmla="*/ 1273781 h 6851544"/>
              <a:gd name="connsiteX2560" fmla="*/ 3398090 w 6901213"/>
              <a:gd name="connsiteY2560" fmla="*/ 1216896 h 6851544"/>
              <a:gd name="connsiteX2561" fmla="*/ 3369306 w 6901213"/>
              <a:gd name="connsiteY2561" fmla="*/ 1188113 h 6851544"/>
              <a:gd name="connsiteX2562" fmla="*/ 3340522 w 6901213"/>
              <a:gd name="connsiteY2562" fmla="*/ 1216896 h 6851544"/>
              <a:gd name="connsiteX2563" fmla="*/ 3369306 w 6901213"/>
              <a:gd name="connsiteY2563" fmla="*/ 1245680 h 6851544"/>
              <a:gd name="connsiteX2564" fmla="*/ 3398090 w 6901213"/>
              <a:gd name="connsiteY2564" fmla="*/ 1216896 h 6851544"/>
              <a:gd name="connsiteX2565" fmla="*/ 3220070 w 6901213"/>
              <a:gd name="connsiteY2565" fmla="*/ 1169202 h 6851544"/>
              <a:gd name="connsiteX2566" fmla="*/ 3192957 w 6901213"/>
              <a:gd name="connsiteY2566" fmla="*/ 1142089 h 6851544"/>
              <a:gd name="connsiteX2567" fmla="*/ 3165844 w 6901213"/>
              <a:gd name="connsiteY2567" fmla="*/ 1169202 h 6851544"/>
              <a:gd name="connsiteX2568" fmla="*/ 3192957 w 6901213"/>
              <a:gd name="connsiteY2568" fmla="*/ 1196315 h 6851544"/>
              <a:gd name="connsiteX2569" fmla="*/ 3220070 w 6901213"/>
              <a:gd name="connsiteY2569" fmla="*/ 1169202 h 6851544"/>
              <a:gd name="connsiteX2570" fmla="*/ 3039773 w 6901213"/>
              <a:gd name="connsiteY2570" fmla="*/ 1130925 h 6851544"/>
              <a:gd name="connsiteX2571" fmla="*/ 3014406 w 6901213"/>
              <a:gd name="connsiteY2571" fmla="*/ 1105558 h 6851544"/>
              <a:gd name="connsiteX2572" fmla="*/ 2989040 w 6901213"/>
              <a:gd name="connsiteY2572" fmla="*/ 1130925 h 6851544"/>
              <a:gd name="connsiteX2573" fmla="*/ 3014406 w 6901213"/>
              <a:gd name="connsiteY2573" fmla="*/ 1156291 h 6851544"/>
              <a:gd name="connsiteX2574" fmla="*/ 3039773 w 6901213"/>
              <a:gd name="connsiteY2574" fmla="*/ 1130925 h 6851544"/>
              <a:gd name="connsiteX2575" fmla="*/ 2857728 w 6901213"/>
              <a:gd name="connsiteY2575" fmla="*/ 1102141 h 6851544"/>
              <a:gd name="connsiteX2576" fmla="*/ 2834033 w 6901213"/>
              <a:gd name="connsiteY2576" fmla="*/ 1078445 h 6851544"/>
              <a:gd name="connsiteX2577" fmla="*/ 2810337 w 6901213"/>
              <a:gd name="connsiteY2577" fmla="*/ 1102141 h 6851544"/>
              <a:gd name="connsiteX2578" fmla="*/ 2834033 w 6901213"/>
              <a:gd name="connsiteY2578" fmla="*/ 1125836 h 6851544"/>
              <a:gd name="connsiteX2579" fmla="*/ 2857728 w 6901213"/>
              <a:gd name="connsiteY2579" fmla="*/ 1102141 h 6851544"/>
              <a:gd name="connsiteX2580" fmla="*/ 2674392 w 6901213"/>
              <a:gd name="connsiteY2580" fmla="*/ 1082850 h 6851544"/>
              <a:gd name="connsiteX2581" fmla="*/ 2652368 w 6901213"/>
              <a:gd name="connsiteY2581" fmla="*/ 1060826 h 6851544"/>
              <a:gd name="connsiteX2582" fmla="*/ 2630343 w 6901213"/>
              <a:gd name="connsiteY2582" fmla="*/ 1082850 h 6851544"/>
              <a:gd name="connsiteX2583" fmla="*/ 2652368 w 6901213"/>
              <a:gd name="connsiteY2583" fmla="*/ 1104875 h 6851544"/>
              <a:gd name="connsiteX2584" fmla="*/ 2674392 w 6901213"/>
              <a:gd name="connsiteY2584" fmla="*/ 1082850 h 6851544"/>
              <a:gd name="connsiteX2585" fmla="*/ 2489690 w 6901213"/>
              <a:gd name="connsiteY2585" fmla="*/ 1073205 h 6851544"/>
              <a:gd name="connsiteX2586" fmla="*/ 2469943 w 6901213"/>
              <a:gd name="connsiteY2586" fmla="*/ 1053459 h 6851544"/>
              <a:gd name="connsiteX2587" fmla="*/ 2450197 w 6901213"/>
              <a:gd name="connsiteY2587" fmla="*/ 1073205 h 6851544"/>
              <a:gd name="connsiteX2588" fmla="*/ 2469943 w 6901213"/>
              <a:gd name="connsiteY2588" fmla="*/ 1092951 h 6851544"/>
              <a:gd name="connsiteX2589" fmla="*/ 2489690 w 6901213"/>
              <a:gd name="connsiteY2589" fmla="*/ 1073205 h 6851544"/>
              <a:gd name="connsiteX2590" fmla="*/ 2305366 w 6901213"/>
              <a:gd name="connsiteY2590" fmla="*/ 1073205 h 6851544"/>
              <a:gd name="connsiteX2591" fmla="*/ 2287291 w 6901213"/>
              <a:gd name="connsiteY2591" fmla="*/ 1055130 h 6851544"/>
              <a:gd name="connsiteX2592" fmla="*/ 2269216 w 6901213"/>
              <a:gd name="connsiteY2592" fmla="*/ 1073205 h 6851544"/>
              <a:gd name="connsiteX2593" fmla="*/ 2287291 w 6901213"/>
              <a:gd name="connsiteY2593" fmla="*/ 1091280 h 6851544"/>
              <a:gd name="connsiteX2594" fmla="*/ 2305366 w 6901213"/>
              <a:gd name="connsiteY2594" fmla="*/ 1073205 h 6851544"/>
              <a:gd name="connsiteX2595" fmla="*/ 2121271 w 6901213"/>
              <a:gd name="connsiteY2595" fmla="*/ 1082850 h 6851544"/>
              <a:gd name="connsiteX2596" fmla="*/ 2104943 w 6901213"/>
              <a:gd name="connsiteY2596" fmla="*/ 1066522 h 6851544"/>
              <a:gd name="connsiteX2597" fmla="*/ 2088538 w 6901213"/>
              <a:gd name="connsiteY2597" fmla="*/ 1082850 h 6851544"/>
              <a:gd name="connsiteX2598" fmla="*/ 2104943 w 6901213"/>
              <a:gd name="connsiteY2598" fmla="*/ 1099255 h 6851544"/>
              <a:gd name="connsiteX2599" fmla="*/ 2121271 w 6901213"/>
              <a:gd name="connsiteY2599" fmla="*/ 1082850 h 6851544"/>
              <a:gd name="connsiteX2600" fmla="*/ 1937936 w 6901213"/>
              <a:gd name="connsiteY2600" fmla="*/ 1102141 h 6851544"/>
              <a:gd name="connsiteX2601" fmla="*/ 1923278 w 6901213"/>
              <a:gd name="connsiteY2601" fmla="*/ 1087483 h 6851544"/>
              <a:gd name="connsiteX2602" fmla="*/ 1908620 w 6901213"/>
              <a:gd name="connsiteY2602" fmla="*/ 1102141 h 6851544"/>
              <a:gd name="connsiteX2603" fmla="*/ 1923278 w 6901213"/>
              <a:gd name="connsiteY2603" fmla="*/ 1116798 h 6851544"/>
              <a:gd name="connsiteX2604" fmla="*/ 1937936 w 6901213"/>
              <a:gd name="connsiteY2604" fmla="*/ 1102141 h 6851544"/>
              <a:gd name="connsiteX2605" fmla="*/ 1755283 w 6901213"/>
              <a:gd name="connsiteY2605" fmla="*/ 1130925 h 6851544"/>
              <a:gd name="connsiteX2606" fmla="*/ 1742828 w 6901213"/>
              <a:gd name="connsiteY2606" fmla="*/ 1118545 h 6851544"/>
              <a:gd name="connsiteX2607" fmla="*/ 1730449 w 6901213"/>
              <a:gd name="connsiteY2607" fmla="*/ 1130925 h 6851544"/>
              <a:gd name="connsiteX2608" fmla="*/ 1742828 w 6901213"/>
              <a:gd name="connsiteY2608" fmla="*/ 1143380 h 6851544"/>
              <a:gd name="connsiteX2609" fmla="*/ 1755283 w 6901213"/>
              <a:gd name="connsiteY2609" fmla="*/ 1130925 h 6851544"/>
              <a:gd name="connsiteX2610" fmla="*/ 1574986 w 6901213"/>
              <a:gd name="connsiteY2610" fmla="*/ 1169202 h 6851544"/>
              <a:gd name="connsiteX2611" fmla="*/ 1564277 w 6901213"/>
              <a:gd name="connsiteY2611" fmla="*/ 1158493 h 6851544"/>
              <a:gd name="connsiteX2612" fmla="*/ 1553569 w 6901213"/>
              <a:gd name="connsiteY2612" fmla="*/ 1169202 h 6851544"/>
              <a:gd name="connsiteX2613" fmla="*/ 1564277 w 6901213"/>
              <a:gd name="connsiteY2613" fmla="*/ 1179910 h 6851544"/>
              <a:gd name="connsiteX2614" fmla="*/ 1574986 w 6901213"/>
              <a:gd name="connsiteY2614" fmla="*/ 1169202 h 6851544"/>
              <a:gd name="connsiteX2615" fmla="*/ 1396966 w 6901213"/>
              <a:gd name="connsiteY2615" fmla="*/ 1216896 h 6851544"/>
              <a:gd name="connsiteX2616" fmla="*/ 1387929 w 6901213"/>
              <a:gd name="connsiteY2616" fmla="*/ 1207859 h 6851544"/>
              <a:gd name="connsiteX2617" fmla="*/ 1378891 w 6901213"/>
              <a:gd name="connsiteY2617" fmla="*/ 1216896 h 6851544"/>
              <a:gd name="connsiteX2618" fmla="*/ 1387929 w 6901213"/>
              <a:gd name="connsiteY2618" fmla="*/ 1225934 h 6851544"/>
              <a:gd name="connsiteX2619" fmla="*/ 1396966 w 6901213"/>
              <a:gd name="connsiteY2619" fmla="*/ 1216896 h 6851544"/>
              <a:gd name="connsiteX2620" fmla="*/ 1222289 w 6901213"/>
              <a:gd name="connsiteY2620" fmla="*/ 1273781 h 6851544"/>
              <a:gd name="connsiteX2621" fmla="*/ 1214390 w 6901213"/>
              <a:gd name="connsiteY2621" fmla="*/ 1265882 h 6851544"/>
              <a:gd name="connsiteX2622" fmla="*/ 1206492 w 6901213"/>
              <a:gd name="connsiteY2622" fmla="*/ 1273781 h 6851544"/>
              <a:gd name="connsiteX2623" fmla="*/ 1214390 w 6901213"/>
              <a:gd name="connsiteY2623" fmla="*/ 1281679 h 6851544"/>
              <a:gd name="connsiteX2624" fmla="*/ 1222289 w 6901213"/>
              <a:gd name="connsiteY2624" fmla="*/ 1273781 h 6851544"/>
              <a:gd name="connsiteX2625" fmla="*/ 1050269 w 6901213"/>
              <a:gd name="connsiteY2625" fmla="*/ 1339778 h 6851544"/>
              <a:gd name="connsiteX2626" fmla="*/ 1044041 w 6901213"/>
              <a:gd name="connsiteY2626" fmla="*/ 1333551 h 6851544"/>
              <a:gd name="connsiteX2627" fmla="*/ 1037814 w 6901213"/>
              <a:gd name="connsiteY2627" fmla="*/ 1339778 h 6851544"/>
              <a:gd name="connsiteX2628" fmla="*/ 1044041 w 6901213"/>
              <a:gd name="connsiteY2628" fmla="*/ 1346006 h 6851544"/>
              <a:gd name="connsiteX2629" fmla="*/ 1050269 w 6901213"/>
              <a:gd name="connsiteY2629" fmla="*/ 1339778 h 6851544"/>
              <a:gd name="connsiteX2630" fmla="*/ 882578 w 6901213"/>
              <a:gd name="connsiteY2630" fmla="*/ 1414662 h 6851544"/>
              <a:gd name="connsiteX2631" fmla="*/ 877490 w 6901213"/>
              <a:gd name="connsiteY2631" fmla="*/ 1409574 h 6851544"/>
              <a:gd name="connsiteX2632" fmla="*/ 872401 w 6901213"/>
              <a:gd name="connsiteY2632" fmla="*/ 1414662 h 6851544"/>
              <a:gd name="connsiteX2633" fmla="*/ 877490 w 6901213"/>
              <a:gd name="connsiteY2633" fmla="*/ 1419750 h 6851544"/>
              <a:gd name="connsiteX2634" fmla="*/ 882578 w 6901213"/>
              <a:gd name="connsiteY2634" fmla="*/ 1414662 h 6851544"/>
              <a:gd name="connsiteX2635" fmla="*/ 718989 w 6901213"/>
              <a:gd name="connsiteY2635" fmla="*/ 1498203 h 6851544"/>
              <a:gd name="connsiteX2636" fmla="*/ 715040 w 6901213"/>
              <a:gd name="connsiteY2636" fmla="*/ 1494254 h 6851544"/>
              <a:gd name="connsiteX2637" fmla="*/ 711090 w 6901213"/>
              <a:gd name="connsiteY2637" fmla="*/ 1498203 h 6851544"/>
              <a:gd name="connsiteX2638" fmla="*/ 715040 w 6901213"/>
              <a:gd name="connsiteY2638" fmla="*/ 1502153 h 6851544"/>
              <a:gd name="connsiteX2639" fmla="*/ 718989 w 6901213"/>
              <a:gd name="connsiteY2639" fmla="*/ 1498203 h 6851544"/>
              <a:gd name="connsiteX2640" fmla="*/ 560108 w 6901213"/>
              <a:gd name="connsiteY2640" fmla="*/ 1590251 h 6851544"/>
              <a:gd name="connsiteX2641" fmla="*/ 557298 w 6901213"/>
              <a:gd name="connsiteY2641" fmla="*/ 1587441 h 6851544"/>
              <a:gd name="connsiteX2642" fmla="*/ 554488 w 6901213"/>
              <a:gd name="connsiteY2642" fmla="*/ 1590251 h 6851544"/>
              <a:gd name="connsiteX2643" fmla="*/ 557298 w 6901213"/>
              <a:gd name="connsiteY2643" fmla="*/ 1593061 h 6851544"/>
              <a:gd name="connsiteX2644" fmla="*/ 560108 w 6901213"/>
              <a:gd name="connsiteY2644" fmla="*/ 1590251 h 6851544"/>
              <a:gd name="connsiteX2645" fmla="*/ 406847 w 6901213"/>
              <a:gd name="connsiteY2645" fmla="*/ 1690501 h 6851544"/>
              <a:gd name="connsiteX2646" fmla="*/ 404569 w 6901213"/>
              <a:gd name="connsiteY2646" fmla="*/ 1688222 h 6851544"/>
              <a:gd name="connsiteX2647" fmla="*/ 402290 w 6901213"/>
              <a:gd name="connsiteY2647" fmla="*/ 1690501 h 6851544"/>
              <a:gd name="connsiteX2648" fmla="*/ 404569 w 6901213"/>
              <a:gd name="connsiteY2648" fmla="*/ 1692779 h 6851544"/>
              <a:gd name="connsiteX2649" fmla="*/ 406847 w 6901213"/>
              <a:gd name="connsiteY2649" fmla="*/ 1690501 h 6851544"/>
              <a:gd name="connsiteX2650" fmla="*/ 258447 w 6901213"/>
              <a:gd name="connsiteY2650" fmla="*/ 1798573 h 6851544"/>
              <a:gd name="connsiteX2651" fmla="*/ 257308 w 6901213"/>
              <a:gd name="connsiteY2651" fmla="*/ 1797434 h 6851544"/>
              <a:gd name="connsiteX2652" fmla="*/ 256169 w 6901213"/>
              <a:gd name="connsiteY2652" fmla="*/ 1798573 h 6851544"/>
              <a:gd name="connsiteX2653" fmla="*/ 257308 w 6901213"/>
              <a:gd name="connsiteY2653" fmla="*/ 1799712 h 6851544"/>
              <a:gd name="connsiteX2654" fmla="*/ 258447 w 6901213"/>
              <a:gd name="connsiteY2654" fmla="*/ 1798573 h 6851544"/>
              <a:gd name="connsiteX2655" fmla="*/ 5243902 w 6901213"/>
              <a:gd name="connsiteY2655" fmla="*/ 6815926 h 6851544"/>
              <a:gd name="connsiteX2656" fmla="*/ 5242763 w 6901213"/>
              <a:gd name="connsiteY2656" fmla="*/ 6814787 h 6851544"/>
              <a:gd name="connsiteX2657" fmla="*/ 5241623 w 6901213"/>
              <a:gd name="connsiteY2657" fmla="*/ 6815926 h 6851544"/>
              <a:gd name="connsiteX2658" fmla="*/ 5242763 w 6901213"/>
              <a:gd name="connsiteY2658" fmla="*/ 6817065 h 6851544"/>
              <a:gd name="connsiteX2659" fmla="*/ 5243902 w 6901213"/>
              <a:gd name="connsiteY2659" fmla="*/ 6815926 h 6851544"/>
              <a:gd name="connsiteX2660" fmla="*/ 5354708 w 6901213"/>
              <a:gd name="connsiteY2660" fmla="*/ 6670336 h 6851544"/>
              <a:gd name="connsiteX2661" fmla="*/ 5353038 w 6901213"/>
              <a:gd name="connsiteY2661" fmla="*/ 6668665 h 6851544"/>
              <a:gd name="connsiteX2662" fmla="*/ 5351367 w 6901213"/>
              <a:gd name="connsiteY2662" fmla="*/ 6670336 h 6851544"/>
              <a:gd name="connsiteX2663" fmla="*/ 5353038 w 6901213"/>
              <a:gd name="connsiteY2663" fmla="*/ 6672007 h 6851544"/>
              <a:gd name="connsiteX2664" fmla="*/ 5354708 w 6901213"/>
              <a:gd name="connsiteY2664" fmla="*/ 6670336 h 6851544"/>
              <a:gd name="connsiteX2665" fmla="*/ 5458756 w 6901213"/>
              <a:gd name="connsiteY2665" fmla="*/ 6519429 h 6851544"/>
              <a:gd name="connsiteX2666" fmla="*/ 5455946 w 6901213"/>
              <a:gd name="connsiteY2666" fmla="*/ 6516619 h 6851544"/>
              <a:gd name="connsiteX2667" fmla="*/ 5453136 w 6901213"/>
              <a:gd name="connsiteY2667" fmla="*/ 6519429 h 6851544"/>
              <a:gd name="connsiteX2668" fmla="*/ 5455946 w 6901213"/>
              <a:gd name="connsiteY2668" fmla="*/ 6522239 h 6851544"/>
              <a:gd name="connsiteX2669" fmla="*/ 5458756 w 6901213"/>
              <a:gd name="connsiteY2669" fmla="*/ 6519429 h 6851544"/>
              <a:gd name="connsiteX2670" fmla="*/ 5555132 w 6901213"/>
              <a:gd name="connsiteY2670" fmla="*/ 6363511 h 6851544"/>
              <a:gd name="connsiteX2671" fmla="*/ 5551183 w 6901213"/>
              <a:gd name="connsiteY2671" fmla="*/ 6359561 h 6851544"/>
              <a:gd name="connsiteX2672" fmla="*/ 5547233 w 6901213"/>
              <a:gd name="connsiteY2672" fmla="*/ 6363511 h 6851544"/>
              <a:gd name="connsiteX2673" fmla="*/ 5551183 w 6901213"/>
              <a:gd name="connsiteY2673" fmla="*/ 6367459 h 6851544"/>
              <a:gd name="connsiteX2674" fmla="*/ 5555132 w 6901213"/>
              <a:gd name="connsiteY2674" fmla="*/ 6363511 h 6851544"/>
              <a:gd name="connsiteX2675" fmla="*/ 5643610 w 6901213"/>
              <a:gd name="connsiteY2675" fmla="*/ 6203110 h 6851544"/>
              <a:gd name="connsiteX2676" fmla="*/ 5638522 w 6901213"/>
              <a:gd name="connsiteY2676" fmla="*/ 6198022 h 6851544"/>
              <a:gd name="connsiteX2677" fmla="*/ 5633433 w 6901213"/>
              <a:gd name="connsiteY2677" fmla="*/ 6203110 h 6851544"/>
              <a:gd name="connsiteX2678" fmla="*/ 5638522 w 6901213"/>
              <a:gd name="connsiteY2678" fmla="*/ 6208199 h 6851544"/>
              <a:gd name="connsiteX2679" fmla="*/ 5643610 w 6901213"/>
              <a:gd name="connsiteY2679" fmla="*/ 6203110 h 6851544"/>
              <a:gd name="connsiteX2680" fmla="*/ 5724038 w 6901213"/>
              <a:gd name="connsiteY2680" fmla="*/ 6038534 h 6851544"/>
              <a:gd name="connsiteX2681" fmla="*/ 5717810 w 6901213"/>
              <a:gd name="connsiteY2681" fmla="*/ 6032306 h 6851544"/>
              <a:gd name="connsiteX2682" fmla="*/ 5711582 w 6901213"/>
              <a:gd name="connsiteY2682" fmla="*/ 6038534 h 6851544"/>
              <a:gd name="connsiteX2683" fmla="*/ 5717810 w 6901213"/>
              <a:gd name="connsiteY2683" fmla="*/ 6044761 h 6851544"/>
              <a:gd name="connsiteX2684" fmla="*/ 5724038 w 6901213"/>
              <a:gd name="connsiteY2684" fmla="*/ 6038534 h 6851544"/>
              <a:gd name="connsiteX2685" fmla="*/ 5796643 w 6901213"/>
              <a:gd name="connsiteY2685" fmla="*/ 5870236 h 6851544"/>
              <a:gd name="connsiteX2686" fmla="*/ 5788745 w 6901213"/>
              <a:gd name="connsiteY2686" fmla="*/ 5862337 h 6851544"/>
              <a:gd name="connsiteX2687" fmla="*/ 5780846 w 6901213"/>
              <a:gd name="connsiteY2687" fmla="*/ 5870236 h 6851544"/>
              <a:gd name="connsiteX2688" fmla="*/ 5788745 w 6901213"/>
              <a:gd name="connsiteY2688" fmla="*/ 5878134 h 6851544"/>
              <a:gd name="connsiteX2689" fmla="*/ 5796643 w 6901213"/>
              <a:gd name="connsiteY2689" fmla="*/ 5870236 h 6851544"/>
              <a:gd name="connsiteX2690" fmla="*/ 5860287 w 6901213"/>
              <a:gd name="connsiteY2690" fmla="*/ 5698596 h 6851544"/>
              <a:gd name="connsiteX2691" fmla="*/ 5851249 w 6901213"/>
              <a:gd name="connsiteY2691" fmla="*/ 5689558 h 6851544"/>
              <a:gd name="connsiteX2692" fmla="*/ 5842211 w 6901213"/>
              <a:gd name="connsiteY2692" fmla="*/ 5698596 h 6851544"/>
              <a:gd name="connsiteX2693" fmla="*/ 5851249 w 6901213"/>
              <a:gd name="connsiteY2693" fmla="*/ 5707633 h 6851544"/>
              <a:gd name="connsiteX2694" fmla="*/ 5860287 w 6901213"/>
              <a:gd name="connsiteY2694" fmla="*/ 5698596 h 6851544"/>
              <a:gd name="connsiteX2695" fmla="*/ 5915804 w 6901213"/>
              <a:gd name="connsiteY2695" fmla="*/ 5524070 h 6851544"/>
              <a:gd name="connsiteX2696" fmla="*/ 5905095 w 6901213"/>
              <a:gd name="connsiteY2696" fmla="*/ 5513362 h 6851544"/>
              <a:gd name="connsiteX2697" fmla="*/ 5894387 w 6901213"/>
              <a:gd name="connsiteY2697" fmla="*/ 5524070 h 6851544"/>
              <a:gd name="connsiteX2698" fmla="*/ 5905095 w 6901213"/>
              <a:gd name="connsiteY2698" fmla="*/ 5534778 h 6851544"/>
              <a:gd name="connsiteX2699" fmla="*/ 5915804 w 6901213"/>
              <a:gd name="connsiteY2699" fmla="*/ 5524070 h 6851544"/>
              <a:gd name="connsiteX2700" fmla="*/ 5962587 w 6901213"/>
              <a:gd name="connsiteY2700" fmla="*/ 5347038 h 6851544"/>
              <a:gd name="connsiteX2701" fmla="*/ 5950132 w 6901213"/>
              <a:gd name="connsiteY2701" fmla="*/ 5334582 h 6851544"/>
              <a:gd name="connsiteX2702" fmla="*/ 5937676 w 6901213"/>
              <a:gd name="connsiteY2702" fmla="*/ 5347038 h 6851544"/>
              <a:gd name="connsiteX2703" fmla="*/ 5950132 w 6901213"/>
              <a:gd name="connsiteY2703" fmla="*/ 5359493 h 6851544"/>
              <a:gd name="connsiteX2704" fmla="*/ 5962587 w 6901213"/>
              <a:gd name="connsiteY2704" fmla="*/ 5347038 h 6851544"/>
              <a:gd name="connsiteX2705" fmla="*/ 6001016 w 6901213"/>
              <a:gd name="connsiteY2705" fmla="*/ 5167955 h 6851544"/>
              <a:gd name="connsiteX2706" fmla="*/ 5986358 w 6901213"/>
              <a:gd name="connsiteY2706" fmla="*/ 5153297 h 6851544"/>
              <a:gd name="connsiteX2707" fmla="*/ 5971700 w 6901213"/>
              <a:gd name="connsiteY2707" fmla="*/ 5167955 h 6851544"/>
              <a:gd name="connsiteX2708" fmla="*/ 5986358 w 6901213"/>
              <a:gd name="connsiteY2708" fmla="*/ 5182613 h 6851544"/>
              <a:gd name="connsiteX2709" fmla="*/ 6001016 w 6901213"/>
              <a:gd name="connsiteY2709" fmla="*/ 5167955 h 6851544"/>
              <a:gd name="connsiteX2710" fmla="*/ 6029951 w 6901213"/>
              <a:gd name="connsiteY2710" fmla="*/ 4987354 h 6851544"/>
              <a:gd name="connsiteX2711" fmla="*/ 6013623 w 6901213"/>
              <a:gd name="connsiteY2711" fmla="*/ 4971025 h 6851544"/>
              <a:gd name="connsiteX2712" fmla="*/ 5997218 w 6901213"/>
              <a:gd name="connsiteY2712" fmla="*/ 4987354 h 6851544"/>
              <a:gd name="connsiteX2713" fmla="*/ 6013623 w 6901213"/>
              <a:gd name="connsiteY2713" fmla="*/ 5003758 h 6851544"/>
              <a:gd name="connsiteX2714" fmla="*/ 6029951 w 6901213"/>
              <a:gd name="connsiteY2714" fmla="*/ 4987354 h 6851544"/>
              <a:gd name="connsiteX2715" fmla="*/ 6049774 w 6901213"/>
              <a:gd name="connsiteY2715" fmla="*/ 4805613 h 6851544"/>
              <a:gd name="connsiteX2716" fmla="*/ 6031699 w 6901213"/>
              <a:gd name="connsiteY2716" fmla="*/ 4787538 h 6851544"/>
              <a:gd name="connsiteX2717" fmla="*/ 6013623 w 6901213"/>
              <a:gd name="connsiteY2717" fmla="*/ 4805613 h 6851544"/>
              <a:gd name="connsiteX2718" fmla="*/ 6031699 w 6901213"/>
              <a:gd name="connsiteY2718" fmla="*/ 4823688 h 6851544"/>
              <a:gd name="connsiteX2719" fmla="*/ 6049774 w 6901213"/>
              <a:gd name="connsiteY2719" fmla="*/ 4805613 h 6851544"/>
              <a:gd name="connsiteX2720" fmla="*/ 6061166 w 6901213"/>
              <a:gd name="connsiteY2720" fmla="*/ 4623188 h 6851544"/>
              <a:gd name="connsiteX2721" fmla="*/ 6040812 w 6901213"/>
              <a:gd name="connsiteY2721" fmla="*/ 4602911 h 6851544"/>
              <a:gd name="connsiteX2722" fmla="*/ 6020458 w 6901213"/>
              <a:gd name="connsiteY2722" fmla="*/ 4623188 h 6851544"/>
              <a:gd name="connsiteX2723" fmla="*/ 6040812 w 6901213"/>
              <a:gd name="connsiteY2723" fmla="*/ 4643542 h 6851544"/>
              <a:gd name="connsiteX2724" fmla="*/ 6061166 w 6901213"/>
              <a:gd name="connsiteY2724" fmla="*/ 4623188 h 6851544"/>
              <a:gd name="connsiteX2725" fmla="*/ 6062837 w 6901213"/>
              <a:gd name="connsiteY2725" fmla="*/ 4440536 h 6851544"/>
              <a:gd name="connsiteX2726" fmla="*/ 6040812 w 6901213"/>
              <a:gd name="connsiteY2726" fmla="*/ 4418512 h 6851544"/>
              <a:gd name="connsiteX2727" fmla="*/ 6018788 w 6901213"/>
              <a:gd name="connsiteY2727" fmla="*/ 4440536 h 6851544"/>
              <a:gd name="connsiteX2728" fmla="*/ 6040812 w 6901213"/>
              <a:gd name="connsiteY2728" fmla="*/ 4462561 h 6851544"/>
              <a:gd name="connsiteX2729" fmla="*/ 6062837 w 6901213"/>
              <a:gd name="connsiteY2729" fmla="*/ 4440536 h 6851544"/>
              <a:gd name="connsiteX2730" fmla="*/ 6055470 w 6901213"/>
              <a:gd name="connsiteY2730" fmla="*/ 4258112 h 6851544"/>
              <a:gd name="connsiteX2731" fmla="*/ 6031775 w 6901213"/>
              <a:gd name="connsiteY2731" fmla="*/ 4234417 h 6851544"/>
              <a:gd name="connsiteX2732" fmla="*/ 6008079 w 6901213"/>
              <a:gd name="connsiteY2732" fmla="*/ 4258112 h 6851544"/>
              <a:gd name="connsiteX2733" fmla="*/ 6031775 w 6901213"/>
              <a:gd name="connsiteY2733" fmla="*/ 4281807 h 6851544"/>
              <a:gd name="connsiteX2734" fmla="*/ 6055470 w 6901213"/>
              <a:gd name="connsiteY2734" fmla="*/ 4258112 h 6851544"/>
              <a:gd name="connsiteX2735" fmla="*/ 6039521 w 6901213"/>
              <a:gd name="connsiteY2735" fmla="*/ 4076371 h 6851544"/>
              <a:gd name="connsiteX2736" fmla="*/ 6013547 w 6901213"/>
              <a:gd name="connsiteY2736" fmla="*/ 4050397 h 6851544"/>
              <a:gd name="connsiteX2737" fmla="*/ 5987573 w 6901213"/>
              <a:gd name="connsiteY2737" fmla="*/ 4076371 h 6851544"/>
              <a:gd name="connsiteX2738" fmla="*/ 6013547 w 6901213"/>
              <a:gd name="connsiteY2738" fmla="*/ 4102345 h 6851544"/>
              <a:gd name="connsiteX2739" fmla="*/ 6039521 w 6901213"/>
              <a:gd name="connsiteY2739" fmla="*/ 4076371 h 6851544"/>
              <a:gd name="connsiteX2740" fmla="*/ 6014003 w 6901213"/>
              <a:gd name="connsiteY2740" fmla="*/ 3895694 h 6851544"/>
              <a:gd name="connsiteX2741" fmla="*/ 5986358 w 6901213"/>
              <a:gd name="connsiteY2741" fmla="*/ 3868049 h 6851544"/>
              <a:gd name="connsiteX2742" fmla="*/ 5958714 w 6901213"/>
              <a:gd name="connsiteY2742" fmla="*/ 3895694 h 6851544"/>
              <a:gd name="connsiteX2743" fmla="*/ 5986358 w 6901213"/>
              <a:gd name="connsiteY2743" fmla="*/ 3923338 h 6851544"/>
              <a:gd name="connsiteX2744" fmla="*/ 6014003 w 6901213"/>
              <a:gd name="connsiteY2744" fmla="*/ 3895694 h 6851544"/>
              <a:gd name="connsiteX2745" fmla="*/ 5979523 w 6901213"/>
              <a:gd name="connsiteY2745" fmla="*/ 3716687 h 6851544"/>
              <a:gd name="connsiteX2746" fmla="*/ 5950207 w 6901213"/>
              <a:gd name="connsiteY2746" fmla="*/ 3687371 h 6851544"/>
              <a:gd name="connsiteX2747" fmla="*/ 5920892 w 6901213"/>
              <a:gd name="connsiteY2747" fmla="*/ 3716687 h 6851544"/>
              <a:gd name="connsiteX2748" fmla="*/ 5950207 w 6901213"/>
              <a:gd name="connsiteY2748" fmla="*/ 3746002 h 6851544"/>
              <a:gd name="connsiteX2749" fmla="*/ 5979523 w 6901213"/>
              <a:gd name="connsiteY2749" fmla="*/ 3716687 h 6851544"/>
              <a:gd name="connsiteX2750" fmla="*/ 5936081 w 6901213"/>
              <a:gd name="connsiteY2750" fmla="*/ 3539655 h 6851544"/>
              <a:gd name="connsiteX2751" fmla="*/ 5905019 w 6901213"/>
              <a:gd name="connsiteY2751" fmla="*/ 3508592 h 6851544"/>
              <a:gd name="connsiteX2752" fmla="*/ 5873957 w 6901213"/>
              <a:gd name="connsiteY2752" fmla="*/ 3539655 h 6851544"/>
              <a:gd name="connsiteX2753" fmla="*/ 5905019 w 6901213"/>
              <a:gd name="connsiteY2753" fmla="*/ 3570717 h 6851544"/>
              <a:gd name="connsiteX2754" fmla="*/ 5936081 w 6901213"/>
              <a:gd name="connsiteY2754" fmla="*/ 3539655 h 6851544"/>
              <a:gd name="connsiteX2755" fmla="*/ 5883982 w 6901213"/>
              <a:gd name="connsiteY2755" fmla="*/ 3365129 h 6851544"/>
              <a:gd name="connsiteX2756" fmla="*/ 5851249 w 6901213"/>
              <a:gd name="connsiteY2756" fmla="*/ 3332396 h 6851544"/>
              <a:gd name="connsiteX2757" fmla="*/ 5818516 w 6901213"/>
              <a:gd name="connsiteY2757" fmla="*/ 3365129 h 6851544"/>
              <a:gd name="connsiteX2758" fmla="*/ 5851249 w 6901213"/>
              <a:gd name="connsiteY2758" fmla="*/ 3397862 h 6851544"/>
              <a:gd name="connsiteX2759" fmla="*/ 5883982 w 6901213"/>
              <a:gd name="connsiteY2759" fmla="*/ 3365129 h 6851544"/>
              <a:gd name="connsiteX2760" fmla="*/ 5823148 w 6901213"/>
              <a:gd name="connsiteY2760" fmla="*/ 3193489 h 6851544"/>
              <a:gd name="connsiteX2761" fmla="*/ 5788745 w 6901213"/>
              <a:gd name="connsiteY2761" fmla="*/ 3159085 h 6851544"/>
              <a:gd name="connsiteX2762" fmla="*/ 5754341 w 6901213"/>
              <a:gd name="connsiteY2762" fmla="*/ 3193489 h 6851544"/>
              <a:gd name="connsiteX2763" fmla="*/ 5788745 w 6901213"/>
              <a:gd name="connsiteY2763" fmla="*/ 3227893 h 6851544"/>
              <a:gd name="connsiteX2764" fmla="*/ 5823148 w 6901213"/>
              <a:gd name="connsiteY2764" fmla="*/ 3193489 h 6851544"/>
              <a:gd name="connsiteX2765" fmla="*/ 5753353 w 6901213"/>
              <a:gd name="connsiteY2765" fmla="*/ 3025191 h 6851544"/>
              <a:gd name="connsiteX2766" fmla="*/ 5717810 w 6901213"/>
              <a:gd name="connsiteY2766" fmla="*/ 2989648 h 6851544"/>
              <a:gd name="connsiteX2767" fmla="*/ 5682267 w 6901213"/>
              <a:gd name="connsiteY2767" fmla="*/ 3025191 h 6851544"/>
              <a:gd name="connsiteX2768" fmla="*/ 5717810 w 6901213"/>
              <a:gd name="connsiteY2768" fmla="*/ 3060734 h 6851544"/>
              <a:gd name="connsiteX2769" fmla="*/ 5753353 w 6901213"/>
              <a:gd name="connsiteY2769" fmla="*/ 3025191 h 6851544"/>
              <a:gd name="connsiteX2770" fmla="*/ 5675812 w 6901213"/>
              <a:gd name="connsiteY2770" fmla="*/ 2860614 h 6851544"/>
              <a:gd name="connsiteX2771" fmla="*/ 5638598 w 6901213"/>
              <a:gd name="connsiteY2771" fmla="*/ 2823400 h 6851544"/>
              <a:gd name="connsiteX2772" fmla="*/ 5601308 w 6901213"/>
              <a:gd name="connsiteY2772" fmla="*/ 2860614 h 6851544"/>
              <a:gd name="connsiteX2773" fmla="*/ 5638598 w 6901213"/>
              <a:gd name="connsiteY2773" fmla="*/ 2897828 h 6851544"/>
              <a:gd name="connsiteX2774" fmla="*/ 5675812 w 6901213"/>
              <a:gd name="connsiteY2774" fmla="*/ 2860614 h 6851544"/>
              <a:gd name="connsiteX2775" fmla="*/ 5589004 w 6901213"/>
              <a:gd name="connsiteY2775" fmla="*/ 2700214 h 6851544"/>
              <a:gd name="connsiteX2776" fmla="*/ 5551183 w 6901213"/>
              <a:gd name="connsiteY2776" fmla="*/ 2662393 h 6851544"/>
              <a:gd name="connsiteX2777" fmla="*/ 5513361 w 6901213"/>
              <a:gd name="connsiteY2777" fmla="*/ 2700214 h 6851544"/>
              <a:gd name="connsiteX2778" fmla="*/ 5551183 w 6901213"/>
              <a:gd name="connsiteY2778" fmla="*/ 2738036 h 6851544"/>
              <a:gd name="connsiteX2779" fmla="*/ 5589004 w 6901213"/>
              <a:gd name="connsiteY2779" fmla="*/ 2700214 h 6851544"/>
              <a:gd name="connsiteX2780" fmla="*/ 5494906 w 6901213"/>
              <a:gd name="connsiteY2780" fmla="*/ 2544295 h 6851544"/>
              <a:gd name="connsiteX2781" fmla="*/ 5455946 w 6901213"/>
              <a:gd name="connsiteY2781" fmla="*/ 2505335 h 6851544"/>
              <a:gd name="connsiteX2782" fmla="*/ 5416985 w 6901213"/>
              <a:gd name="connsiteY2782" fmla="*/ 2544295 h 6851544"/>
              <a:gd name="connsiteX2783" fmla="*/ 5455946 w 6901213"/>
              <a:gd name="connsiteY2783" fmla="*/ 2583256 h 6851544"/>
              <a:gd name="connsiteX2784" fmla="*/ 5494906 w 6901213"/>
              <a:gd name="connsiteY2784" fmla="*/ 2544295 h 6851544"/>
              <a:gd name="connsiteX2785" fmla="*/ 5392530 w 6901213"/>
              <a:gd name="connsiteY2785" fmla="*/ 2393389 h 6851544"/>
              <a:gd name="connsiteX2786" fmla="*/ 5353038 w 6901213"/>
              <a:gd name="connsiteY2786" fmla="*/ 2353897 h 6851544"/>
              <a:gd name="connsiteX2787" fmla="*/ 5313545 w 6901213"/>
              <a:gd name="connsiteY2787" fmla="*/ 2393389 h 6851544"/>
              <a:gd name="connsiteX2788" fmla="*/ 5353038 w 6901213"/>
              <a:gd name="connsiteY2788" fmla="*/ 2432881 h 6851544"/>
              <a:gd name="connsiteX2789" fmla="*/ 5392530 w 6901213"/>
              <a:gd name="connsiteY2789" fmla="*/ 2393389 h 6851544"/>
              <a:gd name="connsiteX2790" fmla="*/ 5282787 w 6901213"/>
              <a:gd name="connsiteY2790" fmla="*/ 2247799 h 6851544"/>
              <a:gd name="connsiteX2791" fmla="*/ 5242687 w 6901213"/>
              <a:gd name="connsiteY2791" fmla="*/ 2207775 h 6851544"/>
              <a:gd name="connsiteX2792" fmla="*/ 5202587 w 6901213"/>
              <a:gd name="connsiteY2792" fmla="*/ 2247799 h 6851544"/>
              <a:gd name="connsiteX2793" fmla="*/ 5242687 w 6901213"/>
              <a:gd name="connsiteY2793" fmla="*/ 2287899 h 6851544"/>
              <a:gd name="connsiteX2794" fmla="*/ 5282787 w 6901213"/>
              <a:gd name="connsiteY2794" fmla="*/ 2247799 h 6851544"/>
              <a:gd name="connsiteX2795" fmla="*/ 5165981 w 6901213"/>
              <a:gd name="connsiteY2795" fmla="*/ 2107905 h 6851544"/>
              <a:gd name="connsiteX2796" fmla="*/ 5125349 w 6901213"/>
              <a:gd name="connsiteY2796" fmla="*/ 2067273 h 6851544"/>
              <a:gd name="connsiteX2797" fmla="*/ 5084717 w 6901213"/>
              <a:gd name="connsiteY2797" fmla="*/ 2107905 h 6851544"/>
              <a:gd name="connsiteX2798" fmla="*/ 5125349 w 6901213"/>
              <a:gd name="connsiteY2798" fmla="*/ 2148536 h 6851544"/>
              <a:gd name="connsiteX2799" fmla="*/ 5165981 w 6901213"/>
              <a:gd name="connsiteY2799" fmla="*/ 2107905 h 6851544"/>
              <a:gd name="connsiteX2800" fmla="*/ 5041731 w 6901213"/>
              <a:gd name="connsiteY2800" fmla="*/ 1973934 h 6851544"/>
              <a:gd name="connsiteX2801" fmla="*/ 5001100 w 6901213"/>
              <a:gd name="connsiteY2801" fmla="*/ 1933303 h 6851544"/>
              <a:gd name="connsiteX2802" fmla="*/ 4960468 w 6901213"/>
              <a:gd name="connsiteY2802" fmla="*/ 1973934 h 6851544"/>
              <a:gd name="connsiteX2803" fmla="*/ 5001100 w 6901213"/>
              <a:gd name="connsiteY2803" fmla="*/ 2014566 h 6851544"/>
              <a:gd name="connsiteX2804" fmla="*/ 5041731 w 6901213"/>
              <a:gd name="connsiteY2804" fmla="*/ 1973934 h 6851544"/>
              <a:gd name="connsiteX2805" fmla="*/ 4910951 w 6901213"/>
              <a:gd name="connsiteY2805" fmla="*/ 1846420 h 6851544"/>
              <a:gd name="connsiteX2806" fmla="*/ 4870320 w 6901213"/>
              <a:gd name="connsiteY2806" fmla="*/ 1805788 h 6851544"/>
              <a:gd name="connsiteX2807" fmla="*/ 4829688 w 6901213"/>
              <a:gd name="connsiteY2807" fmla="*/ 1846420 h 6851544"/>
              <a:gd name="connsiteX2808" fmla="*/ 4870320 w 6901213"/>
              <a:gd name="connsiteY2808" fmla="*/ 1887051 h 6851544"/>
              <a:gd name="connsiteX2809" fmla="*/ 4910951 w 6901213"/>
              <a:gd name="connsiteY2809" fmla="*/ 1846420 h 6851544"/>
              <a:gd name="connsiteX2810" fmla="*/ 4774019 w 6901213"/>
              <a:gd name="connsiteY2810" fmla="*/ 1725588 h 6851544"/>
              <a:gd name="connsiteX2811" fmla="*/ 4733387 w 6901213"/>
              <a:gd name="connsiteY2811" fmla="*/ 1684957 h 6851544"/>
              <a:gd name="connsiteX2812" fmla="*/ 4692756 w 6901213"/>
              <a:gd name="connsiteY2812" fmla="*/ 1725588 h 6851544"/>
              <a:gd name="connsiteX2813" fmla="*/ 4733387 w 6901213"/>
              <a:gd name="connsiteY2813" fmla="*/ 1766220 h 6851544"/>
              <a:gd name="connsiteX2814" fmla="*/ 4774019 w 6901213"/>
              <a:gd name="connsiteY2814" fmla="*/ 1725588 h 6851544"/>
              <a:gd name="connsiteX2815" fmla="*/ 4630631 w 6901213"/>
              <a:gd name="connsiteY2815" fmla="*/ 1611668 h 6851544"/>
              <a:gd name="connsiteX2816" fmla="*/ 4590531 w 6901213"/>
              <a:gd name="connsiteY2816" fmla="*/ 1571568 h 6851544"/>
              <a:gd name="connsiteX2817" fmla="*/ 4550431 w 6901213"/>
              <a:gd name="connsiteY2817" fmla="*/ 1611668 h 6851544"/>
              <a:gd name="connsiteX2818" fmla="*/ 4590531 w 6901213"/>
              <a:gd name="connsiteY2818" fmla="*/ 1651768 h 6851544"/>
              <a:gd name="connsiteX2819" fmla="*/ 4630631 w 6901213"/>
              <a:gd name="connsiteY2819" fmla="*/ 1611668 h 6851544"/>
              <a:gd name="connsiteX2820" fmla="*/ 4481775 w 6901213"/>
              <a:gd name="connsiteY2820" fmla="*/ 1505039 h 6851544"/>
              <a:gd name="connsiteX2821" fmla="*/ 4442283 w 6901213"/>
              <a:gd name="connsiteY2821" fmla="*/ 1465546 h 6851544"/>
              <a:gd name="connsiteX2822" fmla="*/ 4402790 w 6901213"/>
              <a:gd name="connsiteY2822" fmla="*/ 1505039 h 6851544"/>
              <a:gd name="connsiteX2823" fmla="*/ 4442283 w 6901213"/>
              <a:gd name="connsiteY2823" fmla="*/ 1544531 h 6851544"/>
              <a:gd name="connsiteX2824" fmla="*/ 4481775 w 6901213"/>
              <a:gd name="connsiteY2824" fmla="*/ 1505039 h 6851544"/>
              <a:gd name="connsiteX2825" fmla="*/ 4327224 w 6901213"/>
              <a:gd name="connsiteY2825" fmla="*/ 1405928 h 6851544"/>
              <a:gd name="connsiteX2826" fmla="*/ 4288870 w 6901213"/>
              <a:gd name="connsiteY2826" fmla="*/ 1367575 h 6851544"/>
              <a:gd name="connsiteX2827" fmla="*/ 4250517 w 6901213"/>
              <a:gd name="connsiteY2827" fmla="*/ 1405928 h 6851544"/>
              <a:gd name="connsiteX2828" fmla="*/ 4288870 w 6901213"/>
              <a:gd name="connsiteY2828" fmla="*/ 1444281 h 6851544"/>
              <a:gd name="connsiteX2829" fmla="*/ 4327224 w 6901213"/>
              <a:gd name="connsiteY2829" fmla="*/ 1405928 h 6851544"/>
              <a:gd name="connsiteX2830" fmla="*/ 4168494 w 6901213"/>
              <a:gd name="connsiteY2830" fmla="*/ 1314640 h 6851544"/>
              <a:gd name="connsiteX2831" fmla="*/ 4130673 w 6901213"/>
              <a:gd name="connsiteY2831" fmla="*/ 1276818 h 6851544"/>
              <a:gd name="connsiteX2832" fmla="*/ 4092851 w 6901213"/>
              <a:gd name="connsiteY2832" fmla="*/ 1314640 h 6851544"/>
              <a:gd name="connsiteX2833" fmla="*/ 4130673 w 6901213"/>
              <a:gd name="connsiteY2833" fmla="*/ 1352461 h 6851544"/>
              <a:gd name="connsiteX2834" fmla="*/ 4168494 w 6901213"/>
              <a:gd name="connsiteY2834" fmla="*/ 1314640 h 6851544"/>
              <a:gd name="connsiteX2835" fmla="*/ 4004753 w 6901213"/>
              <a:gd name="connsiteY2835" fmla="*/ 1231326 h 6851544"/>
              <a:gd name="connsiteX2836" fmla="*/ 3968071 w 6901213"/>
              <a:gd name="connsiteY2836" fmla="*/ 1194644 h 6851544"/>
              <a:gd name="connsiteX2837" fmla="*/ 3931389 w 6901213"/>
              <a:gd name="connsiteY2837" fmla="*/ 1231326 h 6851544"/>
              <a:gd name="connsiteX2838" fmla="*/ 3968071 w 6901213"/>
              <a:gd name="connsiteY2838" fmla="*/ 1268009 h 6851544"/>
              <a:gd name="connsiteX2839" fmla="*/ 4004753 w 6901213"/>
              <a:gd name="connsiteY2839" fmla="*/ 1231326 h 6851544"/>
              <a:gd name="connsiteX2840" fmla="*/ 3836607 w 6901213"/>
              <a:gd name="connsiteY2840" fmla="*/ 1156139 h 6851544"/>
              <a:gd name="connsiteX2841" fmla="*/ 3801595 w 6901213"/>
              <a:gd name="connsiteY2841" fmla="*/ 1121127 h 6851544"/>
              <a:gd name="connsiteX2842" fmla="*/ 3766584 w 6901213"/>
              <a:gd name="connsiteY2842" fmla="*/ 1156139 h 6851544"/>
              <a:gd name="connsiteX2843" fmla="*/ 3801595 w 6901213"/>
              <a:gd name="connsiteY2843" fmla="*/ 1191150 h 6851544"/>
              <a:gd name="connsiteX2844" fmla="*/ 3836607 w 6901213"/>
              <a:gd name="connsiteY2844" fmla="*/ 1156139 h 6851544"/>
              <a:gd name="connsiteX2845" fmla="*/ 3664891 w 6901213"/>
              <a:gd name="connsiteY2845" fmla="*/ 1089458 h 6851544"/>
              <a:gd name="connsiteX2846" fmla="*/ 3631626 w 6901213"/>
              <a:gd name="connsiteY2846" fmla="*/ 1056193 h 6851544"/>
              <a:gd name="connsiteX2847" fmla="*/ 3598361 w 6901213"/>
              <a:gd name="connsiteY2847" fmla="*/ 1089458 h 6851544"/>
              <a:gd name="connsiteX2848" fmla="*/ 3631626 w 6901213"/>
              <a:gd name="connsiteY2848" fmla="*/ 1122722 h 6851544"/>
              <a:gd name="connsiteX2849" fmla="*/ 3664891 w 6901213"/>
              <a:gd name="connsiteY2849" fmla="*/ 1089458 h 6851544"/>
              <a:gd name="connsiteX2850" fmla="*/ 3490593 w 6901213"/>
              <a:gd name="connsiteY2850" fmla="*/ 1031282 h 6851544"/>
              <a:gd name="connsiteX2851" fmla="*/ 3458391 w 6901213"/>
              <a:gd name="connsiteY2851" fmla="*/ 999157 h 6851544"/>
              <a:gd name="connsiteX2852" fmla="*/ 3426190 w 6901213"/>
              <a:gd name="connsiteY2852" fmla="*/ 1031282 h 6851544"/>
              <a:gd name="connsiteX2853" fmla="*/ 3458391 w 6901213"/>
              <a:gd name="connsiteY2853" fmla="*/ 1063484 h 6851544"/>
              <a:gd name="connsiteX2854" fmla="*/ 3490593 w 6901213"/>
              <a:gd name="connsiteY2854" fmla="*/ 1031282 h 6851544"/>
              <a:gd name="connsiteX2855" fmla="*/ 3313029 w 6901213"/>
              <a:gd name="connsiteY2855" fmla="*/ 981765 h 6851544"/>
              <a:gd name="connsiteX2856" fmla="*/ 3282575 w 6901213"/>
              <a:gd name="connsiteY2856" fmla="*/ 951310 h 6851544"/>
              <a:gd name="connsiteX2857" fmla="*/ 3252120 w 6901213"/>
              <a:gd name="connsiteY2857" fmla="*/ 981765 h 6851544"/>
              <a:gd name="connsiteX2858" fmla="*/ 3282575 w 6901213"/>
              <a:gd name="connsiteY2858" fmla="*/ 1012220 h 6851544"/>
              <a:gd name="connsiteX2859" fmla="*/ 3313029 w 6901213"/>
              <a:gd name="connsiteY2859" fmla="*/ 981765 h 6851544"/>
              <a:gd name="connsiteX2860" fmla="*/ 3133263 w 6901213"/>
              <a:gd name="connsiteY2860" fmla="*/ 941133 h 6851544"/>
              <a:gd name="connsiteX2861" fmla="*/ 3104479 w 6901213"/>
              <a:gd name="connsiteY2861" fmla="*/ 912349 h 6851544"/>
              <a:gd name="connsiteX2862" fmla="*/ 3075695 w 6901213"/>
              <a:gd name="connsiteY2862" fmla="*/ 941133 h 6851544"/>
              <a:gd name="connsiteX2863" fmla="*/ 3104479 w 6901213"/>
              <a:gd name="connsiteY2863" fmla="*/ 969917 h 6851544"/>
              <a:gd name="connsiteX2864" fmla="*/ 3133263 w 6901213"/>
              <a:gd name="connsiteY2864" fmla="*/ 941133 h 6851544"/>
              <a:gd name="connsiteX2865" fmla="*/ 2951750 w 6901213"/>
              <a:gd name="connsiteY2865" fmla="*/ 909388 h 6851544"/>
              <a:gd name="connsiteX2866" fmla="*/ 2924637 w 6901213"/>
              <a:gd name="connsiteY2866" fmla="*/ 882274 h 6851544"/>
              <a:gd name="connsiteX2867" fmla="*/ 2897524 w 6901213"/>
              <a:gd name="connsiteY2867" fmla="*/ 909388 h 6851544"/>
              <a:gd name="connsiteX2868" fmla="*/ 2924637 w 6901213"/>
              <a:gd name="connsiteY2868" fmla="*/ 936501 h 6851544"/>
              <a:gd name="connsiteX2869" fmla="*/ 2951750 w 6901213"/>
              <a:gd name="connsiteY2869" fmla="*/ 909388 h 6851544"/>
              <a:gd name="connsiteX2870" fmla="*/ 2768187 w 6901213"/>
              <a:gd name="connsiteY2870" fmla="*/ 886679 h 6851544"/>
              <a:gd name="connsiteX2871" fmla="*/ 2743352 w 6901213"/>
              <a:gd name="connsiteY2871" fmla="*/ 861845 h 6851544"/>
              <a:gd name="connsiteX2872" fmla="*/ 2718517 w 6901213"/>
              <a:gd name="connsiteY2872" fmla="*/ 886679 h 6851544"/>
              <a:gd name="connsiteX2873" fmla="*/ 2743352 w 6901213"/>
              <a:gd name="connsiteY2873" fmla="*/ 911514 h 6851544"/>
              <a:gd name="connsiteX2874" fmla="*/ 2768187 w 6901213"/>
              <a:gd name="connsiteY2874" fmla="*/ 886679 h 6851544"/>
              <a:gd name="connsiteX2875" fmla="*/ 2584395 w 6901213"/>
              <a:gd name="connsiteY2875" fmla="*/ 873085 h 6851544"/>
              <a:gd name="connsiteX2876" fmla="*/ 2561231 w 6901213"/>
              <a:gd name="connsiteY2876" fmla="*/ 849921 h 6851544"/>
              <a:gd name="connsiteX2877" fmla="*/ 2538068 w 6901213"/>
              <a:gd name="connsiteY2877" fmla="*/ 873085 h 6851544"/>
              <a:gd name="connsiteX2878" fmla="*/ 2561231 w 6901213"/>
              <a:gd name="connsiteY2878" fmla="*/ 896249 h 6851544"/>
              <a:gd name="connsiteX2879" fmla="*/ 2584395 w 6901213"/>
              <a:gd name="connsiteY2879" fmla="*/ 873085 h 6851544"/>
              <a:gd name="connsiteX2880" fmla="*/ 2399541 w 6901213"/>
              <a:gd name="connsiteY2880" fmla="*/ 868528 h 6851544"/>
              <a:gd name="connsiteX2881" fmla="*/ 2378655 w 6901213"/>
              <a:gd name="connsiteY2881" fmla="*/ 847643 h 6851544"/>
              <a:gd name="connsiteX2882" fmla="*/ 2357770 w 6901213"/>
              <a:gd name="connsiteY2882" fmla="*/ 868528 h 6851544"/>
              <a:gd name="connsiteX2883" fmla="*/ 2378655 w 6901213"/>
              <a:gd name="connsiteY2883" fmla="*/ 889414 h 6851544"/>
              <a:gd name="connsiteX2884" fmla="*/ 2399541 w 6901213"/>
              <a:gd name="connsiteY2884" fmla="*/ 868528 h 6851544"/>
              <a:gd name="connsiteX2885" fmla="*/ 2215218 w 6901213"/>
              <a:gd name="connsiteY2885" fmla="*/ 873085 h 6851544"/>
              <a:gd name="connsiteX2886" fmla="*/ 2196003 w 6901213"/>
              <a:gd name="connsiteY2886" fmla="*/ 853870 h 6851544"/>
              <a:gd name="connsiteX2887" fmla="*/ 2176788 w 6901213"/>
              <a:gd name="connsiteY2887" fmla="*/ 873085 h 6851544"/>
              <a:gd name="connsiteX2888" fmla="*/ 2196003 w 6901213"/>
              <a:gd name="connsiteY2888" fmla="*/ 892299 h 6851544"/>
              <a:gd name="connsiteX2889" fmla="*/ 2215218 w 6901213"/>
              <a:gd name="connsiteY2889" fmla="*/ 873085 h 6851544"/>
              <a:gd name="connsiteX2890" fmla="*/ 2030819 w 6901213"/>
              <a:gd name="connsiteY2890" fmla="*/ 886679 h 6851544"/>
              <a:gd name="connsiteX2891" fmla="*/ 2013883 w 6901213"/>
              <a:gd name="connsiteY2891" fmla="*/ 869743 h 6851544"/>
              <a:gd name="connsiteX2892" fmla="*/ 1996946 w 6901213"/>
              <a:gd name="connsiteY2892" fmla="*/ 886679 h 6851544"/>
              <a:gd name="connsiteX2893" fmla="*/ 2013883 w 6901213"/>
              <a:gd name="connsiteY2893" fmla="*/ 903616 h 6851544"/>
              <a:gd name="connsiteX2894" fmla="*/ 2030819 w 6901213"/>
              <a:gd name="connsiteY2894" fmla="*/ 886679 h 6851544"/>
              <a:gd name="connsiteX2895" fmla="*/ 1847863 w 6901213"/>
              <a:gd name="connsiteY2895" fmla="*/ 909388 h 6851544"/>
              <a:gd name="connsiteX2896" fmla="*/ 1832597 w 6901213"/>
              <a:gd name="connsiteY2896" fmla="*/ 894122 h 6851544"/>
              <a:gd name="connsiteX2897" fmla="*/ 1817332 w 6901213"/>
              <a:gd name="connsiteY2897" fmla="*/ 909388 h 6851544"/>
              <a:gd name="connsiteX2898" fmla="*/ 1832597 w 6901213"/>
              <a:gd name="connsiteY2898" fmla="*/ 924653 h 6851544"/>
              <a:gd name="connsiteX2899" fmla="*/ 1847863 w 6901213"/>
              <a:gd name="connsiteY2899" fmla="*/ 909388 h 6851544"/>
              <a:gd name="connsiteX2900" fmla="*/ 1666274 w 6901213"/>
              <a:gd name="connsiteY2900" fmla="*/ 941133 h 6851544"/>
              <a:gd name="connsiteX2901" fmla="*/ 1652755 w 6901213"/>
              <a:gd name="connsiteY2901" fmla="*/ 927615 h 6851544"/>
              <a:gd name="connsiteX2902" fmla="*/ 1639237 w 6901213"/>
              <a:gd name="connsiteY2902" fmla="*/ 941133 h 6851544"/>
              <a:gd name="connsiteX2903" fmla="*/ 1652755 w 6901213"/>
              <a:gd name="connsiteY2903" fmla="*/ 954652 h 6851544"/>
              <a:gd name="connsiteX2904" fmla="*/ 1666274 w 6901213"/>
              <a:gd name="connsiteY2904" fmla="*/ 941133 h 6851544"/>
              <a:gd name="connsiteX2905" fmla="*/ 1486508 w 6901213"/>
              <a:gd name="connsiteY2905" fmla="*/ 981765 h 6851544"/>
              <a:gd name="connsiteX2906" fmla="*/ 1474660 w 6901213"/>
              <a:gd name="connsiteY2906" fmla="*/ 969917 h 6851544"/>
              <a:gd name="connsiteX2907" fmla="*/ 1462812 w 6901213"/>
              <a:gd name="connsiteY2907" fmla="*/ 981765 h 6851544"/>
              <a:gd name="connsiteX2908" fmla="*/ 1474660 w 6901213"/>
              <a:gd name="connsiteY2908" fmla="*/ 993613 h 6851544"/>
              <a:gd name="connsiteX2909" fmla="*/ 1486508 w 6901213"/>
              <a:gd name="connsiteY2909" fmla="*/ 981765 h 6851544"/>
              <a:gd name="connsiteX2910" fmla="*/ 1309020 w 6901213"/>
              <a:gd name="connsiteY2910" fmla="*/ 1031282 h 6851544"/>
              <a:gd name="connsiteX2911" fmla="*/ 1298843 w 6901213"/>
              <a:gd name="connsiteY2911" fmla="*/ 1021105 h 6851544"/>
              <a:gd name="connsiteX2912" fmla="*/ 1288666 w 6901213"/>
              <a:gd name="connsiteY2912" fmla="*/ 1031282 h 6851544"/>
              <a:gd name="connsiteX2913" fmla="*/ 1298843 w 6901213"/>
              <a:gd name="connsiteY2913" fmla="*/ 1041459 h 6851544"/>
              <a:gd name="connsiteX2914" fmla="*/ 1309020 w 6901213"/>
              <a:gd name="connsiteY2914" fmla="*/ 1031282 h 6851544"/>
              <a:gd name="connsiteX2915" fmla="*/ 1134114 w 6901213"/>
              <a:gd name="connsiteY2915" fmla="*/ 1089458 h 6851544"/>
              <a:gd name="connsiteX2916" fmla="*/ 1125684 w 6901213"/>
              <a:gd name="connsiteY2916" fmla="*/ 1081027 h 6851544"/>
              <a:gd name="connsiteX2917" fmla="*/ 1117254 w 6901213"/>
              <a:gd name="connsiteY2917" fmla="*/ 1089458 h 6851544"/>
              <a:gd name="connsiteX2918" fmla="*/ 1125684 w 6901213"/>
              <a:gd name="connsiteY2918" fmla="*/ 1097888 h 6851544"/>
              <a:gd name="connsiteX2919" fmla="*/ 1134114 w 6901213"/>
              <a:gd name="connsiteY2919" fmla="*/ 1089458 h 6851544"/>
              <a:gd name="connsiteX2920" fmla="*/ 962398 w 6901213"/>
              <a:gd name="connsiteY2920" fmla="*/ 1156139 h 6851544"/>
              <a:gd name="connsiteX2921" fmla="*/ 955639 w 6901213"/>
              <a:gd name="connsiteY2921" fmla="*/ 1149380 h 6851544"/>
              <a:gd name="connsiteX2922" fmla="*/ 948880 w 6901213"/>
              <a:gd name="connsiteY2922" fmla="*/ 1156139 h 6851544"/>
              <a:gd name="connsiteX2923" fmla="*/ 955639 w 6901213"/>
              <a:gd name="connsiteY2923" fmla="*/ 1162898 h 6851544"/>
              <a:gd name="connsiteX2924" fmla="*/ 962398 w 6901213"/>
              <a:gd name="connsiteY2924" fmla="*/ 1156139 h 6851544"/>
              <a:gd name="connsiteX2925" fmla="*/ 794784 w 6901213"/>
              <a:gd name="connsiteY2925" fmla="*/ 1231326 h 6851544"/>
              <a:gd name="connsiteX2926" fmla="*/ 789164 w 6901213"/>
              <a:gd name="connsiteY2926" fmla="*/ 1225706 h 6851544"/>
              <a:gd name="connsiteX2927" fmla="*/ 783544 w 6901213"/>
              <a:gd name="connsiteY2927" fmla="*/ 1231326 h 6851544"/>
              <a:gd name="connsiteX2928" fmla="*/ 789164 w 6901213"/>
              <a:gd name="connsiteY2928" fmla="*/ 1236946 h 6851544"/>
              <a:gd name="connsiteX2929" fmla="*/ 794784 w 6901213"/>
              <a:gd name="connsiteY2929" fmla="*/ 1231326 h 6851544"/>
              <a:gd name="connsiteX2930" fmla="*/ 631118 w 6901213"/>
              <a:gd name="connsiteY2930" fmla="*/ 1314640 h 6851544"/>
              <a:gd name="connsiteX2931" fmla="*/ 626637 w 6901213"/>
              <a:gd name="connsiteY2931" fmla="*/ 1310159 h 6851544"/>
              <a:gd name="connsiteX2932" fmla="*/ 622157 w 6901213"/>
              <a:gd name="connsiteY2932" fmla="*/ 1314640 h 6851544"/>
              <a:gd name="connsiteX2933" fmla="*/ 626637 w 6901213"/>
              <a:gd name="connsiteY2933" fmla="*/ 1319197 h 6851544"/>
              <a:gd name="connsiteX2934" fmla="*/ 631118 w 6901213"/>
              <a:gd name="connsiteY2934" fmla="*/ 1314640 h 6851544"/>
              <a:gd name="connsiteX2935" fmla="*/ 471782 w 6901213"/>
              <a:gd name="connsiteY2935" fmla="*/ 1405928 h 6851544"/>
              <a:gd name="connsiteX2936" fmla="*/ 468364 w 6901213"/>
              <a:gd name="connsiteY2936" fmla="*/ 1402510 h 6851544"/>
              <a:gd name="connsiteX2937" fmla="*/ 464947 w 6901213"/>
              <a:gd name="connsiteY2937" fmla="*/ 1405928 h 6851544"/>
              <a:gd name="connsiteX2938" fmla="*/ 468364 w 6901213"/>
              <a:gd name="connsiteY2938" fmla="*/ 1409346 h 6851544"/>
              <a:gd name="connsiteX2939" fmla="*/ 471782 w 6901213"/>
              <a:gd name="connsiteY2939" fmla="*/ 1405928 h 6851544"/>
              <a:gd name="connsiteX2940" fmla="*/ 317230 w 6901213"/>
              <a:gd name="connsiteY2940" fmla="*/ 1505039 h 6851544"/>
              <a:gd name="connsiteX2941" fmla="*/ 314952 w 6901213"/>
              <a:gd name="connsiteY2941" fmla="*/ 1502760 h 6851544"/>
              <a:gd name="connsiteX2942" fmla="*/ 312673 w 6901213"/>
              <a:gd name="connsiteY2942" fmla="*/ 1505039 h 6851544"/>
              <a:gd name="connsiteX2943" fmla="*/ 314952 w 6901213"/>
              <a:gd name="connsiteY2943" fmla="*/ 1507317 h 6851544"/>
              <a:gd name="connsiteX2944" fmla="*/ 317230 w 6901213"/>
              <a:gd name="connsiteY2944" fmla="*/ 1505039 h 6851544"/>
              <a:gd name="connsiteX2945" fmla="*/ 5514652 w 6901213"/>
              <a:gd name="connsiteY2945" fmla="*/ 6797319 h 6851544"/>
              <a:gd name="connsiteX2946" fmla="*/ 5512374 w 6901213"/>
              <a:gd name="connsiteY2946" fmla="*/ 6795040 h 6851544"/>
              <a:gd name="connsiteX2947" fmla="*/ 5510096 w 6901213"/>
              <a:gd name="connsiteY2947" fmla="*/ 6797319 h 6851544"/>
              <a:gd name="connsiteX2948" fmla="*/ 5512374 w 6901213"/>
              <a:gd name="connsiteY2948" fmla="*/ 6799597 h 6851544"/>
              <a:gd name="connsiteX2949" fmla="*/ 5514652 w 6901213"/>
              <a:gd name="connsiteY2949" fmla="*/ 6797319 h 6851544"/>
              <a:gd name="connsiteX2950" fmla="*/ 5618700 w 6901213"/>
              <a:gd name="connsiteY2950" fmla="*/ 6646868 h 6851544"/>
              <a:gd name="connsiteX2951" fmla="*/ 5615890 w 6901213"/>
              <a:gd name="connsiteY2951" fmla="*/ 6644058 h 6851544"/>
              <a:gd name="connsiteX2952" fmla="*/ 5613080 w 6901213"/>
              <a:gd name="connsiteY2952" fmla="*/ 6646868 h 6851544"/>
              <a:gd name="connsiteX2953" fmla="*/ 5615890 w 6901213"/>
              <a:gd name="connsiteY2953" fmla="*/ 6649678 h 6851544"/>
              <a:gd name="connsiteX2954" fmla="*/ 5618700 w 6901213"/>
              <a:gd name="connsiteY2954" fmla="*/ 6646868 h 6851544"/>
              <a:gd name="connsiteX2955" fmla="*/ 5716064 w 6901213"/>
              <a:gd name="connsiteY2955" fmla="*/ 6491633 h 6851544"/>
              <a:gd name="connsiteX2956" fmla="*/ 5712114 w 6901213"/>
              <a:gd name="connsiteY2956" fmla="*/ 6487683 h 6851544"/>
              <a:gd name="connsiteX2957" fmla="*/ 5708165 w 6901213"/>
              <a:gd name="connsiteY2957" fmla="*/ 6491633 h 6851544"/>
              <a:gd name="connsiteX2958" fmla="*/ 5712114 w 6901213"/>
              <a:gd name="connsiteY2958" fmla="*/ 6495582 h 6851544"/>
              <a:gd name="connsiteX2959" fmla="*/ 5716064 w 6901213"/>
              <a:gd name="connsiteY2959" fmla="*/ 6491633 h 6851544"/>
              <a:gd name="connsiteX2960" fmla="*/ 5806060 w 6901213"/>
              <a:gd name="connsiteY2960" fmla="*/ 6331992 h 6851544"/>
              <a:gd name="connsiteX2961" fmla="*/ 5800972 w 6901213"/>
              <a:gd name="connsiteY2961" fmla="*/ 6326904 h 6851544"/>
              <a:gd name="connsiteX2962" fmla="*/ 5795884 w 6901213"/>
              <a:gd name="connsiteY2962" fmla="*/ 6331992 h 6851544"/>
              <a:gd name="connsiteX2963" fmla="*/ 5800972 w 6901213"/>
              <a:gd name="connsiteY2963" fmla="*/ 6337081 h 6851544"/>
              <a:gd name="connsiteX2964" fmla="*/ 5806060 w 6901213"/>
              <a:gd name="connsiteY2964" fmla="*/ 6331992 h 6851544"/>
              <a:gd name="connsiteX2965" fmla="*/ 5888919 w 6901213"/>
              <a:gd name="connsiteY2965" fmla="*/ 6168403 h 6851544"/>
              <a:gd name="connsiteX2966" fmla="*/ 5882159 w 6901213"/>
              <a:gd name="connsiteY2966" fmla="*/ 6161644 h 6851544"/>
              <a:gd name="connsiteX2967" fmla="*/ 5875400 w 6901213"/>
              <a:gd name="connsiteY2967" fmla="*/ 6168403 h 6851544"/>
              <a:gd name="connsiteX2968" fmla="*/ 5882159 w 6901213"/>
              <a:gd name="connsiteY2968" fmla="*/ 6175162 h 6851544"/>
              <a:gd name="connsiteX2969" fmla="*/ 5888919 w 6901213"/>
              <a:gd name="connsiteY2969" fmla="*/ 6168403 h 6851544"/>
              <a:gd name="connsiteX2970" fmla="*/ 5963422 w 6901213"/>
              <a:gd name="connsiteY2970" fmla="*/ 6001092 h 6851544"/>
              <a:gd name="connsiteX2971" fmla="*/ 5955524 w 6901213"/>
              <a:gd name="connsiteY2971" fmla="*/ 5993194 h 6851544"/>
              <a:gd name="connsiteX2972" fmla="*/ 5947625 w 6901213"/>
              <a:gd name="connsiteY2972" fmla="*/ 6001092 h 6851544"/>
              <a:gd name="connsiteX2973" fmla="*/ 5955524 w 6901213"/>
              <a:gd name="connsiteY2973" fmla="*/ 6008990 h 6851544"/>
              <a:gd name="connsiteX2974" fmla="*/ 5963422 w 6901213"/>
              <a:gd name="connsiteY2974" fmla="*/ 6001092 h 6851544"/>
              <a:gd name="connsiteX2975" fmla="*/ 6030483 w 6901213"/>
              <a:gd name="connsiteY2975" fmla="*/ 5830515 h 6851544"/>
              <a:gd name="connsiteX2976" fmla="*/ 6020914 w 6901213"/>
              <a:gd name="connsiteY2976" fmla="*/ 5820946 h 6851544"/>
              <a:gd name="connsiteX2977" fmla="*/ 6011345 w 6901213"/>
              <a:gd name="connsiteY2977" fmla="*/ 5830515 h 6851544"/>
              <a:gd name="connsiteX2978" fmla="*/ 6020914 w 6901213"/>
              <a:gd name="connsiteY2978" fmla="*/ 5840085 h 6851544"/>
              <a:gd name="connsiteX2979" fmla="*/ 6030483 w 6901213"/>
              <a:gd name="connsiteY2979" fmla="*/ 5830515 h 6851544"/>
              <a:gd name="connsiteX2980" fmla="*/ 6089418 w 6901213"/>
              <a:gd name="connsiteY2980" fmla="*/ 5657053 h 6851544"/>
              <a:gd name="connsiteX2981" fmla="*/ 6078102 w 6901213"/>
              <a:gd name="connsiteY2981" fmla="*/ 5645737 h 6851544"/>
              <a:gd name="connsiteX2982" fmla="*/ 6066786 w 6901213"/>
              <a:gd name="connsiteY2982" fmla="*/ 5657053 h 6851544"/>
              <a:gd name="connsiteX2983" fmla="*/ 6078102 w 6901213"/>
              <a:gd name="connsiteY2983" fmla="*/ 5668369 h 6851544"/>
              <a:gd name="connsiteX2984" fmla="*/ 6089418 w 6901213"/>
              <a:gd name="connsiteY2984" fmla="*/ 5657053 h 6851544"/>
              <a:gd name="connsiteX2985" fmla="*/ 6140150 w 6901213"/>
              <a:gd name="connsiteY2985" fmla="*/ 5481160 h 6851544"/>
              <a:gd name="connsiteX2986" fmla="*/ 6127164 w 6901213"/>
              <a:gd name="connsiteY2986" fmla="*/ 5468173 h 6851544"/>
              <a:gd name="connsiteX2987" fmla="*/ 6114177 w 6901213"/>
              <a:gd name="connsiteY2987" fmla="*/ 5481160 h 6851544"/>
              <a:gd name="connsiteX2988" fmla="*/ 6127164 w 6901213"/>
              <a:gd name="connsiteY2988" fmla="*/ 5494147 h 6851544"/>
              <a:gd name="connsiteX2989" fmla="*/ 6140150 w 6901213"/>
              <a:gd name="connsiteY2989" fmla="*/ 5481160 h 6851544"/>
              <a:gd name="connsiteX2990" fmla="*/ 6182529 w 6901213"/>
              <a:gd name="connsiteY2990" fmla="*/ 5303065 h 6851544"/>
              <a:gd name="connsiteX2991" fmla="*/ 6167871 w 6901213"/>
              <a:gd name="connsiteY2991" fmla="*/ 5288407 h 6851544"/>
              <a:gd name="connsiteX2992" fmla="*/ 6153214 w 6901213"/>
              <a:gd name="connsiteY2992" fmla="*/ 5303065 h 6851544"/>
              <a:gd name="connsiteX2993" fmla="*/ 6167871 w 6901213"/>
              <a:gd name="connsiteY2993" fmla="*/ 5317722 h 6851544"/>
              <a:gd name="connsiteX2994" fmla="*/ 6182529 w 6901213"/>
              <a:gd name="connsiteY2994" fmla="*/ 5303065 h 6851544"/>
              <a:gd name="connsiteX2995" fmla="*/ 6216933 w 6901213"/>
              <a:gd name="connsiteY2995" fmla="*/ 5123222 h 6851544"/>
              <a:gd name="connsiteX2996" fmla="*/ 6199997 w 6901213"/>
              <a:gd name="connsiteY2996" fmla="*/ 5106286 h 6851544"/>
              <a:gd name="connsiteX2997" fmla="*/ 6183061 w 6901213"/>
              <a:gd name="connsiteY2997" fmla="*/ 5123222 h 6851544"/>
              <a:gd name="connsiteX2998" fmla="*/ 6199997 w 6901213"/>
              <a:gd name="connsiteY2998" fmla="*/ 5140159 h 6851544"/>
              <a:gd name="connsiteX2999" fmla="*/ 6216933 w 6901213"/>
              <a:gd name="connsiteY2999" fmla="*/ 5123222 h 6851544"/>
              <a:gd name="connsiteX3000" fmla="*/ 6242299 w 6901213"/>
              <a:gd name="connsiteY3000" fmla="*/ 4942089 h 6851544"/>
              <a:gd name="connsiteX3001" fmla="*/ 6223692 w 6901213"/>
              <a:gd name="connsiteY3001" fmla="*/ 4923482 h 6851544"/>
              <a:gd name="connsiteX3002" fmla="*/ 6205085 w 6901213"/>
              <a:gd name="connsiteY3002" fmla="*/ 4942089 h 6851544"/>
              <a:gd name="connsiteX3003" fmla="*/ 6223692 w 6901213"/>
              <a:gd name="connsiteY3003" fmla="*/ 4960696 h 6851544"/>
              <a:gd name="connsiteX3004" fmla="*/ 6242299 w 6901213"/>
              <a:gd name="connsiteY3004" fmla="*/ 4942089 h 6851544"/>
              <a:gd name="connsiteX3005" fmla="*/ 6259615 w 6901213"/>
              <a:gd name="connsiteY3005" fmla="*/ 4760045 h 6851544"/>
              <a:gd name="connsiteX3006" fmla="*/ 6238730 w 6901213"/>
              <a:gd name="connsiteY3006" fmla="*/ 4739159 h 6851544"/>
              <a:gd name="connsiteX3007" fmla="*/ 6217844 w 6901213"/>
              <a:gd name="connsiteY3007" fmla="*/ 4760045 h 6851544"/>
              <a:gd name="connsiteX3008" fmla="*/ 6238730 w 6901213"/>
              <a:gd name="connsiteY3008" fmla="*/ 4780930 h 6851544"/>
              <a:gd name="connsiteX3009" fmla="*/ 6259615 w 6901213"/>
              <a:gd name="connsiteY3009" fmla="*/ 4760045 h 6851544"/>
              <a:gd name="connsiteX3010" fmla="*/ 6267817 w 6901213"/>
              <a:gd name="connsiteY3010" fmla="*/ 4577544 h 6851544"/>
              <a:gd name="connsiteX3011" fmla="*/ 6245261 w 6901213"/>
              <a:gd name="connsiteY3011" fmla="*/ 4554988 h 6851544"/>
              <a:gd name="connsiteX3012" fmla="*/ 6222705 w 6901213"/>
              <a:gd name="connsiteY3012" fmla="*/ 4577544 h 6851544"/>
              <a:gd name="connsiteX3013" fmla="*/ 6245261 w 6901213"/>
              <a:gd name="connsiteY3013" fmla="*/ 4600101 h 6851544"/>
              <a:gd name="connsiteX3014" fmla="*/ 6267817 w 6901213"/>
              <a:gd name="connsiteY3014" fmla="*/ 4577544 h 6851544"/>
              <a:gd name="connsiteX3015" fmla="*/ 6267893 w 6901213"/>
              <a:gd name="connsiteY3015" fmla="*/ 4394892 h 6851544"/>
              <a:gd name="connsiteX3016" fmla="*/ 6243059 w 6901213"/>
              <a:gd name="connsiteY3016" fmla="*/ 4370057 h 6851544"/>
              <a:gd name="connsiteX3017" fmla="*/ 6218224 w 6901213"/>
              <a:gd name="connsiteY3017" fmla="*/ 4394892 h 6851544"/>
              <a:gd name="connsiteX3018" fmla="*/ 6243059 w 6901213"/>
              <a:gd name="connsiteY3018" fmla="*/ 4419727 h 6851544"/>
              <a:gd name="connsiteX3019" fmla="*/ 6267893 w 6901213"/>
              <a:gd name="connsiteY3019" fmla="*/ 4394892 h 6851544"/>
              <a:gd name="connsiteX3020" fmla="*/ 6259387 w 6901213"/>
              <a:gd name="connsiteY3020" fmla="*/ 4212544 h 6851544"/>
              <a:gd name="connsiteX3021" fmla="*/ 6232274 w 6901213"/>
              <a:gd name="connsiteY3021" fmla="*/ 4185431 h 6851544"/>
              <a:gd name="connsiteX3022" fmla="*/ 6205161 w 6901213"/>
              <a:gd name="connsiteY3022" fmla="*/ 4212544 h 6851544"/>
              <a:gd name="connsiteX3023" fmla="*/ 6232274 w 6901213"/>
              <a:gd name="connsiteY3023" fmla="*/ 4239657 h 6851544"/>
              <a:gd name="connsiteX3024" fmla="*/ 6259387 w 6901213"/>
              <a:gd name="connsiteY3024" fmla="*/ 4212544 h 6851544"/>
              <a:gd name="connsiteX3025" fmla="*/ 6241691 w 6901213"/>
              <a:gd name="connsiteY3025" fmla="*/ 4030879 h 6851544"/>
              <a:gd name="connsiteX3026" fmla="*/ 6212908 w 6901213"/>
              <a:gd name="connsiteY3026" fmla="*/ 4002095 h 6851544"/>
              <a:gd name="connsiteX3027" fmla="*/ 6184124 w 6901213"/>
              <a:gd name="connsiteY3027" fmla="*/ 4030879 h 6851544"/>
              <a:gd name="connsiteX3028" fmla="*/ 6212908 w 6901213"/>
              <a:gd name="connsiteY3028" fmla="*/ 4059663 h 6851544"/>
              <a:gd name="connsiteX3029" fmla="*/ 6241691 w 6901213"/>
              <a:gd name="connsiteY3029" fmla="*/ 4030879 h 6851544"/>
              <a:gd name="connsiteX3030" fmla="*/ 6216021 w 6901213"/>
              <a:gd name="connsiteY3030" fmla="*/ 3850353 h 6851544"/>
              <a:gd name="connsiteX3031" fmla="*/ 6184959 w 6901213"/>
              <a:gd name="connsiteY3031" fmla="*/ 3819291 h 6851544"/>
              <a:gd name="connsiteX3032" fmla="*/ 6153897 w 6901213"/>
              <a:gd name="connsiteY3032" fmla="*/ 3850353 h 6851544"/>
              <a:gd name="connsiteX3033" fmla="*/ 6184959 w 6901213"/>
              <a:gd name="connsiteY3033" fmla="*/ 3881415 h 6851544"/>
              <a:gd name="connsiteX3034" fmla="*/ 6216021 w 6901213"/>
              <a:gd name="connsiteY3034" fmla="*/ 3850353 h 6851544"/>
              <a:gd name="connsiteX3035" fmla="*/ 6181314 w 6901213"/>
              <a:gd name="connsiteY3035" fmla="*/ 3671422 h 6851544"/>
              <a:gd name="connsiteX3036" fmla="*/ 6148581 w 6901213"/>
              <a:gd name="connsiteY3036" fmla="*/ 3638689 h 6851544"/>
              <a:gd name="connsiteX3037" fmla="*/ 6115848 w 6901213"/>
              <a:gd name="connsiteY3037" fmla="*/ 3671422 h 6851544"/>
              <a:gd name="connsiteX3038" fmla="*/ 6148581 w 6901213"/>
              <a:gd name="connsiteY3038" fmla="*/ 3704156 h 6851544"/>
              <a:gd name="connsiteX3039" fmla="*/ 6181314 w 6901213"/>
              <a:gd name="connsiteY3039" fmla="*/ 3671422 h 6851544"/>
              <a:gd name="connsiteX3040" fmla="*/ 6138176 w 6901213"/>
              <a:gd name="connsiteY3040" fmla="*/ 3494314 h 6851544"/>
              <a:gd name="connsiteX3041" fmla="*/ 6103772 w 6901213"/>
              <a:gd name="connsiteY3041" fmla="*/ 3459910 h 6851544"/>
              <a:gd name="connsiteX3042" fmla="*/ 6069368 w 6901213"/>
              <a:gd name="connsiteY3042" fmla="*/ 3494314 h 6851544"/>
              <a:gd name="connsiteX3043" fmla="*/ 6103772 w 6901213"/>
              <a:gd name="connsiteY3043" fmla="*/ 3528718 h 6851544"/>
              <a:gd name="connsiteX3044" fmla="*/ 6138176 w 6901213"/>
              <a:gd name="connsiteY3044" fmla="*/ 3494314 h 6851544"/>
              <a:gd name="connsiteX3045" fmla="*/ 6086684 w 6901213"/>
              <a:gd name="connsiteY3045" fmla="*/ 3319561 h 6851544"/>
              <a:gd name="connsiteX3046" fmla="*/ 6050533 w 6901213"/>
              <a:gd name="connsiteY3046" fmla="*/ 3283410 h 6851544"/>
              <a:gd name="connsiteX3047" fmla="*/ 6014382 w 6901213"/>
              <a:gd name="connsiteY3047" fmla="*/ 3319561 h 6851544"/>
              <a:gd name="connsiteX3048" fmla="*/ 6050533 w 6901213"/>
              <a:gd name="connsiteY3048" fmla="*/ 3355711 h 6851544"/>
              <a:gd name="connsiteX3049" fmla="*/ 6086684 w 6901213"/>
              <a:gd name="connsiteY3049" fmla="*/ 3319561 h 6851544"/>
              <a:gd name="connsiteX3050" fmla="*/ 6026990 w 6901213"/>
              <a:gd name="connsiteY3050" fmla="*/ 3147541 h 6851544"/>
              <a:gd name="connsiteX3051" fmla="*/ 5989168 w 6901213"/>
              <a:gd name="connsiteY3051" fmla="*/ 3109720 h 6851544"/>
              <a:gd name="connsiteX3052" fmla="*/ 5951347 w 6901213"/>
              <a:gd name="connsiteY3052" fmla="*/ 3147541 h 6851544"/>
              <a:gd name="connsiteX3053" fmla="*/ 5989168 w 6901213"/>
              <a:gd name="connsiteY3053" fmla="*/ 3185363 h 6851544"/>
              <a:gd name="connsiteX3054" fmla="*/ 6026990 w 6901213"/>
              <a:gd name="connsiteY3054" fmla="*/ 3147541 h 6851544"/>
              <a:gd name="connsiteX3055" fmla="*/ 5959321 w 6901213"/>
              <a:gd name="connsiteY3055" fmla="*/ 2978559 h 6851544"/>
              <a:gd name="connsiteX3056" fmla="*/ 5919829 w 6901213"/>
              <a:gd name="connsiteY3056" fmla="*/ 2939067 h 6851544"/>
              <a:gd name="connsiteX3057" fmla="*/ 5880337 w 6901213"/>
              <a:gd name="connsiteY3057" fmla="*/ 2978559 h 6851544"/>
              <a:gd name="connsiteX3058" fmla="*/ 5919829 w 6901213"/>
              <a:gd name="connsiteY3058" fmla="*/ 3018052 h 6851544"/>
              <a:gd name="connsiteX3059" fmla="*/ 5959321 w 6901213"/>
              <a:gd name="connsiteY3059" fmla="*/ 2978559 h 6851544"/>
              <a:gd name="connsiteX3060" fmla="*/ 5883147 w 6901213"/>
              <a:gd name="connsiteY3060" fmla="*/ 2813071 h 6851544"/>
              <a:gd name="connsiteX3061" fmla="*/ 5842515 w 6901213"/>
              <a:gd name="connsiteY3061" fmla="*/ 2772440 h 6851544"/>
              <a:gd name="connsiteX3062" fmla="*/ 5801883 w 6901213"/>
              <a:gd name="connsiteY3062" fmla="*/ 2813071 h 6851544"/>
              <a:gd name="connsiteX3063" fmla="*/ 5842515 w 6901213"/>
              <a:gd name="connsiteY3063" fmla="*/ 2853703 h 6851544"/>
              <a:gd name="connsiteX3064" fmla="*/ 5883147 w 6901213"/>
              <a:gd name="connsiteY3064" fmla="*/ 2813071 h 6851544"/>
              <a:gd name="connsiteX3065" fmla="*/ 5799225 w 6901213"/>
              <a:gd name="connsiteY3065" fmla="*/ 2651380 h 6851544"/>
              <a:gd name="connsiteX3066" fmla="*/ 5757455 w 6901213"/>
              <a:gd name="connsiteY3066" fmla="*/ 2609610 h 6851544"/>
              <a:gd name="connsiteX3067" fmla="*/ 5715684 w 6901213"/>
              <a:gd name="connsiteY3067" fmla="*/ 2651380 h 6851544"/>
              <a:gd name="connsiteX3068" fmla="*/ 5757455 w 6901213"/>
              <a:gd name="connsiteY3068" fmla="*/ 2693151 h 6851544"/>
              <a:gd name="connsiteX3069" fmla="*/ 5799225 w 6901213"/>
              <a:gd name="connsiteY3069" fmla="*/ 2651380 h 6851544"/>
              <a:gd name="connsiteX3070" fmla="*/ 5707785 w 6901213"/>
              <a:gd name="connsiteY3070" fmla="*/ 2493943 h 6851544"/>
              <a:gd name="connsiteX3071" fmla="*/ 5664875 w 6901213"/>
              <a:gd name="connsiteY3071" fmla="*/ 2451033 h 6851544"/>
              <a:gd name="connsiteX3072" fmla="*/ 5621965 w 6901213"/>
              <a:gd name="connsiteY3072" fmla="*/ 2493943 h 6851544"/>
              <a:gd name="connsiteX3073" fmla="*/ 5664875 w 6901213"/>
              <a:gd name="connsiteY3073" fmla="*/ 2536853 h 6851544"/>
              <a:gd name="connsiteX3074" fmla="*/ 5707785 w 6901213"/>
              <a:gd name="connsiteY3074" fmla="*/ 2493943 h 6851544"/>
              <a:gd name="connsiteX3075" fmla="*/ 5608447 w 6901213"/>
              <a:gd name="connsiteY3075" fmla="*/ 2340986 h 6851544"/>
              <a:gd name="connsiteX3076" fmla="*/ 5565005 w 6901213"/>
              <a:gd name="connsiteY3076" fmla="*/ 2297544 h 6851544"/>
              <a:gd name="connsiteX3077" fmla="*/ 5521564 w 6901213"/>
              <a:gd name="connsiteY3077" fmla="*/ 2340986 h 6851544"/>
              <a:gd name="connsiteX3078" fmla="*/ 5565005 w 6901213"/>
              <a:gd name="connsiteY3078" fmla="*/ 2384427 h 6851544"/>
              <a:gd name="connsiteX3079" fmla="*/ 5608447 w 6901213"/>
              <a:gd name="connsiteY3079" fmla="*/ 2340986 h 6851544"/>
              <a:gd name="connsiteX3080" fmla="*/ 5501969 w 6901213"/>
              <a:gd name="connsiteY3080" fmla="*/ 2192965 h 6851544"/>
              <a:gd name="connsiteX3081" fmla="*/ 5457920 w 6901213"/>
              <a:gd name="connsiteY3081" fmla="*/ 2148916 h 6851544"/>
              <a:gd name="connsiteX3082" fmla="*/ 5413871 w 6901213"/>
              <a:gd name="connsiteY3082" fmla="*/ 2192965 h 6851544"/>
              <a:gd name="connsiteX3083" fmla="*/ 5457920 w 6901213"/>
              <a:gd name="connsiteY3083" fmla="*/ 2237014 h 6851544"/>
              <a:gd name="connsiteX3084" fmla="*/ 5501969 w 6901213"/>
              <a:gd name="connsiteY3084" fmla="*/ 2192965 h 6851544"/>
              <a:gd name="connsiteX3085" fmla="*/ 5388657 w 6901213"/>
              <a:gd name="connsiteY3085" fmla="*/ 2050185 h 6851544"/>
              <a:gd name="connsiteX3086" fmla="*/ 5344076 w 6901213"/>
              <a:gd name="connsiteY3086" fmla="*/ 2005604 h 6851544"/>
              <a:gd name="connsiteX3087" fmla="*/ 5299495 w 6901213"/>
              <a:gd name="connsiteY3087" fmla="*/ 2050185 h 6851544"/>
              <a:gd name="connsiteX3088" fmla="*/ 5344076 w 6901213"/>
              <a:gd name="connsiteY3088" fmla="*/ 2094766 h 6851544"/>
              <a:gd name="connsiteX3089" fmla="*/ 5388657 w 6901213"/>
              <a:gd name="connsiteY3089" fmla="*/ 2050185 h 6851544"/>
              <a:gd name="connsiteX3090" fmla="*/ 5268736 w 6901213"/>
              <a:gd name="connsiteY3090" fmla="*/ 1912873 h 6851544"/>
              <a:gd name="connsiteX3091" fmla="*/ 5223624 w 6901213"/>
              <a:gd name="connsiteY3091" fmla="*/ 1867761 h 6851544"/>
              <a:gd name="connsiteX3092" fmla="*/ 5178436 w 6901213"/>
              <a:gd name="connsiteY3092" fmla="*/ 1912873 h 6851544"/>
              <a:gd name="connsiteX3093" fmla="*/ 5223624 w 6901213"/>
              <a:gd name="connsiteY3093" fmla="*/ 1957986 h 6851544"/>
              <a:gd name="connsiteX3094" fmla="*/ 5268736 w 6901213"/>
              <a:gd name="connsiteY3094" fmla="*/ 1912873 h 6851544"/>
              <a:gd name="connsiteX3095" fmla="*/ 5141905 w 6901213"/>
              <a:gd name="connsiteY3095" fmla="*/ 1781485 h 6851544"/>
              <a:gd name="connsiteX3096" fmla="*/ 5096793 w 6901213"/>
              <a:gd name="connsiteY3096" fmla="*/ 1736373 h 6851544"/>
              <a:gd name="connsiteX3097" fmla="*/ 5051605 w 6901213"/>
              <a:gd name="connsiteY3097" fmla="*/ 1781485 h 6851544"/>
              <a:gd name="connsiteX3098" fmla="*/ 5096793 w 6901213"/>
              <a:gd name="connsiteY3098" fmla="*/ 1826598 h 6851544"/>
              <a:gd name="connsiteX3099" fmla="*/ 5141905 w 6901213"/>
              <a:gd name="connsiteY3099" fmla="*/ 1781485 h 6851544"/>
              <a:gd name="connsiteX3100" fmla="*/ 5008391 w 6901213"/>
              <a:gd name="connsiteY3100" fmla="*/ 1656173 h 6851544"/>
              <a:gd name="connsiteX3101" fmla="*/ 4963810 w 6901213"/>
              <a:gd name="connsiteY3101" fmla="*/ 1611592 h 6851544"/>
              <a:gd name="connsiteX3102" fmla="*/ 4919229 w 6901213"/>
              <a:gd name="connsiteY3102" fmla="*/ 1656173 h 6851544"/>
              <a:gd name="connsiteX3103" fmla="*/ 4963810 w 6901213"/>
              <a:gd name="connsiteY3103" fmla="*/ 1700754 h 6851544"/>
              <a:gd name="connsiteX3104" fmla="*/ 5008391 w 6901213"/>
              <a:gd name="connsiteY3104" fmla="*/ 1656173 h 6851544"/>
              <a:gd name="connsiteX3105" fmla="*/ 4869712 w 6901213"/>
              <a:gd name="connsiteY3105" fmla="*/ 1537316 h 6851544"/>
              <a:gd name="connsiteX3106" fmla="*/ 4825131 w 6901213"/>
              <a:gd name="connsiteY3106" fmla="*/ 1492735 h 6851544"/>
              <a:gd name="connsiteX3107" fmla="*/ 4780550 w 6901213"/>
              <a:gd name="connsiteY3107" fmla="*/ 1537316 h 6851544"/>
              <a:gd name="connsiteX3108" fmla="*/ 4825131 w 6901213"/>
              <a:gd name="connsiteY3108" fmla="*/ 1581897 h 6851544"/>
              <a:gd name="connsiteX3109" fmla="*/ 4869712 w 6901213"/>
              <a:gd name="connsiteY3109" fmla="*/ 1537316 h 6851544"/>
              <a:gd name="connsiteX3110" fmla="*/ 4725033 w 6901213"/>
              <a:gd name="connsiteY3110" fmla="*/ 1425067 h 6851544"/>
              <a:gd name="connsiteX3111" fmla="*/ 4680984 w 6901213"/>
              <a:gd name="connsiteY3111" fmla="*/ 1381017 h 6851544"/>
              <a:gd name="connsiteX3112" fmla="*/ 4636935 w 6901213"/>
              <a:gd name="connsiteY3112" fmla="*/ 1425067 h 6851544"/>
              <a:gd name="connsiteX3113" fmla="*/ 4680984 w 6901213"/>
              <a:gd name="connsiteY3113" fmla="*/ 1469116 h 6851544"/>
              <a:gd name="connsiteX3114" fmla="*/ 4725033 w 6901213"/>
              <a:gd name="connsiteY3114" fmla="*/ 1425067 h 6851544"/>
              <a:gd name="connsiteX3115" fmla="*/ 4575190 w 6901213"/>
              <a:gd name="connsiteY3115" fmla="*/ 1319880 h 6851544"/>
              <a:gd name="connsiteX3116" fmla="*/ 4531748 w 6901213"/>
              <a:gd name="connsiteY3116" fmla="*/ 1276439 h 6851544"/>
              <a:gd name="connsiteX3117" fmla="*/ 4488307 w 6901213"/>
              <a:gd name="connsiteY3117" fmla="*/ 1319880 h 6851544"/>
              <a:gd name="connsiteX3118" fmla="*/ 4531748 w 6901213"/>
              <a:gd name="connsiteY3118" fmla="*/ 1363322 h 6851544"/>
              <a:gd name="connsiteX3119" fmla="*/ 4575190 w 6901213"/>
              <a:gd name="connsiteY3119" fmla="*/ 1319880 h 6851544"/>
              <a:gd name="connsiteX3120" fmla="*/ 4419954 w 6901213"/>
              <a:gd name="connsiteY3120" fmla="*/ 1221757 h 6851544"/>
              <a:gd name="connsiteX3121" fmla="*/ 4377652 w 6901213"/>
              <a:gd name="connsiteY3121" fmla="*/ 1179455 h 6851544"/>
              <a:gd name="connsiteX3122" fmla="*/ 4335350 w 6901213"/>
              <a:gd name="connsiteY3122" fmla="*/ 1221757 h 6851544"/>
              <a:gd name="connsiteX3123" fmla="*/ 4377652 w 6901213"/>
              <a:gd name="connsiteY3123" fmla="*/ 1264059 h 6851544"/>
              <a:gd name="connsiteX3124" fmla="*/ 4419954 w 6901213"/>
              <a:gd name="connsiteY3124" fmla="*/ 1221757 h 6851544"/>
              <a:gd name="connsiteX3125" fmla="*/ 4260846 w 6901213"/>
              <a:gd name="connsiteY3125" fmla="*/ 1131076 h 6851544"/>
              <a:gd name="connsiteX3126" fmla="*/ 4219075 w 6901213"/>
              <a:gd name="connsiteY3126" fmla="*/ 1089306 h 6851544"/>
              <a:gd name="connsiteX3127" fmla="*/ 4177305 w 6901213"/>
              <a:gd name="connsiteY3127" fmla="*/ 1131076 h 6851544"/>
              <a:gd name="connsiteX3128" fmla="*/ 4219075 w 6901213"/>
              <a:gd name="connsiteY3128" fmla="*/ 1172847 h 6851544"/>
              <a:gd name="connsiteX3129" fmla="*/ 4260846 w 6901213"/>
              <a:gd name="connsiteY3129" fmla="*/ 1131076 h 6851544"/>
              <a:gd name="connsiteX3130" fmla="*/ 4097029 w 6901213"/>
              <a:gd name="connsiteY3130" fmla="*/ 1047915 h 6851544"/>
              <a:gd name="connsiteX3131" fmla="*/ 4056397 w 6901213"/>
              <a:gd name="connsiteY3131" fmla="*/ 1007283 h 6851544"/>
              <a:gd name="connsiteX3132" fmla="*/ 4015765 w 6901213"/>
              <a:gd name="connsiteY3132" fmla="*/ 1047915 h 6851544"/>
              <a:gd name="connsiteX3133" fmla="*/ 4056397 w 6901213"/>
              <a:gd name="connsiteY3133" fmla="*/ 1088546 h 6851544"/>
              <a:gd name="connsiteX3134" fmla="*/ 4097029 w 6901213"/>
              <a:gd name="connsiteY3134" fmla="*/ 1047915 h 6851544"/>
              <a:gd name="connsiteX3135" fmla="*/ 3928958 w 6901213"/>
              <a:gd name="connsiteY3135" fmla="*/ 972575 h 6851544"/>
              <a:gd name="connsiteX3136" fmla="*/ 3889997 w 6901213"/>
              <a:gd name="connsiteY3136" fmla="*/ 933615 h 6851544"/>
              <a:gd name="connsiteX3137" fmla="*/ 3851037 w 6901213"/>
              <a:gd name="connsiteY3137" fmla="*/ 972575 h 6851544"/>
              <a:gd name="connsiteX3138" fmla="*/ 3889997 w 6901213"/>
              <a:gd name="connsiteY3138" fmla="*/ 1011536 h 6851544"/>
              <a:gd name="connsiteX3139" fmla="*/ 3928958 w 6901213"/>
              <a:gd name="connsiteY3139" fmla="*/ 972575 h 6851544"/>
              <a:gd name="connsiteX3140" fmla="*/ 3758078 w 6901213"/>
              <a:gd name="connsiteY3140" fmla="*/ 905210 h 6851544"/>
              <a:gd name="connsiteX3141" fmla="*/ 3720256 w 6901213"/>
              <a:gd name="connsiteY3141" fmla="*/ 867389 h 6851544"/>
              <a:gd name="connsiteX3142" fmla="*/ 3682435 w 6901213"/>
              <a:gd name="connsiteY3142" fmla="*/ 905210 h 6851544"/>
              <a:gd name="connsiteX3143" fmla="*/ 3720256 w 6901213"/>
              <a:gd name="connsiteY3143" fmla="*/ 943032 h 6851544"/>
              <a:gd name="connsiteX3144" fmla="*/ 3758078 w 6901213"/>
              <a:gd name="connsiteY3144" fmla="*/ 905210 h 6851544"/>
              <a:gd name="connsiteX3145" fmla="*/ 3583552 w 6901213"/>
              <a:gd name="connsiteY3145" fmla="*/ 845896 h 6851544"/>
              <a:gd name="connsiteX3146" fmla="*/ 3547401 w 6901213"/>
              <a:gd name="connsiteY3146" fmla="*/ 809745 h 6851544"/>
              <a:gd name="connsiteX3147" fmla="*/ 3511250 w 6901213"/>
              <a:gd name="connsiteY3147" fmla="*/ 845896 h 6851544"/>
              <a:gd name="connsiteX3148" fmla="*/ 3547401 w 6901213"/>
              <a:gd name="connsiteY3148" fmla="*/ 882047 h 6851544"/>
              <a:gd name="connsiteX3149" fmla="*/ 3583552 w 6901213"/>
              <a:gd name="connsiteY3149" fmla="*/ 845896 h 6851544"/>
              <a:gd name="connsiteX3150" fmla="*/ 3405988 w 6901213"/>
              <a:gd name="connsiteY3150" fmla="*/ 794784 h 6851544"/>
              <a:gd name="connsiteX3151" fmla="*/ 3372116 w 6901213"/>
              <a:gd name="connsiteY3151" fmla="*/ 760911 h 6851544"/>
              <a:gd name="connsiteX3152" fmla="*/ 3338244 w 6901213"/>
              <a:gd name="connsiteY3152" fmla="*/ 794784 h 6851544"/>
              <a:gd name="connsiteX3153" fmla="*/ 3372116 w 6901213"/>
              <a:gd name="connsiteY3153" fmla="*/ 828656 h 6851544"/>
              <a:gd name="connsiteX3154" fmla="*/ 3405988 w 6901213"/>
              <a:gd name="connsiteY3154" fmla="*/ 794784 h 6851544"/>
              <a:gd name="connsiteX3155" fmla="*/ 3226678 w 6901213"/>
              <a:gd name="connsiteY3155" fmla="*/ 752026 h 6851544"/>
              <a:gd name="connsiteX3156" fmla="*/ 3194476 w 6901213"/>
              <a:gd name="connsiteY3156" fmla="*/ 719900 h 6851544"/>
              <a:gd name="connsiteX3157" fmla="*/ 3162275 w 6901213"/>
              <a:gd name="connsiteY3157" fmla="*/ 752026 h 6851544"/>
              <a:gd name="connsiteX3158" fmla="*/ 3194476 w 6901213"/>
              <a:gd name="connsiteY3158" fmla="*/ 784227 h 6851544"/>
              <a:gd name="connsiteX3159" fmla="*/ 3226678 w 6901213"/>
              <a:gd name="connsiteY3159" fmla="*/ 752026 h 6851544"/>
              <a:gd name="connsiteX3160" fmla="*/ 3045545 w 6901213"/>
              <a:gd name="connsiteY3160" fmla="*/ 717698 h 6851544"/>
              <a:gd name="connsiteX3161" fmla="*/ 3015090 w 6901213"/>
              <a:gd name="connsiteY3161" fmla="*/ 687243 h 6851544"/>
              <a:gd name="connsiteX3162" fmla="*/ 2984635 w 6901213"/>
              <a:gd name="connsiteY3162" fmla="*/ 717698 h 6851544"/>
              <a:gd name="connsiteX3163" fmla="*/ 3015090 w 6901213"/>
              <a:gd name="connsiteY3163" fmla="*/ 748152 h 6851544"/>
              <a:gd name="connsiteX3164" fmla="*/ 3045545 w 6901213"/>
              <a:gd name="connsiteY3164" fmla="*/ 717698 h 6851544"/>
              <a:gd name="connsiteX3165" fmla="*/ 2862513 w 6901213"/>
              <a:gd name="connsiteY3165" fmla="*/ 691952 h 6851544"/>
              <a:gd name="connsiteX3166" fmla="*/ 2834260 w 6901213"/>
              <a:gd name="connsiteY3166" fmla="*/ 663775 h 6851544"/>
              <a:gd name="connsiteX3167" fmla="*/ 2806084 w 6901213"/>
              <a:gd name="connsiteY3167" fmla="*/ 691952 h 6851544"/>
              <a:gd name="connsiteX3168" fmla="*/ 2834260 w 6901213"/>
              <a:gd name="connsiteY3168" fmla="*/ 720204 h 6851544"/>
              <a:gd name="connsiteX3169" fmla="*/ 2862513 w 6901213"/>
              <a:gd name="connsiteY3169" fmla="*/ 691952 h 6851544"/>
              <a:gd name="connsiteX3170" fmla="*/ 2678949 w 6901213"/>
              <a:gd name="connsiteY3170" fmla="*/ 674712 h 6851544"/>
              <a:gd name="connsiteX3171" fmla="*/ 2652444 w 6901213"/>
              <a:gd name="connsiteY3171" fmla="*/ 648206 h 6851544"/>
              <a:gd name="connsiteX3172" fmla="*/ 2625938 w 6901213"/>
              <a:gd name="connsiteY3172" fmla="*/ 674712 h 6851544"/>
              <a:gd name="connsiteX3173" fmla="*/ 2652444 w 6901213"/>
              <a:gd name="connsiteY3173" fmla="*/ 701217 h 6851544"/>
              <a:gd name="connsiteX3174" fmla="*/ 2678949 w 6901213"/>
              <a:gd name="connsiteY3174" fmla="*/ 674712 h 6851544"/>
              <a:gd name="connsiteX3175" fmla="*/ 2494246 w 6901213"/>
              <a:gd name="connsiteY3175" fmla="*/ 666054 h 6851544"/>
              <a:gd name="connsiteX3176" fmla="*/ 2469943 w 6901213"/>
              <a:gd name="connsiteY3176" fmla="*/ 641827 h 6851544"/>
              <a:gd name="connsiteX3177" fmla="*/ 2445640 w 6901213"/>
              <a:gd name="connsiteY3177" fmla="*/ 666054 h 6851544"/>
              <a:gd name="connsiteX3178" fmla="*/ 2469943 w 6901213"/>
              <a:gd name="connsiteY3178" fmla="*/ 690357 h 6851544"/>
              <a:gd name="connsiteX3179" fmla="*/ 2494246 w 6901213"/>
              <a:gd name="connsiteY3179" fmla="*/ 666054 h 6851544"/>
              <a:gd name="connsiteX3180" fmla="*/ 2309316 w 6901213"/>
              <a:gd name="connsiteY3180" fmla="*/ 666054 h 6851544"/>
              <a:gd name="connsiteX3181" fmla="*/ 2287291 w 6901213"/>
              <a:gd name="connsiteY3181" fmla="*/ 644029 h 6851544"/>
              <a:gd name="connsiteX3182" fmla="*/ 2265267 w 6901213"/>
              <a:gd name="connsiteY3182" fmla="*/ 666054 h 6851544"/>
              <a:gd name="connsiteX3183" fmla="*/ 2287291 w 6901213"/>
              <a:gd name="connsiteY3183" fmla="*/ 688078 h 6851544"/>
              <a:gd name="connsiteX3184" fmla="*/ 2309316 w 6901213"/>
              <a:gd name="connsiteY3184" fmla="*/ 666054 h 6851544"/>
              <a:gd name="connsiteX3185" fmla="*/ 2125145 w 6901213"/>
              <a:gd name="connsiteY3185" fmla="*/ 674712 h 6851544"/>
              <a:gd name="connsiteX3186" fmla="*/ 2104791 w 6901213"/>
              <a:gd name="connsiteY3186" fmla="*/ 654358 h 6851544"/>
              <a:gd name="connsiteX3187" fmla="*/ 2084513 w 6901213"/>
              <a:gd name="connsiteY3187" fmla="*/ 674712 h 6851544"/>
              <a:gd name="connsiteX3188" fmla="*/ 2104791 w 6901213"/>
              <a:gd name="connsiteY3188" fmla="*/ 695066 h 6851544"/>
              <a:gd name="connsiteX3189" fmla="*/ 2125145 w 6901213"/>
              <a:gd name="connsiteY3189" fmla="*/ 674712 h 6851544"/>
              <a:gd name="connsiteX3190" fmla="*/ 1941049 w 6901213"/>
              <a:gd name="connsiteY3190" fmla="*/ 691952 h 6851544"/>
              <a:gd name="connsiteX3191" fmla="*/ 1922974 w 6901213"/>
              <a:gd name="connsiteY3191" fmla="*/ 673876 h 6851544"/>
              <a:gd name="connsiteX3192" fmla="*/ 1904899 w 6901213"/>
              <a:gd name="connsiteY3192" fmla="*/ 691952 h 6851544"/>
              <a:gd name="connsiteX3193" fmla="*/ 1922974 w 6901213"/>
              <a:gd name="connsiteY3193" fmla="*/ 710027 h 6851544"/>
              <a:gd name="connsiteX3194" fmla="*/ 1941049 w 6901213"/>
              <a:gd name="connsiteY3194" fmla="*/ 691952 h 6851544"/>
              <a:gd name="connsiteX3195" fmla="*/ 1758549 w 6901213"/>
              <a:gd name="connsiteY3195" fmla="*/ 717698 h 6851544"/>
              <a:gd name="connsiteX3196" fmla="*/ 1742221 w 6901213"/>
              <a:gd name="connsiteY3196" fmla="*/ 701369 h 6851544"/>
              <a:gd name="connsiteX3197" fmla="*/ 1725816 w 6901213"/>
              <a:gd name="connsiteY3197" fmla="*/ 717698 h 6851544"/>
              <a:gd name="connsiteX3198" fmla="*/ 1742221 w 6901213"/>
              <a:gd name="connsiteY3198" fmla="*/ 734102 h 6851544"/>
              <a:gd name="connsiteX3199" fmla="*/ 1758549 w 6901213"/>
              <a:gd name="connsiteY3199" fmla="*/ 717698 h 6851544"/>
              <a:gd name="connsiteX3200" fmla="*/ 1577416 w 6901213"/>
              <a:gd name="connsiteY3200" fmla="*/ 752026 h 6851544"/>
              <a:gd name="connsiteX3201" fmla="*/ 1562758 w 6901213"/>
              <a:gd name="connsiteY3201" fmla="*/ 737368 h 6851544"/>
              <a:gd name="connsiteX3202" fmla="*/ 1548100 w 6901213"/>
              <a:gd name="connsiteY3202" fmla="*/ 752026 h 6851544"/>
              <a:gd name="connsiteX3203" fmla="*/ 1562758 w 6901213"/>
              <a:gd name="connsiteY3203" fmla="*/ 766683 h 6851544"/>
              <a:gd name="connsiteX3204" fmla="*/ 1577416 w 6901213"/>
              <a:gd name="connsiteY3204" fmla="*/ 752026 h 6851544"/>
              <a:gd name="connsiteX3205" fmla="*/ 1397574 w 6901213"/>
              <a:gd name="connsiteY3205" fmla="*/ 794784 h 6851544"/>
              <a:gd name="connsiteX3206" fmla="*/ 1385119 w 6901213"/>
              <a:gd name="connsiteY3206" fmla="*/ 782404 h 6851544"/>
              <a:gd name="connsiteX3207" fmla="*/ 1372663 w 6901213"/>
              <a:gd name="connsiteY3207" fmla="*/ 794784 h 6851544"/>
              <a:gd name="connsiteX3208" fmla="*/ 1385119 w 6901213"/>
              <a:gd name="connsiteY3208" fmla="*/ 807239 h 6851544"/>
              <a:gd name="connsiteX3209" fmla="*/ 1397574 w 6901213"/>
              <a:gd name="connsiteY3209" fmla="*/ 794784 h 6851544"/>
              <a:gd name="connsiteX3210" fmla="*/ 1220542 w 6901213"/>
              <a:gd name="connsiteY3210" fmla="*/ 845896 h 6851544"/>
              <a:gd name="connsiteX3211" fmla="*/ 1209833 w 6901213"/>
              <a:gd name="connsiteY3211" fmla="*/ 835187 h 6851544"/>
              <a:gd name="connsiteX3212" fmla="*/ 1199125 w 6901213"/>
              <a:gd name="connsiteY3212" fmla="*/ 845896 h 6851544"/>
              <a:gd name="connsiteX3213" fmla="*/ 1209833 w 6901213"/>
              <a:gd name="connsiteY3213" fmla="*/ 856604 h 6851544"/>
              <a:gd name="connsiteX3214" fmla="*/ 1220542 w 6901213"/>
              <a:gd name="connsiteY3214" fmla="*/ 845896 h 6851544"/>
              <a:gd name="connsiteX3215" fmla="*/ 1046092 w 6901213"/>
              <a:gd name="connsiteY3215" fmla="*/ 905210 h 6851544"/>
              <a:gd name="connsiteX3216" fmla="*/ 1037054 w 6901213"/>
              <a:gd name="connsiteY3216" fmla="*/ 896173 h 6851544"/>
              <a:gd name="connsiteX3217" fmla="*/ 1028016 w 6901213"/>
              <a:gd name="connsiteY3217" fmla="*/ 905210 h 6851544"/>
              <a:gd name="connsiteX3218" fmla="*/ 1037054 w 6901213"/>
              <a:gd name="connsiteY3218" fmla="*/ 914248 h 6851544"/>
              <a:gd name="connsiteX3219" fmla="*/ 1046092 w 6901213"/>
              <a:gd name="connsiteY3219" fmla="*/ 905210 h 6851544"/>
              <a:gd name="connsiteX3220" fmla="*/ 874604 w 6901213"/>
              <a:gd name="connsiteY3220" fmla="*/ 972575 h 6851544"/>
              <a:gd name="connsiteX3221" fmla="*/ 867237 w 6901213"/>
              <a:gd name="connsiteY3221" fmla="*/ 965208 h 6851544"/>
              <a:gd name="connsiteX3222" fmla="*/ 859870 w 6901213"/>
              <a:gd name="connsiteY3222" fmla="*/ 972575 h 6851544"/>
              <a:gd name="connsiteX3223" fmla="*/ 867237 w 6901213"/>
              <a:gd name="connsiteY3223" fmla="*/ 979942 h 6851544"/>
              <a:gd name="connsiteX3224" fmla="*/ 874604 w 6901213"/>
              <a:gd name="connsiteY3224" fmla="*/ 972575 h 6851544"/>
              <a:gd name="connsiteX3225" fmla="*/ 707065 w 6901213"/>
              <a:gd name="connsiteY3225" fmla="*/ 1047915 h 6851544"/>
              <a:gd name="connsiteX3226" fmla="*/ 700837 w 6901213"/>
              <a:gd name="connsiteY3226" fmla="*/ 1041687 h 6851544"/>
              <a:gd name="connsiteX3227" fmla="*/ 694610 w 6901213"/>
              <a:gd name="connsiteY3227" fmla="*/ 1047915 h 6851544"/>
              <a:gd name="connsiteX3228" fmla="*/ 700837 w 6901213"/>
              <a:gd name="connsiteY3228" fmla="*/ 1054142 h 6851544"/>
              <a:gd name="connsiteX3229" fmla="*/ 707065 w 6901213"/>
              <a:gd name="connsiteY3229" fmla="*/ 1047915 h 6851544"/>
              <a:gd name="connsiteX3230" fmla="*/ 543248 w 6901213"/>
              <a:gd name="connsiteY3230" fmla="*/ 1131076 h 6851544"/>
              <a:gd name="connsiteX3231" fmla="*/ 538159 w 6901213"/>
              <a:gd name="connsiteY3231" fmla="*/ 1125988 h 6851544"/>
              <a:gd name="connsiteX3232" fmla="*/ 533071 w 6901213"/>
              <a:gd name="connsiteY3232" fmla="*/ 1131076 h 6851544"/>
              <a:gd name="connsiteX3233" fmla="*/ 538159 w 6901213"/>
              <a:gd name="connsiteY3233" fmla="*/ 1136165 h 6851544"/>
              <a:gd name="connsiteX3234" fmla="*/ 543248 w 6901213"/>
              <a:gd name="connsiteY3234" fmla="*/ 1131076 h 6851544"/>
              <a:gd name="connsiteX3235" fmla="*/ 383608 w 6901213"/>
              <a:gd name="connsiteY3235" fmla="*/ 1221757 h 6851544"/>
              <a:gd name="connsiteX3236" fmla="*/ 379658 w 6901213"/>
              <a:gd name="connsiteY3236" fmla="*/ 1217808 h 6851544"/>
              <a:gd name="connsiteX3237" fmla="*/ 375709 w 6901213"/>
              <a:gd name="connsiteY3237" fmla="*/ 1221757 h 6851544"/>
              <a:gd name="connsiteX3238" fmla="*/ 379658 w 6901213"/>
              <a:gd name="connsiteY3238" fmla="*/ 1225706 h 6851544"/>
              <a:gd name="connsiteX3239" fmla="*/ 383608 w 6901213"/>
              <a:gd name="connsiteY3239" fmla="*/ 1221757 h 6851544"/>
              <a:gd name="connsiteX3240" fmla="*/ 228372 w 6901213"/>
              <a:gd name="connsiteY3240" fmla="*/ 1319880 h 6851544"/>
              <a:gd name="connsiteX3241" fmla="*/ 225562 w 6901213"/>
              <a:gd name="connsiteY3241" fmla="*/ 1317070 h 6851544"/>
              <a:gd name="connsiteX3242" fmla="*/ 222752 w 6901213"/>
              <a:gd name="connsiteY3242" fmla="*/ 1319880 h 6851544"/>
              <a:gd name="connsiteX3243" fmla="*/ 225562 w 6901213"/>
              <a:gd name="connsiteY3243" fmla="*/ 1322690 h 6851544"/>
              <a:gd name="connsiteX3244" fmla="*/ 228372 w 6901213"/>
              <a:gd name="connsiteY3244" fmla="*/ 1319880 h 6851544"/>
              <a:gd name="connsiteX3245" fmla="*/ 5779023 w 6901213"/>
              <a:gd name="connsiteY3245" fmla="*/ 6774231 h 6851544"/>
              <a:gd name="connsiteX3246" fmla="*/ 5775606 w 6901213"/>
              <a:gd name="connsiteY3246" fmla="*/ 6770813 h 6851544"/>
              <a:gd name="connsiteX3247" fmla="*/ 5772188 w 6901213"/>
              <a:gd name="connsiteY3247" fmla="*/ 6774231 h 6851544"/>
              <a:gd name="connsiteX3248" fmla="*/ 5775606 w 6901213"/>
              <a:gd name="connsiteY3248" fmla="*/ 6777648 h 6851544"/>
              <a:gd name="connsiteX3249" fmla="*/ 5779023 w 6901213"/>
              <a:gd name="connsiteY3249" fmla="*/ 6774231 h 6851544"/>
              <a:gd name="connsiteX3250" fmla="*/ 5876767 w 6901213"/>
              <a:gd name="connsiteY3250" fmla="*/ 6619527 h 6851544"/>
              <a:gd name="connsiteX3251" fmla="*/ 5872818 w 6901213"/>
              <a:gd name="connsiteY3251" fmla="*/ 6615578 h 6851544"/>
              <a:gd name="connsiteX3252" fmla="*/ 5868869 w 6901213"/>
              <a:gd name="connsiteY3252" fmla="*/ 6619527 h 6851544"/>
              <a:gd name="connsiteX3253" fmla="*/ 5872818 w 6901213"/>
              <a:gd name="connsiteY3253" fmla="*/ 6623476 h 6851544"/>
              <a:gd name="connsiteX3254" fmla="*/ 5876767 w 6901213"/>
              <a:gd name="connsiteY3254" fmla="*/ 6619527 h 6851544"/>
              <a:gd name="connsiteX3255" fmla="*/ 5968663 w 6901213"/>
              <a:gd name="connsiteY3255" fmla="*/ 6460722 h 6851544"/>
              <a:gd name="connsiteX3256" fmla="*/ 5963042 w 6901213"/>
              <a:gd name="connsiteY3256" fmla="*/ 6455102 h 6851544"/>
              <a:gd name="connsiteX3257" fmla="*/ 5957422 w 6901213"/>
              <a:gd name="connsiteY3257" fmla="*/ 6460722 h 6851544"/>
              <a:gd name="connsiteX3258" fmla="*/ 5963042 w 6901213"/>
              <a:gd name="connsiteY3258" fmla="*/ 6466342 h 6851544"/>
              <a:gd name="connsiteX3259" fmla="*/ 5968663 w 6901213"/>
              <a:gd name="connsiteY3259" fmla="*/ 6460722 h 6851544"/>
              <a:gd name="connsiteX3260" fmla="*/ 6052736 w 6901213"/>
              <a:gd name="connsiteY3260" fmla="*/ 6297968 h 6851544"/>
              <a:gd name="connsiteX3261" fmla="*/ 6045977 w 6901213"/>
              <a:gd name="connsiteY3261" fmla="*/ 6291209 h 6851544"/>
              <a:gd name="connsiteX3262" fmla="*/ 6039217 w 6901213"/>
              <a:gd name="connsiteY3262" fmla="*/ 6297968 h 6851544"/>
              <a:gd name="connsiteX3263" fmla="*/ 6045977 w 6901213"/>
              <a:gd name="connsiteY3263" fmla="*/ 6304727 h 6851544"/>
              <a:gd name="connsiteX3264" fmla="*/ 6052736 w 6901213"/>
              <a:gd name="connsiteY3264" fmla="*/ 6297968 h 6851544"/>
              <a:gd name="connsiteX3265" fmla="*/ 6129366 w 6901213"/>
              <a:gd name="connsiteY3265" fmla="*/ 6131645 h 6851544"/>
              <a:gd name="connsiteX3266" fmla="*/ 6121468 w 6901213"/>
              <a:gd name="connsiteY3266" fmla="*/ 6123746 h 6851544"/>
              <a:gd name="connsiteX3267" fmla="*/ 6113569 w 6901213"/>
              <a:gd name="connsiteY3267" fmla="*/ 6131645 h 6851544"/>
              <a:gd name="connsiteX3268" fmla="*/ 6121468 w 6901213"/>
              <a:gd name="connsiteY3268" fmla="*/ 6139543 h 6851544"/>
              <a:gd name="connsiteX3269" fmla="*/ 6129366 w 6901213"/>
              <a:gd name="connsiteY3269" fmla="*/ 6131645 h 6851544"/>
              <a:gd name="connsiteX3270" fmla="*/ 6199085 w 6901213"/>
              <a:gd name="connsiteY3270" fmla="*/ 5962131 h 6851544"/>
              <a:gd name="connsiteX3271" fmla="*/ 6189516 w 6901213"/>
              <a:gd name="connsiteY3271" fmla="*/ 5952562 h 6851544"/>
              <a:gd name="connsiteX3272" fmla="*/ 6179947 w 6901213"/>
              <a:gd name="connsiteY3272" fmla="*/ 5962131 h 6851544"/>
              <a:gd name="connsiteX3273" fmla="*/ 6189516 w 6901213"/>
              <a:gd name="connsiteY3273" fmla="*/ 5971701 h 6851544"/>
              <a:gd name="connsiteX3274" fmla="*/ 6199085 w 6901213"/>
              <a:gd name="connsiteY3274" fmla="*/ 5962131 h 6851544"/>
              <a:gd name="connsiteX3275" fmla="*/ 6261058 w 6901213"/>
              <a:gd name="connsiteY3275" fmla="*/ 5789656 h 6851544"/>
              <a:gd name="connsiteX3276" fmla="*/ 6249742 w 6901213"/>
              <a:gd name="connsiteY3276" fmla="*/ 5778340 h 6851544"/>
              <a:gd name="connsiteX3277" fmla="*/ 6238426 w 6901213"/>
              <a:gd name="connsiteY3277" fmla="*/ 5789656 h 6851544"/>
              <a:gd name="connsiteX3278" fmla="*/ 6249742 w 6901213"/>
              <a:gd name="connsiteY3278" fmla="*/ 5800972 h 6851544"/>
              <a:gd name="connsiteX3279" fmla="*/ 6261058 w 6901213"/>
              <a:gd name="connsiteY3279" fmla="*/ 5789656 h 6851544"/>
              <a:gd name="connsiteX3280" fmla="*/ 6315892 w 6901213"/>
              <a:gd name="connsiteY3280" fmla="*/ 5614750 h 6851544"/>
              <a:gd name="connsiteX3281" fmla="*/ 6302373 w 6901213"/>
              <a:gd name="connsiteY3281" fmla="*/ 5601232 h 6851544"/>
              <a:gd name="connsiteX3282" fmla="*/ 6288854 w 6901213"/>
              <a:gd name="connsiteY3282" fmla="*/ 5614750 h 6851544"/>
              <a:gd name="connsiteX3283" fmla="*/ 6302373 w 6901213"/>
              <a:gd name="connsiteY3283" fmla="*/ 5628269 h 6851544"/>
              <a:gd name="connsiteX3284" fmla="*/ 6315892 w 6901213"/>
              <a:gd name="connsiteY3284" fmla="*/ 5614750 h 6851544"/>
              <a:gd name="connsiteX3285" fmla="*/ 6362219 w 6901213"/>
              <a:gd name="connsiteY3285" fmla="*/ 5437642 h 6851544"/>
              <a:gd name="connsiteX3286" fmla="*/ 6346954 w 6901213"/>
              <a:gd name="connsiteY3286" fmla="*/ 5422377 h 6851544"/>
              <a:gd name="connsiteX3287" fmla="*/ 6331689 w 6901213"/>
              <a:gd name="connsiteY3287" fmla="*/ 5437642 h 6851544"/>
              <a:gd name="connsiteX3288" fmla="*/ 6346954 w 6901213"/>
              <a:gd name="connsiteY3288" fmla="*/ 5452908 h 6851544"/>
              <a:gd name="connsiteX3289" fmla="*/ 6362219 w 6901213"/>
              <a:gd name="connsiteY3289" fmla="*/ 5437642 h 6851544"/>
              <a:gd name="connsiteX3290" fmla="*/ 6400572 w 6901213"/>
              <a:gd name="connsiteY3290" fmla="*/ 5258636 h 6851544"/>
              <a:gd name="connsiteX3291" fmla="*/ 6383636 w 6901213"/>
              <a:gd name="connsiteY3291" fmla="*/ 5241700 h 6851544"/>
              <a:gd name="connsiteX3292" fmla="*/ 6366700 w 6901213"/>
              <a:gd name="connsiteY3292" fmla="*/ 5258636 h 6851544"/>
              <a:gd name="connsiteX3293" fmla="*/ 6383636 w 6901213"/>
              <a:gd name="connsiteY3293" fmla="*/ 5275572 h 6851544"/>
              <a:gd name="connsiteX3294" fmla="*/ 6400572 w 6901213"/>
              <a:gd name="connsiteY3294" fmla="*/ 5258636 h 6851544"/>
              <a:gd name="connsiteX3295" fmla="*/ 6431407 w 6901213"/>
              <a:gd name="connsiteY3295" fmla="*/ 5078262 h 6851544"/>
              <a:gd name="connsiteX3296" fmla="*/ 6412192 w 6901213"/>
              <a:gd name="connsiteY3296" fmla="*/ 5059048 h 6851544"/>
              <a:gd name="connsiteX3297" fmla="*/ 6392978 w 6901213"/>
              <a:gd name="connsiteY3297" fmla="*/ 5078262 h 6851544"/>
              <a:gd name="connsiteX3298" fmla="*/ 6412192 w 6901213"/>
              <a:gd name="connsiteY3298" fmla="*/ 5097477 h 6851544"/>
              <a:gd name="connsiteX3299" fmla="*/ 6431407 w 6901213"/>
              <a:gd name="connsiteY3299" fmla="*/ 5078262 h 6851544"/>
              <a:gd name="connsiteX3300" fmla="*/ 6454115 w 6901213"/>
              <a:gd name="connsiteY3300" fmla="*/ 4896749 h 6851544"/>
              <a:gd name="connsiteX3301" fmla="*/ 6432698 w 6901213"/>
              <a:gd name="connsiteY3301" fmla="*/ 4875332 h 6851544"/>
              <a:gd name="connsiteX3302" fmla="*/ 6411281 w 6901213"/>
              <a:gd name="connsiteY3302" fmla="*/ 4896749 h 6851544"/>
              <a:gd name="connsiteX3303" fmla="*/ 6432698 w 6901213"/>
              <a:gd name="connsiteY3303" fmla="*/ 4918166 h 6851544"/>
              <a:gd name="connsiteX3304" fmla="*/ 6454115 w 6901213"/>
              <a:gd name="connsiteY3304" fmla="*/ 4896749 h 6851544"/>
              <a:gd name="connsiteX3305" fmla="*/ 6468621 w 6901213"/>
              <a:gd name="connsiteY3305" fmla="*/ 4714477 h 6851544"/>
              <a:gd name="connsiteX3306" fmla="*/ 6444925 w 6901213"/>
              <a:gd name="connsiteY3306" fmla="*/ 4690781 h 6851544"/>
              <a:gd name="connsiteX3307" fmla="*/ 6421230 w 6901213"/>
              <a:gd name="connsiteY3307" fmla="*/ 4714477 h 6851544"/>
              <a:gd name="connsiteX3308" fmla="*/ 6444925 w 6901213"/>
              <a:gd name="connsiteY3308" fmla="*/ 4738172 h 6851544"/>
              <a:gd name="connsiteX3309" fmla="*/ 6468621 w 6901213"/>
              <a:gd name="connsiteY3309" fmla="*/ 4714477 h 6851544"/>
              <a:gd name="connsiteX3310" fmla="*/ 6474393 w 6901213"/>
              <a:gd name="connsiteY3310" fmla="*/ 4531824 h 6851544"/>
              <a:gd name="connsiteX3311" fmla="*/ 6449027 w 6901213"/>
              <a:gd name="connsiteY3311" fmla="*/ 4506458 h 6851544"/>
              <a:gd name="connsiteX3312" fmla="*/ 6423660 w 6901213"/>
              <a:gd name="connsiteY3312" fmla="*/ 4531824 h 6851544"/>
              <a:gd name="connsiteX3313" fmla="*/ 6449027 w 6901213"/>
              <a:gd name="connsiteY3313" fmla="*/ 4557191 h 6851544"/>
              <a:gd name="connsiteX3314" fmla="*/ 6474393 w 6901213"/>
              <a:gd name="connsiteY3314" fmla="*/ 4531824 h 6851544"/>
              <a:gd name="connsiteX3315" fmla="*/ 6472570 w 6901213"/>
              <a:gd name="connsiteY3315" fmla="*/ 4349248 h 6851544"/>
              <a:gd name="connsiteX3316" fmla="*/ 6444925 w 6901213"/>
              <a:gd name="connsiteY3316" fmla="*/ 4321603 h 6851544"/>
              <a:gd name="connsiteX3317" fmla="*/ 6417280 w 6901213"/>
              <a:gd name="connsiteY3317" fmla="*/ 4349248 h 6851544"/>
              <a:gd name="connsiteX3318" fmla="*/ 6444925 w 6901213"/>
              <a:gd name="connsiteY3318" fmla="*/ 4376893 h 6851544"/>
              <a:gd name="connsiteX3319" fmla="*/ 6472570 w 6901213"/>
              <a:gd name="connsiteY3319" fmla="*/ 4349248 h 6851544"/>
              <a:gd name="connsiteX3320" fmla="*/ 6462545 w 6901213"/>
              <a:gd name="connsiteY3320" fmla="*/ 4166976 h 6851544"/>
              <a:gd name="connsiteX3321" fmla="*/ 6432622 w 6901213"/>
              <a:gd name="connsiteY3321" fmla="*/ 4137053 h 6851544"/>
              <a:gd name="connsiteX3322" fmla="*/ 6402699 w 6901213"/>
              <a:gd name="connsiteY3322" fmla="*/ 4166976 h 6851544"/>
              <a:gd name="connsiteX3323" fmla="*/ 6432622 w 6901213"/>
              <a:gd name="connsiteY3323" fmla="*/ 4196899 h 6851544"/>
              <a:gd name="connsiteX3324" fmla="*/ 6462545 w 6901213"/>
              <a:gd name="connsiteY3324" fmla="*/ 4166976 h 6851544"/>
              <a:gd name="connsiteX3325" fmla="*/ 6444393 w 6901213"/>
              <a:gd name="connsiteY3325" fmla="*/ 3985462 h 6851544"/>
              <a:gd name="connsiteX3326" fmla="*/ 6412192 w 6901213"/>
              <a:gd name="connsiteY3326" fmla="*/ 3953337 h 6851544"/>
              <a:gd name="connsiteX3327" fmla="*/ 6379991 w 6901213"/>
              <a:gd name="connsiteY3327" fmla="*/ 3985462 h 6851544"/>
              <a:gd name="connsiteX3328" fmla="*/ 6412192 w 6901213"/>
              <a:gd name="connsiteY3328" fmla="*/ 4017664 h 6851544"/>
              <a:gd name="connsiteX3329" fmla="*/ 6444393 w 6901213"/>
              <a:gd name="connsiteY3329" fmla="*/ 3985462 h 6851544"/>
              <a:gd name="connsiteX3330" fmla="*/ 6417508 w 6901213"/>
              <a:gd name="connsiteY3330" fmla="*/ 3805089 h 6851544"/>
              <a:gd name="connsiteX3331" fmla="*/ 6383636 w 6901213"/>
              <a:gd name="connsiteY3331" fmla="*/ 3771217 h 6851544"/>
              <a:gd name="connsiteX3332" fmla="*/ 6349764 w 6901213"/>
              <a:gd name="connsiteY3332" fmla="*/ 3805089 h 6851544"/>
              <a:gd name="connsiteX3333" fmla="*/ 6383636 w 6901213"/>
              <a:gd name="connsiteY3333" fmla="*/ 3838961 h 6851544"/>
              <a:gd name="connsiteX3334" fmla="*/ 6417508 w 6901213"/>
              <a:gd name="connsiteY3334" fmla="*/ 3805089 h 6851544"/>
              <a:gd name="connsiteX3335" fmla="*/ 6383104 w 6901213"/>
              <a:gd name="connsiteY3335" fmla="*/ 3626082 h 6851544"/>
              <a:gd name="connsiteX3336" fmla="*/ 6346954 w 6901213"/>
              <a:gd name="connsiteY3336" fmla="*/ 3589931 h 6851544"/>
              <a:gd name="connsiteX3337" fmla="*/ 6310803 w 6901213"/>
              <a:gd name="connsiteY3337" fmla="*/ 3626082 h 6851544"/>
              <a:gd name="connsiteX3338" fmla="*/ 6346954 w 6901213"/>
              <a:gd name="connsiteY3338" fmla="*/ 3662233 h 6851544"/>
              <a:gd name="connsiteX3339" fmla="*/ 6383104 w 6901213"/>
              <a:gd name="connsiteY3339" fmla="*/ 3626082 h 6851544"/>
              <a:gd name="connsiteX3340" fmla="*/ 6340726 w 6901213"/>
              <a:gd name="connsiteY3340" fmla="*/ 3448974 h 6851544"/>
              <a:gd name="connsiteX3341" fmla="*/ 6302373 w 6901213"/>
              <a:gd name="connsiteY3341" fmla="*/ 3410621 h 6851544"/>
              <a:gd name="connsiteX3342" fmla="*/ 6264020 w 6901213"/>
              <a:gd name="connsiteY3342" fmla="*/ 3448974 h 6851544"/>
              <a:gd name="connsiteX3343" fmla="*/ 6302373 w 6901213"/>
              <a:gd name="connsiteY3343" fmla="*/ 3487327 h 6851544"/>
              <a:gd name="connsiteX3344" fmla="*/ 6340726 w 6901213"/>
              <a:gd name="connsiteY3344" fmla="*/ 3448974 h 6851544"/>
              <a:gd name="connsiteX3345" fmla="*/ 6289842 w 6901213"/>
              <a:gd name="connsiteY3345" fmla="*/ 3274068 h 6851544"/>
              <a:gd name="connsiteX3346" fmla="*/ 6249742 w 6901213"/>
              <a:gd name="connsiteY3346" fmla="*/ 3233969 h 6851544"/>
              <a:gd name="connsiteX3347" fmla="*/ 6209642 w 6901213"/>
              <a:gd name="connsiteY3347" fmla="*/ 3274068 h 6851544"/>
              <a:gd name="connsiteX3348" fmla="*/ 6249742 w 6901213"/>
              <a:gd name="connsiteY3348" fmla="*/ 3314168 h 6851544"/>
              <a:gd name="connsiteX3349" fmla="*/ 6289842 w 6901213"/>
              <a:gd name="connsiteY3349" fmla="*/ 3274068 h 6851544"/>
              <a:gd name="connsiteX3350" fmla="*/ 6231211 w 6901213"/>
              <a:gd name="connsiteY3350" fmla="*/ 3101593 h 6851544"/>
              <a:gd name="connsiteX3351" fmla="*/ 6189440 w 6901213"/>
              <a:gd name="connsiteY3351" fmla="*/ 3059823 h 6851544"/>
              <a:gd name="connsiteX3352" fmla="*/ 6147669 w 6901213"/>
              <a:gd name="connsiteY3352" fmla="*/ 3101593 h 6851544"/>
              <a:gd name="connsiteX3353" fmla="*/ 6189440 w 6901213"/>
              <a:gd name="connsiteY3353" fmla="*/ 3143364 h 6851544"/>
              <a:gd name="connsiteX3354" fmla="*/ 6231211 w 6901213"/>
              <a:gd name="connsiteY3354" fmla="*/ 3101593 h 6851544"/>
              <a:gd name="connsiteX3355" fmla="*/ 6164378 w 6901213"/>
              <a:gd name="connsiteY3355" fmla="*/ 2932080 h 6851544"/>
              <a:gd name="connsiteX3356" fmla="*/ 6121468 w 6901213"/>
              <a:gd name="connsiteY3356" fmla="*/ 2889170 h 6851544"/>
              <a:gd name="connsiteX3357" fmla="*/ 6078558 w 6901213"/>
              <a:gd name="connsiteY3357" fmla="*/ 2932080 h 6851544"/>
              <a:gd name="connsiteX3358" fmla="*/ 6121468 w 6901213"/>
              <a:gd name="connsiteY3358" fmla="*/ 2974990 h 6851544"/>
              <a:gd name="connsiteX3359" fmla="*/ 6164378 w 6901213"/>
              <a:gd name="connsiteY3359" fmla="*/ 2932080 h 6851544"/>
              <a:gd name="connsiteX3360" fmla="*/ 6090481 w 6901213"/>
              <a:gd name="connsiteY3360" fmla="*/ 2765756 h 6851544"/>
              <a:gd name="connsiteX3361" fmla="*/ 6045901 w 6901213"/>
              <a:gd name="connsiteY3361" fmla="*/ 2721176 h 6851544"/>
              <a:gd name="connsiteX3362" fmla="*/ 6001320 w 6901213"/>
              <a:gd name="connsiteY3362" fmla="*/ 2765756 h 6851544"/>
              <a:gd name="connsiteX3363" fmla="*/ 6045901 w 6901213"/>
              <a:gd name="connsiteY3363" fmla="*/ 2810337 h 6851544"/>
              <a:gd name="connsiteX3364" fmla="*/ 6090481 w 6901213"/>
              <a:gd name="connsiteY3364" fmla="*/ 2765756 h 6851544"/>
              <a:gd name="connsiteX3365" fmla="*/ 6008686 w 6901213"/>
              <a:gd name="connsiteY3365" fmla="*/ 2603002 h 6851544"/>
              <a:gd name="connsiteX3366" fmla="*/ 5962967 w 6901213"/>
              <a:gd name="connsiteY3366" fmla="*/ 2557282 h 6851544"/>
              <a:gd name="connsiteX3367" fmla="*/ 5917247 w 6901213"/>
              <a:gd name="connsiteY3367" fmla="*/ 2603002 h 6851544"/>
              <a:gd name="connsiteX3368" fmla="*/ 5962967 w 6901213"/>
              <a:gd name="connsiteY3368" fmla="*/ 2648722 h 6851544"/>
              <a:gd name="connsiteX3369" fmla="*/ 6008686 w 6901213"/>
              <a:gd name="connsiteY3369" fmla="*/ 2603002 h 6851544"/>
              <a:gd name="connsiteX3370" fmla="*/ 5919677 w 6901213"/>
              <a:gd name="connsiteY3370" fmla="*/ 2444121 h 6851544"/>
              <a:gd name="connsiteX3371" fmla="*/ 5872818 w 6901213"/>
              <a:gd name="connsiteY3371" fmla="*/ 2397262 h 6851544"/>
              <a:gd name="connsiteX3372" fmla="*/ 5825958 w 6901213"/>
              <a:gd name="connsiteY3372" fmla="*/ 2444121 h 6851544"/>
              <a:gd name="connsiteX3373" fmla="*/ 5872818 w 6901213"/>
              <a:gd name="connsiteY3373" fmla="*/ 2490981 h 6851544"/>
              <a:gd name="connsiteX3374" fmla="*/ 5919677 w 6901213"/>
              <a:gd name="connsiteY3374" fmla="*/ 2444121 h 6851544"/>
              <a:gd name="connsiteX3375" fmla="*/ 5823072 w 6901213"/>
              <a:gd name="connsiteY3375" fmla="*/ 2289494 h 6851544"/>
              <a:gd name="connsiteX3376" fmla="*/ 5775682 w 6901213"/>
              <a:gd name="connsiteY3376" fmla="*/ 2242103 h 6851544"/>
              <a:gd name="connsiteX3377" fmla="*/ 5728291 w 6901213"/>
              <a:gd name="connsiteY3377" fmla="*/ 2289494 h 6851544"/>
              <a:gd name="connsiteX3378" fmla="*/ 5775682 w 6901213"/>
              <a:gd name="connsiteY3378" fmla="*/ 2336884 h 6851544"/>
              <a:gd name="connsiteX3379" fmla="*/ 5823072 w 6901213"/>
              <a:gd name="connsiteY3379" fmla="*/ 2289494 h 6851544"/>
              <a:gd name="connsiteX3380" fmla="*/ 5719633 w 6901213"/>
              <a:gd name="connsiteY3380" fmla="*/ 2139347 h 6851544"/>
              <a:gd name="connsiteX3381" fmla="*/ 5671634 w 6901213"/>
              <a:gd name="connsiteY3381" fmla="*/ 2091424 h 6851544"/>
              <a:gd name="connsiteX3382" fmla="*/ 5623636 w 6901213"/>
              <a:gd name="connsiteY3382" fmla="*/ 2139347 h 6851544"/>
              <a:gd name="connsiteX3383" fmla="*/ 5671634 w 6901213"/>
              <a:gd name="connsiteY3383" fmla="*/ 2187345 h 6851544"/>
              <a:gd name="connsiteX3384" fmla="*/ 5719633 w 6901213"/>
              <a:gd name="connsiteY3384" fmla="*/ 2139347 h 6851544"/>
              <a:gd name="connsiteX3385" fmla="*/ 5609510 w 6901213"/>
              <a:gd name="connsiteY3385" fmla="*/ 1993984 h 6851544"/>
              <a:gd name="connsiteX3386" fmla="*/ 5560980 w 6901213"/>
              <a:gd name="connsiteY3386" fmla="*/ 1945454 h 6851544"/>
              <a:gd name="connsiteX3387" fmla="*/ 5512450 w 6901213"/>
              <a:gd name="connsiteY3387" fmla="*/ 1993984 h 6851544"/>
              <a:gd name="connsiteX3388" fmla="*/ 5560980 w 6901213"/>
              <a:gd name="connsiteY3388" fmla="*/ 2042514 h 6851544"/>
              <a:gd name="connsiteX3389" fmla="*/ 5609510 w 6901213"/>
              <a:gd name="connsiteY3389" fmla="*/ 1993984 h 6851544"/>
              <a:gd name="connsiteX3390" fmla="*/ 5493008 w 6901213"/>
              <a:gd name="connsiteY3390" fmla="*/ 1853787 h 6851544"/>
              <a:gd name="connsiteX3391" fmla="*/ 5443870 w 6901213"/>
              <a:gd name="connsiteY3391" fmla="*/ 1804725 h 6851544"/>
              <a:gd name="connsiteX3392" fmla="*/ 5394808 w 6901213"/>
              <a:gd name="connsiteY3392" fmla="*/ 1853787 h 6851544"/>
              <a:gd name="connsiteX3393" fmla="*/ 5443870 w 6901213"/>
              <a:gd name="connsiteY3393" fmla="*/ 1902924 h 6851544"/>
              <a:gd name="connsiteX3394" fmla="*/ 5493008 w 6901213"/>
              <a:gd name="connsiteY3394" fmla="*/ 1853787 h 6851544"/>
              <a:gd name="connsiteX3395" fmla="*/ 5369822 w 6901213"/>
              <a:gd name="connsiteY3395" fmla="*/ 1718981 h 6851544"/>
              <a:gd name="connsiteX3396" fmla="*/ 5320684 w 6901213"/>
              <a:gd name="connsiteY3396" fmla="*/ 1669919 h 6851544"/>
              <a:gd name="connsiteX3397" fmla="*/ 5271622 w 6901213"/>
              <a:gd name="connsiteY3397" fmla="*/ 1718981 h 6851544"/>
              <a:gd name="connsiteX3398" fmla="*/ 5320684 w 6901213"/>
              <a:gd name="connsiteY3398" fmla="*/ 1768119 h 6851544"/>
              <a:gd name="connsiteX3399" fmla="*/ 5369822 w 6901213"/>
              <a:gd name="connsiteY3399" fmla="*/ 1718981 h 6851544"/>
              <a:gd name="connsiteX3400" fmla="*/ 5240636 w 6901213"/>
              <a:gd name="connsiteY3400" fmla="*/ 1589795 h 6851544"/>
              <a:gd name="connsiteX3401" fmla="*/ 5191499 w 6901213"/>
              <a:gd name="connsiteY3401" fmla="*/ 1540734 h 6851544"/>
              <a:gd name="connsiteX3402" fmla="*/ 5142437 w 6901213"/>
              <a:gd name="connsiteY3402" fmla="*/ 1589795 h 6851544"/>
              <a:gd name="connsiteX3403" fmla="*/ 5191499 w 6901213"/>
              <a:gd name="connsiteY3403" fmla="*/ 1638933 h 6851544"/>
              <a:gd name="connsiteX3404" fmla="*/ 5240636 w 6901213"/>
              <a:gd name="connsiteY3404" fmla="*/ 1589795 h 6851544"/>
              <a:gd name="connsiteX3405" fmla="*/ 5105830 w 6901213"/>
              <a:gd name="connsiteY3405" fmla="*/ 1466534 h 6851544"/>
              <a:gd name="connsiteX3406" fmla="*/ 5056693 w 6901213"/>
              <a:gd name="connsiteY3406" fmla="*/ 1417396 h 6851544"/>
              <a:gd name="connsiteX3407" fmla="*/ 5007631 w 6901213"/>
              <a:gd name="connsiteY3407" fmla="*/ 1466534 h 6851544"/>
              <a:gd name="connsiteX3408" fmla="*/ 5056693 w 6901213"/>
              <a:gd name="connsiteY3408" fmla="*/ 1515671 h 6851544"/>
              <a:gd name="connsiteX3409" fmla="*/ 5105830 w 6901213"/>
              <a:gd name="connsiteY3409" fmla="*/ 1466534 h 6851544"/>
              <a:gd name="connsiteX3410" fmla="*/ 4965025 w 6901213"/>
              <a:gd name="connsiteY3410" fmla="*/ 1349500 h 6851544"/>
              <a:gd name="connsiteX3411" fmla="*/ 4916495 w 6901213"/>
              <a:gd name="connsiteY3411" fmla="*/ 1300970 h 6851544"/>
              <a:gd name="connsiteX3412" fmla="*/ 4867965 w 6901213"/>
              <a:gd name="connsiteY3412" fmla="*/ 1349500 h 6851544"/>
              <a:gd name="connsiteX3413" fmla="*/ 4916495 w 6901213"/>
              <a:gd name="connsiteY3413" fmla="*/ 1398030 h 6851544"/>
              <a:gd name="connsiteX3414" fmla="*/ 4965025 w 6901213"/>
              <a:gd name="connsiteY3414" fmla="*/ 1349500 h 6851544"/>
              <a:gd name="connsiteX3415" fmla="*/ 4819131 w 6901213"/>
              <a:gd name="connsiteY3415" fmla="*/ 1238845 h 6851544"/>
              <a:gd name="connsiteX3416" fmla="*/ 4771133 w 6901213"/>
              <a:gd name="connsiteY3416" fmla="*/ 1190847 h 6851544"/>
              <a:gd name="connsiteX3417" fmla="*/ 4723135 w 6901213"/>
              <a:gd name="connsiteY3417" fmla="*/ 1238845 h 6851544"/>
              <a:gd name="connsiteX3418" fmla="*/ 4771133 w 6901213"/>
              <a:gd name="connsiteY3418" fmla="*/ 1286843 h 6851544"/>
              <a:gd name="connsiteX3419" fmla="*/ 4819131 w 6901213"/>
              <a:gd name="connsiteY3419" fmla="*/ 1238845 h 6851544"/>
              <a:gd name="connsiteX3420" fmla="*/ 4668377 w 6901213"/>
              <a:gd name="connsiteY3420" fmla="*/ 1134798 h 6851544"/>
              <a:gd name="connsiteX3421" fmla="*/ 4620986 w 6901213"/>
              <a:gd name="connsiteY3421" fmla="*/ 1087407 h 6851544"/>
              <a:gd name="connsiteX3422" fmla="*/ 4573595 w 6901213"/>
              <a:gd name="connsiteY3422" fmla="*/ 1134798 h 6851544"/>
              <a:gd name="connsiteX3423" fmla="*/ 4620986 w 6901213"/>
              <a:gd name="connsiteY3423" fmla="*/ 1182189 h 6851544"/>
              <a:gd name="connsiteX3424" fmla="*/ 4668377 w 6901213"/>
              <a:gd name="connsiteY3424" fmla="*/ 1134798 h 6851544"/>
              <a:gd name="connsiteX3425" fmla="*/ 4513141 w 6901213"/>
              <a:gd name="connsiteY3425" fmla="*/ 1037662 h 6851544"/>
              <a:gd name="connsiteX3426" fmla="*/ 4466282 w 6901213"/>
              <a:gd name="connsiteY3426" fmla="*/ 990803 h 6851544"/>
              <a:gd name="connsiteX3427" fmla="*/ 4419423 w 6901213"/>
              <a:gd name="connsiteY3427" fmla="*/ 1037662 h 6851544"/>
              <a:gd name="connsiteX3428" fmla="*/ 4466282 w 6901213"/>
              <a:gd name="connsiteY3428" fmla="*/ 1084521 h 6851544"/>
              <a:gd name="connsiteX3429" fmla="*/ 4513141 w 6901213"/>
              <a:gd name="connsiteY3429" fmla="*/ 1037662 h 6851544"/>
              <a:gd name="connsiteX3430" fmla="*/ 4353197 w 6901213"/>
              <a:gd name="connsiteY3430" fmla="*/ 947513 h 6851544"/>
              <a:gd name="connsiteX3431" fmla="*/ 4307477 w 6901213"/>
              <a:gd name="connsiteY3431" fmla="*/ 901793 h 6851544"/>
              <a:gd name="connsiteX3432" fmla="*/ 4261758 w 6901213"/>
              <a:gd name="connsiteY3432" fmla="*/ 947513 h 6851544"/>
              <a:gd name="connsiteX3433" fmla="*/ 4307477 w 6901213"/>
              <a:gd name="connsiteY3433" fmla="*/ 993233 h 6851544"/>
              <a:gd name="connsiteX3434" fmla="*/ 4353197 w 6901213"/>
              <a:gd name="connsiteY3434" fmla="*/ 947513 h 6851544"/>
              <a:gd name="connsiteX3435" fmla="*/ 4189304 w 6901213"/>
              <a:gd name="connsiteY3435" fmla="*/ 864579 h 6851544"/>
              <a:gd name="connsiteX3436" fmla="*/ 4144723 w 6901213"/>
              <a:gd name="connsiteY3436" fmla="*/ 819998 h 6851544"/>
              <a:gd name="connsiteX3437" fmla="*/ 4100142 w 6901213"/>
              <a:gd name="connsiteY3437" fmla="*/ 864579 h 6851544"/>
              <a:gd name="connsiteX3438" fmla="*/ 4144723 w 6901213"/>
              <a:gd name="connsiteY3438" fmla="*/ 909160 h 6851544"/>
              <a:gd name="connsiteX3439" fmla="*/ 4189304 w 6901213"/>
              <a:gd name="connsiteY3439" fmla="*/ 864579 h 6851544"/>
              <a:gd name="connsiteX3440" fmla="*/ 4021309 w 6901213"/>
              <a:gd name="connsiteY3440" fmla="*/ 789012 h 6851544"/>
              <a:gd name="connsiteX3441" fmla="*/ 3978400 w 6901213"/>
              <a:gd name="connsiteY3441" fmla="*/ 746102 h 6851544"/>
              <a:gd name="connsiteX3442" fmla="*/ 3935490 w 6901213"/>
              <a:gd name="connsiteY3442" fmla="*/ 789012 h 6851544"/>
              <a:gd name="connsiteX3443" fmla="*/ 3978400 w 6901213"/>
              <a:gd name="connsiteY3443" fmla="*/ 831922 h 6851544"/>
              <a:gd name="connsiteX3444" fmla="*/ 4021309 w 6901213"/>
              <a:gd name="connsiteY3444" fmla="*/ 789012 h 6851544"/>
              <a:gd name="connsiteX3445" fmla="*/ 3850657 w 6901213"/>
              <a:gd name="connsiteY3445" fmla="*/ 721039 h 6851544"/>
              <a:gd name="connsiteX3446" fmla="*/ 3808886 w 6901213"/>
              <a:gd name="connsiteY3446" fmla="*/ 679269 h 6851544"/>
              <a:gd name="connsiteX3447" fmla="*/ 3767115 w 6901213"/>
              <a:gd name="connsiteY3447" fmla="*/ 721039 h 6851544"/>
              <a:gd name="connsiteX3448" fmla="*/ 3808886 w 6901213"/>
              <a:gd name="connsiteY3448" fmla="*/ 762810 h 6851544"/>
              <a:gd name="connsiteX3449" fmla="*/ 3850657 w 6901213"/>
              <a:gd name="connsiteY3449" fmla="*/ 721039 h 6851544"/>
              <a:gd name="connsiteX3450" fmla="*/ 3676511 w 6901213"/>
              <a:gd name="connsiteY3450" fmla="*/ 660662 h 6851544"/>
              <a:gd name="connsiteX3451" fmla="*/ 3636411 w 6901213"/>
              <a:gd name="connsiteY3451" fmla="*/ 620638 h 6851544"/>
              <a:gd name="connsiteX3452" fmla="*/ 3596311 w 6901213"/>
              <a:gd name="connsiteY3452" fmla="*/ 660662 h 6851544"/>
              <a:gd name="connsiteX3453" fmla="*/ 3636411 w 6901213"/>
              <a:gd name="connsiteY3453" fmla="*/ 700762 h 6851544"/>
              <a:gd name="connsiteX3454" fmla="*/ 3676511 w 6901213"/>
              <a:gd name="connsiteY3454" fmla="*/ 660662 h 6851544"/>
              <a:gd name="connsiteX3455" fmla="*/ 3499858 w 6901213"/>
              <a:gd name="connsiteY3455" fmla="*/ 608182 h 6851544"/>
              <a:gd name="connsiteX3456" fmla="*/ 3461505 w 6901213"/>
              <a:gd name="connsiteY3456" fmla="*/ 569829 h 6851544"/>
              <a:gd name="connsiteX3457" fmla="*/ 3423152 w 6901213"/>
              <a:gd name="connsiteY3457" fmla="*/ 608182 h 6851544"/>
              <a:gd name="connsiteX3458" fmla="*/ 3461505 w 6901213"/>
              <a:gd name="connsiteY3458" fmla="*/ 646535 h 6851544"/>
              <a:gd name="connsiteX3459" fmla="*/ 3499858 w 6901213"/>
              <a:gd name="connsiteY3459" fmla="*/ 608182 h 6851544"/>
              <a:gd name="connsiteX3460" fmla="*/ 3320472 w 6901213"/>
              <a:gd name="connsiteY3460" fmla="*/ 563526 h 6851544"/>
              <a:gd name="connsiteX3461" fmla="*/ 3284321 w 6901213"/>
              <a:gd name="connsiteY3461" fmla="*/ 527375 h 6851544"/>
              <a:gd name="connsiteX3462" fmla="*/ 3248171 w 6901213"/>
              <a:gd name="connsiteY3462" fmla="*/ 563526 h 6851544"/>
              <a:gd name="connsiteX3463" fmla="*/ 3284321 w 6901213"/>
              <a:gd name="connsiteY3463" fmla="*/ 599676 h 6851544"/>
              <a:gd name="connsiteX3464" fmla="*/ 3320472 w 6901213"/>
              <a:gd name="connsiteY3464" fmla="*/ 563526 h 6851544"/>
              <a:gd name="connsiteX3465" fmla="*/ 3139263 w 6901213"/>
              <a:gd name="connsiteY3465" fmla="*/ 526843 h 6851544"/>
              <a:gd name="connsiteX3466" fmla="*/ 3105391 w 6901213"/>
              <a:gd name="connsiteY3466" fmla="*/ 492971 h 6851544"/>
              <a:gd name="connsiteX3467" fmla="*/ 3071518 w 6901213"/>
              <a:gd name="connsiteY3467" fmla="*/ 526843 h 6851544"/>
              <a:gd name="connsiteX3468" fmla="*/ 3105391 w 6901213"/>
              <a:gd name="connsiteY3468" fmla="*/ 560716 h 6851544"/>
              <a:gd name="connsiteX3469" fmla="*/ 3139263 w 6901213"/>
              <a:gd name="connsiteY3469" fmla="*/ 526843 h 6851544"/>
              <a:gd name="connsiteX3470" fmla="*/ 2957218 w 6901213"/>
              <a:gd name="connsiteY3470" fmla="*/ 498287 h 6851544"/>
              <a:gd name="connsiteX3471" fmla="*/ 2925017 w 6901213"/>
              <a:gd name="connsiteY3471" fmla="*/ 466162 h 6851544"/>
              <a:gd name="connsiteX3472" fmla="*/ 2892815 w 6901213"/>
              <a:gd name="connsiteY3472" fmla="*/ 498287 h 6851544"/>
              <a:gd name="connsiteX3473" fmla="*/ 2925017 w 6901213"/>
              <a:gd name="connsiteY3473" fmla="*/ 530489 h 6851544"/>
              <a:gd name="connsiteX3474" fmla="*/ 2957218 w 6901213"/>
              <a:gd name="connsiteY3474" fmla="*/ 498287 h 6851544"/>
              <a:gd name="connsiteX3475" fmla="*/ 2773427 w 6901213"/>
              <a:gd name="connsiteY3475" fmla="*/ 477858 h 6851544"/>
              <a:gd name="connsiteX3476" fmla="*/ 2743504 w 6901213"/>
              <a:gd name="connsiteY3476" fmla="*/ 447934 h 6851544"/>
              <a:gd name="connsiteX3477" fmla="*/ 2713581 w 6901213"/>
              <a:gd name="connsiteY3477" fmla="*/ 477858 h 6851544"/>
              <a:gd name="connsiteX3478" fmla="*/ 2743504 w 6901213"/>
              <a:gd name="connsiteY3478" fmla="*/ 507781 h 6851544"/>
              <a:gd name="connsiteX3479" fmla="*/ 2773427 w 6901213"/>
              <a:gd name="connsiteY3479" fmla="*/ 477858 h 6851544"/>
              <a:gd name="connsiteX3480" fmla="*/ 2588876 w 6901213"/>
              <a:gd name="connsiteY3480" fmla="*/ 465554 h 6851544"/>
              <a:gd name="connsiteX3481" fmla="*/ 2561231 w 6901213"/>
              <a:gd name="connsiteY3481" fmla="*/ 437910 h 6851544"/>
              <a:gd name="connsiteX3482" fmla="*/ 2533587 w 6901213"/>
              <a:gd name="connsiteY3482" fmla="*/ 465554 h 6851544"/>
              <a:gd name="connsiteX3483" fmla="*/ 2561231 w 6901213"/>
              <a:gd name="connsiteY3483" fmla="*/ 493199 h 6851544"/>
              <a:gd name="connsiteX3484" fmla="*/ 2588876 w 6901213"/>
              <a:gd name="connsiteY3484" fmla="*/ 465554 h 6851544"/>
              <a:gd name="connsiteX3485" fmla="*/ 2404022 w 6901213"/>
              <a:gd name="connsiteY3485" fmla="*/ 461453 h 6851544"/>
              <a:gd name="connsiteX3486" fmla="*/ 2378655 w 6901213"/>
              <a:gd name="connsiteY3486" fmla="*/ 436087 h 6851544"/>
              <a:gd name="connsiteX3487" fmla="*/ 2353289 w 6901213"/>
              <a:gd name="connsiteY3487" fmla="*/ 461453 h 6851544"/>
              <a:gd name="connsiteX3488" fmla="*/ 2378655 w 6901213"/>
              <a:gd name="connsiteY3488" fmla="*/ 486819 h 6851544"/>
              <a:gd name="connsiteX3489" fmla="*/ 2404022 w 6901213"/>
              <a:gd name="connsiteY3489" fmla="*/ 461453 h 6851544"/>
              <a:gd name="connsiteX3490" fmla="*/ 2219698 w 6901213"/>
              <a:gd name="connsiteY3490" fmla="*/ 465554 h 6851544"/>
              <a:gd name="connsiteX3491" fmla="*/ 2196003 w 6901213"/>
              <a:gd name="connsiteY3491" fmla="*/ 441859 h 6851544"/>
              <a:gd name="connsiteX3492" fmla="*/ 2172308 w 6901213"/>
              <a:gd name="connsiteY3492" fmla="*/ 465554 h 6851544"/>
              <a:gd name="connsiteX3493" fmla="*/ 2196003 w 6901213"/>
              <a:gd name="connsiteY3493" fmla="*/ 489250 h 6851544"/>
              <a:gd name="connsiteX3494" fmla="*/ 2219698 w 6901213"/>
              <a:gd name="connsiteY3494" fmla="*/ 465554 h 6851544"/>
              <a:gd name="connsiteX3495" fmla="*/ 2035224 w 6901213"/>
              <a:gd name="connsiteY3495" fmla="*/ 477858 h 6851544"/>
              <a:gd name="connsiteX3496" fmla="*/ 2013807 w 6901213"/>
              <a:gd name="connsiteY3496" fmla="*/ 456441 h 6851544"/>
              <a:gd name="connsiteX3497" fmla="*/ 1992390 w 6901213"/>
              <a:gd name="connsiteY3497" fmla="*/ 477858 h 6851544"/>
              <a:gd name="connsiteX3498" fmla="*/ 2013807 w 6901213"/>
              <a:gd name="connsiteY3498" fmla="*/ 499275 h 6851544"/>
              <a:gd name="connsiteX3499" fmla="*/ 2035224 w 6901213"/>
              <a:gd name="connsiteY3499" fmla="*/ 477858 h 6851544"/>
              <a:gd name="connsiteX3500" fmla="*/ 1851432 w 6901213"/>
              <a:gd name="connsiteY3500" fmla="*/ 498287 h 6851544"/>
              <a:gd name="connsiteX3501" fmla="*/ 1832218 w 6901213"/>
              <a:gd name="connsiteY3501" fmla="*/ 479073 h 6851544"/>
              <a:gd name="connsiteX3502" fmla="*/ 1813003 w 6901213"/>
              <a:gd name="connsiteY3502" fmla="*/ 498287 h 6851544"/>
              <a:gd name="connsiteX3503" fmla="*/ 1832218 w 6901213"/>
              <a:gd name="connsiteY3503" fmla="*/ 517502 h 6851544"/>
              <a:gd name="connsiteX3504" fmla="*/ 1851432 w 6901213"/>
              <a:gd name="connsiteY3504" fmla="*/ 498287 h 6851544"/>
              <a:gd name="connsiteX3505" fmla="*/ 1668780 w 6901213"/>
              <a:gd name="connsiteY3505" fmla="*/ 526843 h 6851544"/>
              <a:gd name="connsiteX3506" fmla="*/ 1651844 w 6901213"/>
              <a:gd name="connsiteY3506" fmla="*/ 509907 h 6851544"/>
              <a:gd name="connsiteX3507" fmla="*/ 1634908 w 6901213"/>
              <a:gd name="connsiteY3507" fmla="*/ 526843 h 6851544"/>
              <a:gd name="connsiteX3508" fmla="*/ 1651844 w 6901213"/>
              <a:gd name="connsiteY3508" fmla="*/ 543779 h 6851544"/>
              <a:gd name="connsiteX3509" fmla="*/ 1668780 w 6901213"/>
              <a:gd name="connsiteY3509" fmla="*/ 526843 h 6851544"/>
              <a:gd name="connsiteX3510" fmla="*/ 1488103 w 6901213"/>
              <a:gd name="connsiteY3510" fmla="*/ 563526 h 6851544"/>
              <a:gd name="connsiteX3511" fmla="*/ 1472837 w 6901213"/>
              <a:gd name="connsiteY3511" fmla="*/ 548260 h 6851544"/>
              <a:gd name="connsiteX3512" fmla="*/ 1457572 w 6901213"/>
              <a:gd name="connsiteY3512" fmla="*/ 563526 h 6851544"/>
              <a:gd name="connsiteX3513" fmla="*/ 1472837 w 6901213"/>
              <a:gd name="connsiteY3513" fmla="*/ 578791 h 6851544"/>
              <a:gd name="connsiteX3514" fmla="*/ 1488103 w 6901213"/>
              <a:gd name="connsiteY3514" fmla="*/ 563526 h 6851544"/>
              <a:gd name="connsiteX3515" fmla="*/ 1309324 w 6901213"/>
              <a:gd name="connsiteY3515" fmla="*/ 608182 h 6851544"/>
              <a:gd name="connsiteX3516" fmla="*/ 1295805 w 6901213"/>
              <a:gd name="connsiteY3516" fmla="*/ 594664 h 6851544"/>
              <a:gd name="connsiteX3517" fmla="*/ 1282287 w 6901213"/>
              <a:gd name="connsiteY3517" fmla="*/ 608182 h 6851544"/>
              <a:gd name="connsiteX3518" fmla="*/ 1295805 w 6901213"/>
              <a:gd name="connsiteY3518" fmla="*/ 621701 h 6851544"/>
              <a:gd name="connsiteX3519" fmla="*/ 1309324 w 6901213"/>
              <a:gd name="connsiteY3519" fmla="*/ 608182 h 6851544"/>
              <a:gd name="connsiteX3520" fmla="*/ 1132064 w 6901213"/>
              <a:gd name="connsiteY3520" fmla="*/ 660662 h 6851544"/>
              <a:gd name="connsiteX3521" fmla="*/ 1120748 w 6901213"/>
              <a:gd name="connsiteY3521" fmla="*/ 649422 h 6851544"/>
              <a:gd name="connsiteX3522" fmla="*/ 1109432 w 6901213"/>
              <a:gd name="connsiteY3522" fmla="*/ 660662 h 6851544"/>
              <a:gd name="connsiteX3523" fmla="*/ 1120748 w 6901213"/>
              <a:gd name="connsiteY3523" fmla="*/ 671978 h 6851544"/>
              <a:gd name="connsiteX3524" fmla="*/ 1132064 w 6901213"/>
              <a:gd name="connsiteY3524" fmla="*/ 660662 h 6851544"/>
              <a:gd name="connsiteX3525" fmla="*/ 957994 w 6901213"/>
              <a:gd name="connsiteY3525" fmla="*/ 721039 h 6851544"/>
              <a:gd name="connsiteX3526" fmla="*/ 948424 w 6901213"/>
              <a:gd name="connsiteY3526" fmla="*/ 711470 h 6851544"/>
              <a:gd name="connsiteX3527" fmla="*/ 938855 w 6901213"/>
              <a:gd name="connsiteY3527" fmla="*/ 721039 h 6851544"/>
              <a:gd name="connsiteX3528" fmla="*/ 948424 w 6901213"/>
              <a:gd name="connsiteY3528" fmla="*/ 730609 h 6851544"/>
              <a:gd name="connsiteX3529" fmla="*/ 957994 w 6901213"/>
              <a:gd name="connsiteY3529" fmla="*/ 721039 h 6851544"/>
              <a:gd name="connsiteX3530" fmla="*/ 786733 w 6901213"/>
              <a:gd name="connsiteY3530" fmla="*/ 789012 h 6851544"/>
              <a:gd name="connsiteX3531" fmla="*/ 778835 w 6901213"/>
              <a:gd name="connsiteY3531" fmla="*/ 781113 h 6851544"/>
              <a:gd name="connsiteX3532" fmla="*/ 770936 w 6901213"/>
              <a:gd name="connsiteY3532" fmla="*/ 789012 h 6851544"/>
              <a:gd name="connsiteX3533" fmla="*/ 778835 w 6901213"/>
              <a:gd name="connsiteY3533" fmla="*/ 796910 h 6851544"/>
              <a:gd name="connsiteX3534" fmla="*/ 786733 w 6901213"/>
              <a:gd name="connsiteY3534" fmla="*/ 789012 h 6851544"/>
              <a:gd name="connsiteX3535" fmla="*/ 619347 w 6901213"/>
              <a:gd name="connsiteY3535" fmla="*/ 864579 h 6851544"/>
              <a:gd name="connsiteX3536" fmla="*/ 612587 w 6901213"/>
              <a:gd name="connsiteY3536" fmla="*/ 857820 h 6851544"/>
              <a:gd name="connsiteX3537" fmla="*/ 605828 w 6901213"/>
              <a:gd name="connsiteY3537" fmla="*/ 864579 h 6851544"/>
              <a:gd name="connsiteX3538" fmla="*/ 612587 w 6901213"/>
              <a:gd name="connsiteY3538" fmla="*/ 871338 h 6851544"/>
              <a:gd name="connsiteX3539" fmla="*/ 619347 w 6901213"/>
              <a:gd name="connsiteY3539" fmla="*/ 864579 h 6851544"/>
              <a:gd name="connsiteX3540" fmla="*/ 455453 w 6901213"/>
              <a:gd name="connsiteY3540" fmla="*/ 947513 h 6851544"/>
              <a:gd name="connsiteX3541" fmla="*/ 449833 w 6901213"/>
              <a:gd name="connsiteY3541" fmla="*/ 941893 h 6851544"/>
              <a:gd name="connsiteX3542" fmla="*/ 444213 w 6901213"/>
              <a:gd name="connsiteY3542" fmla="*/ 947513 h 6851544"/>
              <a:gd name="connsiteX3543" fmla="*/ 449833 w 6901213"/>
              <a:gd name="connsiteY3543" fmla="*/ 953133 h 6851544"/>
              <a:gd name="connsiteX3544" fmla="*/ 455453 w 6901213"/>
              <a:gd name="connsiteY3544" fmla="*/ 947513 h 6851544"/>
              <a:gd name="connsiteX3545" fmla="*/ 294902 w 6901213"/>
              <a:gd name="connsiteY3545" fmla="*/ 1037662 h 6851544"/>
              <a:gd name="connsiteX3546" fmla="*/ 290952 w 6901213"/>
              <a:gd name="connsiteY3546" fmla="*/ 1033713 h 6851544"/>
              <a:gd name="connsiteX3547" fmla="*/ 287003 w 6901213"/>
              <a:gd name="connsiteY3547" fmla="*/ 1037662 h 6851544"/>
              <a:gd name="connsiteX3548" fmla="*/ 290952 w 6901213"/>
              <a:gd name="connsiteY3548" fmla="*/ 1041611 h 6851544"/>
              <a:gd name="connsiteX3549" fmla="*/ 294902 w 6901213"/>
              <a:gd name="connsiteY3549" fmla="*/ 1037662 h 6851544"/>
              <a:gd name="connsiteX3550" fmla="*/ 6037926 w 6901213"/>
              <a:gd name="connsiteY3550" fmla="*/ 6747422 h 6851544"/>
              <a:gd name="connsiteX3551" fmla="*/ 6033369 w 6901213"/>
              <a:gd name="connsiteY3551" fmla="*/ 6742865 h 6851544"/>
              <a:gd name="connsiteX3552" fmla="*/ 6028889 w 6901213"/>
              <a:gd name="connsiteY3552" fmla="*/ 6747422 h 6851544"/>
              <a:gd name="connsiteX3553" fmla="*/ 6033369 w 6901213"/>
              <a:gd name="connsiteY3553" fmla="*/ 6751902 h 6851544"/>
              <a:gd name="connsiteX3554" fmla="*/ 6037926 w 6901213"/>
              <a:gd name="connsiteY3554" fmla="*/ 6747422 h 6851544"/>
              <a:gd name="connsiteX3555" fmla="*/ 6130429 w 6901213"/>
              <a:gd name="connsiteY3555" fmla="*/ 6589224 h 6851544"/>
              <a:gd name="connsiteX3556" fmla="*/ 6124809 w 6901213"/>
              <a:gd name="connsiteY3556" fmla="*/ 6583604 h 6851544"/>
              <a:gd name="connsiteX3557" fmla="*/ 6119189 w 6901213"/>
              <a:gd name="connsiteY3557" fmla="*/ 6589224 h 6851544"/>
              <a:gd name="connsiteX3558" fmla="*/ 6124809 w 6901213"/>
              <a:gd name="connsiteY3558" fmla="*/ 6594844 h 6851544"/>
              <a:gd name="connsiteX3559" fmla="*/ 6130429 w 6901213"/>
              <a:gd name="connsiteY3559" fmla="*/ 6589224 h 6851544"/>
              <a:gd name="connsiteX3560" fmla="*/ 6216021 w 6901213"/>
              <a:gd name="connsiteY3560" fmla="*/ 6427306 h 6851544"/>
              <a:gd name="connsiteX3561" fmla="*/ 6209262 w 6901213"/>
              <a:gd name="connsiteY3561" fmla="*/ 6420546 h 6851544"/>
              <a:gd name="connsiteX3562" fmla="*/ 6202503 w 6901213"/>
              <a:gd name="connsiteY3562" fmla="*/ 6427306 h 6851544"/>
              <a:gd name="connsiteX3563" fmla="*/ 6209262 w 6901213"/>
              <a:gd name="connsiteY3563" fmla="*/ 6434065 h 6851544"/>
              <a:gd name="connsiteX3564" fmla="*/ 6216021 w 6901213"/>
              <a:gd name="connsiteY3564" fmla="*/ 6427306 h 6851544"/>
              <a:gd name="connsiteX3565" fmla="*/ 6295234 w 6901213"/>
              <a:gd name="connsiteY3565" fmla="*/ 6261894 h 6851544"/>
              <a:gd name="connsiteX3566" fmla="*/ 6286804 w 6901213"/>
              <a:gd name="connsiteY3566" fmla="*/ 6253463 h 6851544"/>
              <a:gd name="connsiteX3567" fmla="*/ 6278374 w 6901213"/>
              <a:gd name="connsiteY3567" fmla="*/ 6261894 h 6851544"/>
              <a:gd name="connsiteX3568" fmla="*/ 6286804 w 6901213"/>
              <a:gd name="connsiteY3568" fmla="*/ 6270324 h 6851544"/>
              <a:gd name="connsiteX3569" fmla="*/ 6295234 w 6901213"/>
              <a:gd name="connsiteY3569" fmla="*/ 6261894 h 6851544"/>
              <a:gd name="connsiteX3570" fmla="*/ 6367232 w 6901213"/>
              <a:gd name="connsiteY3570" fmla="*/ 6093292 h 6851544"/>
              <a:gd name="connsiteX3571" fmla="*/ 6357055 w 6901213"/>
              <a:gd name="connsiteY3571" fmla="*/ 6083114 h 6851544"/>
              <a:gd name="connsiteX3572" fmla="*/ 6346878 w 6901213"/>
              <a:gd name="connsiteY3572" fmla="*/ 6093292 h 6851544"/>
              <a:gd name="connsiteX3573" fmla="*/ 6357055 w 6901213"/>
              <a:gd name="connsiteY3573" fmla="*/ 6103468 h 6851544"/>
              <a:gd name="connsiteX3574" fmla="*/ 6367232 w 6901213"/>
              <a:gd name="connsiteY3574" fmla="*/ 6093292 h 6851544"/>
              <a:gd name="connsiteX3575" fmla="*/ 6432014 w 6901213"/>
              <a:gd name="connsiteY3575" fmla="*/ 5921879 h 6851544"/>
              <a:gd name="connsiteX3576" fmla="*/ 6420166 w 6901213"/>
              <a:gd name="connsiteY3576" fmla="*/ 5910032 h 6851544"/>
              <a:gd name="connsiteX3577" fmla="*/ 6408319 w 6901213"/>
              <a:gd name="connsiteY3577" fmla="*/ 5921879 h 6851544"/>
              <a:gd name="connsiteX3578" fmla="*/ 6420166 w 6901213"/>
              <a:gd name="connsiteY3578" fmla="*/ 5933727 h 6851544"/>
              <a:gd name="connsiteX3579" fmla="*/ 6432014 w 6901213"/>
              <a:gd name="connsiteY3579" fmla="*/ 5921879 h 6851544"/>
              <a:gd name="connsiteX3580" fmla="*/ 6489430 w 6901213"/>
              <a:gd name="connsiteY3580" fmla="*/ 5747885 h 6851544"/>
              <a:gd name="connsiteX3581" fmla="*/ 6475912 w 6901213"/>
              <a:gd name="connsiteY3581" fmla="*/ 5734367 h 6851544"/>
              <a:gd name="connsiteX3582" fmla="*/ 6462393 w 6901213"/>
              <a:gd name="connsiteY3582" fmla="*/ 5747885 h 6851544"/>
              <a:gd name="connsiteX3583" fmla="*/ 6475912 w 6901213"/>
              <a:gd name="connsiteY3583" fmla="*/ 5761404 h 6851544"/>
              <a:gd name="connsiteX3584" fmla="*/ 6489430 w 6901213"/>
              <a:gd name="connsiteY3584" fmla="*/ 5747885 h 6851544"/>
              <a:gd name="connsiteX3585" fmla="*/ 6539935 w 6901213"/>
              <a:gd name="connsiteY3585" fmla="*/ 5571689 h 6851544"/>
              <a:gd name="connsiteX3586" fmla="*/ 6524138 w 6901213"/>
              <a:gd name="connsiteY3586" fmla="*/ 5555892 h 6851544"/>
              <a:gd name="connsiteX3587" fmla="*/ 6508341 w 6901213"/>
              <a:gd name="connsiteY3587" fmla="*/ 5571689 h 6851544"/>
              <a:gd name="connsiteX3588" fmla="*/ 6524138 w 6901213"/>
              <a:gd name="connsiteY3588" fmla="*/ 5587485 h 6851544"/>
              <a:gd name="connsiteX3589" fmla="*/ 6539935 w 6901213"/>
              <a:gd name="connsiteY3589" fmla="*/ 5571689 h 6851544"/>
              <a:gd name="connsiteX3590" fmla="*/ 6582237 w 6901213"/>
              <a:gd name="connsiteY3590" fmla="*/ 5393669 h 6851544"/>
              <a:gd name="connsiteX3591" fmla="*/ 6564769 w 6901213"/>
              <a:gd name="connsiteY3591" fmla="*/ 5376202 h 6851544"/>
              <a:gd name="connsiteX3592" fmla="*/ 6547302 w 6901213"/>
              <a:gd name="connsiteY3592" fmla="*/ 5393669 h 6851544"/>
              <a:gd name="connsiteX3593" fmla="*/ 6564769 w 6901213"/>
              <a:gd name="connsiteY3593" fmla="*/ 5411137 h 6851544"/>
              <a:gd name="connsiteX3594" fmla="*/ 6582237 w 6901213"/>
              <a:gd name="connsiteY3594" fmla="*/ 5393669 h 6851544"/>
              <a:gd name="connsiteX3595" fmla="*/ 6617477 w 6901213"/>
              <a:gd name="connsiteY3595" fmla="*/ 5213979 h 6851544"/>
              <a:gd name="connsiteX3596" fmla="*/ 6597730 w 6901213"/>
              <a:gd name="connsiteY3596" fmla="*/ 5194233 h 6851544"/>
              <a:gd name="connsiteX3597" fmla="*/ 6577984 w 6901213"/>
              <a:gd name="connsiteY3597" fmla="*/ 5213979 h 6851544"/>
              <a:gd name="connsiteX3598" fmla="*/ 6597730 w 6901213"/>
              <a:gd name="connsiteY3598" fmla="*/ 5233725 h 6851544"/>
              <a:gd name="connsiteX3599" fmla="*/ 6617477 w 6901213"/>
              <a:gd name="connsiteY3599" fmla="*/ 5213979 h 6851544"/>
              <a:gd name="connsiteX3600" fmla="*/ 6645045 w 6901213"/>
              <a:gd name="connsiteY3600" fmla="*/ 5033073 h 6851544"/>
              <a:gd name="connsiteX3601" fmla="*/ 6623021 w 6901213"/>
              <a:gd name="connsiteY3601" fmla="*/ 5011049 h 6851544"/>
              <a:gd name="connsiteX3602" fmla="*/ 6600996 w 6901213"/>
              <a:gd name="connsiteY3602" fmla="*/ 5033073 h 6851544"/>
              <a:gd name="connsiteX3603" fmla="*/ 6623021 w 6901213"/>
              <a:gd name="connsiteY3603" fmla="*/ 5055098 h 6851544"/>
              <a:gd name="connsiteX3604" fmla="*/ 6645045 w 6901213"/>
              <a:gd name="connsiteY3604" fmla="*/ 5033073 h 6851544"/>
              <a:gd name="connsiteX3605" fmla="*/ 6664867 w 6901213"/>
              <a:gd name="connsiteY3605" fmla="*/ 4851257 h 6851544"/>
              <a:gd name="connsiteX3606" fmla="*/ 6640564 w 6901213"/>
              <a:gd name="connsiteY3606" fmla="*/ 4826954 h 6851544"/>
              <a:gd name="connsiteX3607" fmla="*/ 6616261 w 6901213"/>
              <a:gd name="connsiteY3607" fmla="*/ 4851257 h 6851544"/>
              <a:gd name="connsiteX3608" fmla="*/ 6640564 w 6901213"/>
              <a:gd name="connsiteY3608" fmla="*/ 4875560 h 6851544"/>
              <a:gd name="connsiteX3609" fmla="*/ 6664867 w 6901213"/>
              <a:gd name="connsiteY3609" fmla="*/ 4851257 h 6851544"/>
              <a:gd name="connsiteX3610" fmla="*/ 6676867 w 6901213"/>
              <a:gd name="connsiteY3610" fmla="*/ 4668833 h 6851544"/>
              <a:gd name="connsiteX3611" fmla="*/ 6650361 w 6901213"/>
              <a:gd name="connsiteY3611" fmla="*/ 4642327 h 6851544"/>
              <a:gd name="connsiteX3612" fmla="*/ 6623856 w 6901213"/>
              <a:gd name="connsiteY3612" fmla="*/ 4668833 h 6851544"/>
              <a:gd name="connsiteX3613" fmla="*/ 6650361 w 6901213"/>
              <a:gd name="connsiteY3613" fmla="*/ 4695338 h 6851544"/>
              <a:gd name="connsiteX3614" fmla="*/ 6676867 w 6901213"/>
              <a:gd name="connsiteY3614" fmla="*/ 4668833 h 6851544"/>
              <a:gd name="connsiteX3615" fmla="*/ 6681120 w 6901213"/>
              <a:gd name="connsiteY3615" fmla="*/ 4486181 h 6851544"/>
              <a:gd name="connsiteX3616" fmla="*/ 6652336 w 6901213"/>
              <a:gd name="connsiteY3616" fmla="*/ 4457396 h 6851544"/>
              <a:gd name="connsiteX3617" fmla="*/ 6623552 w 6901213"/>
              <a:gd name="connsiteY3617" fmla="*/ 4486181 h 6851544"/>
              <a:gd name="connsiteX3618" fmla="*/ 6652336 w 6901213"/>
              <a:gd name="connsiteY3618" fmla="*/ 4514964 h 6851544"/>
              <a:gd name="connsiteX3619" fmla="*/ 6681120 w 6901213"/>
              <a:gd name="connsiteY3619" fmla="*/ 4486181 h 6851544"/>
              <a:gd name="connsiteX3620" fmla="*/ 6677474 w 6901213"/>
              <a:gd name="connsiteY3620" fmla="*/ 4303604 h 6851544"/>
              <a:gd name="connsiteX3621" fmla="*/ 6646412 w 6901213"/>
              <a:gd name="connsiteY3621" fmla="*/ 4272542 h 6851544"/>
              <a:gd name="connsiteX3622" fmla="*/ 6615350 w 6901213"/>
              <a:gd name="connsiteY3622" fmla="*/ 4303604 h 6851544"/>
              <a:gd name="connsiteX3623" fmla="*/ 6646412 w 6901213"/>
              <a:gd name="connsiteY3623" fmla="*/ 4334666 h 6851544"/>
              <a:gd name="connsiteX3624" fmla="*/ 6677474 w 6901213"/>
              <a:gd name="connsiteY3624" fmla="*/ 4303604 h 6851544"/>
              <a:gd name="connsiteX3625" fmla="*/ 6666082 w 6901213"/>
              <a:gd name="connsiteY3625" fmla="*/ 4121484 h 6851544"/>
              <a:gd name="connsiteX3626" fmla="*/ 6632742 w 6901213"/>
              <a:gd name="connsiteY3626" fmla="*/ 4088219 h 6851544"/>
              <a:gd name="connsiteX3627" fmla="*/ 6599477 w 6901213"/>
              <a:gd name="connsiteY3627" fmla="*/ 4121484 h 6851544"/>
              <a:gd name="connsiteX3628" fmla="*/ 6632742 w 6901213"/>
              <a:gd name="connsiteY3628" fmla="*/ 4154824 h 6851544"/>
              <a:gd name="connsiteX3629" fmla="*/ 6666082 w 6901213"/>
              <a:gd name="connsiteY3629" fmla="*/ 4121484 h 6851544"/>
              <a:gd name="connsiteX3630" fmla="*/ 6646944 w 6901213"/>
              <a:gd name="connsiteY3630" fmla="*/ 3940046 h 6851544"/>
              <a:gd name="connsiteX3631" fmla="*/ 6611401 w 6901213"/>
              <a:gd name="connsiteY3631" fmla="*/ 3904503 h 6851544"/>
              <a:gd name="connsiteX3632" fmla="*/ 6575857 w 6901213"/>
              <a:gd name="connsiteY3632" fmla="*/ 3940046 h 6851544"/>
              <a:gd name="connsiteX3633" fmla="*/ 6611401 w 6901213"/>
              <a:gd name="connsiteY3633" fmla="*/ 3975589 h 6851544"/>
              <a:gd name="connsiteX3634" fmla="*/ 6646944 w 6901213"/>
              <a:gd name="connsiteY3634" fmla="*/ 3940046 h 6851544"/>
              <a:gd name="connsiteX3635" fmla="*/ 6620059 w 6901213"/>
              <a:gd name="connsiteY3635" fmla="*/ 3759749 h 6851544"/>
              <a:gd name="connsiteX3636" fmla="*/ 6582237 w 6901213"/>
              <a:gd name="connsiteY3636" fmla="*/ 3721927 h 6851544"/>
              <a:gd name="connsiteX3637" fmla="*/ 6544416 w 6901213"/>
              <a:gd name="connsiteY3637" fmla="*/ 3759749 h 6851544"/>
              <a:gd name="connsiteX3638" fmla="*/ 6582237 w 6901213"/>
              <a:gd name="connsiteY3638" fmla="*/ 3797570 h 6851544"/>
              <a:gd name="connsiteX3639" fmla="*/ 6620059 w 6901213"/>
              <a:gd name="connsiteY3639" fmla="*/ 3759749 h 6851544"/>
              <a:gd name="connsiteX3640" fmla="*/ 6584895 w 6901213"/>
              <a:gd name="connsiteY3640" fmla="*/ 3580818 h 6851544"/>
              <a:gd name="connsiteX3641" fmla="*/ 6545403 w 6901213"/>
              <a:gd name="connsiteY3641" fmla="*/ 3541325 h 6851544"/>
              <a:gd name="connsiteX3642" fmla="*/ 6505911 w 6901213"/>
              <a:gd name="connsiteY3642" fmla="*/ 3580818 h 6851544"/>
              <a:gd name="connsiteX3643" fmla="*/ 6545403 w 6901213"/>
              <a:gd name="connsiteY3643" fmla="*/ 3620310 h 6851544"/>
              <a:gd name="connsiteX3644" fmla="*/ 6584895 w 6901213"/>
              <a:gd name="connsiteY3644" fmla="*/ 3580818 h 6851544"/>
              <a:gd name="connsiteX3645" fmla="*/ 6542745 w 6901213"/>
              <a:gd name="connsiteY3645" fmla="*/ 3403634 h 6851544"/>
              <a:gd name="connsiteX3646" fmla="*/ 6500974 w 6901213"/>
              <a:gd name="connsiteY3646" fmla="*/ 3361863 h 6851544"/>
              <a:gd name="connsiteX3647" fmla="*/ 6459203 w 6901213"/>
              <a:gd name="connsiteY3647" fmla="*/ 3403634 h 6851544"/>
              <a:gd name="connsiteX3648" fmla="*/ 6500974 w 6901213"/>
              <a:gd name="connsiteY3648" fmla="*/ 3445405 h 6851544"/>
              <a:gd name="connsiteX3649" fmla="*/ 6542745 w 6901213"/>
              <a:gd name="connsiteY3649" fmla="*/ 3403634 h 6851544"/>
              <a:gd name="connsiteX3650" fmla="*/ 6492468 w 6901213"/>
              <a:gd name="connsiteY3650" fmla="*/ 3228500 h 6851544"/>
              <a:gd name="connsiteX3651" fmla="*/ 6449027 w 6901213"/>
              <a:gd name="connsiteY3651" fmla="*/ 3185059 h 6851544"/>
              <a:gd name="connsiteX3652" fmla="*/ 6405585 w 6901213"/>
              <a:gd name="connsiteY3652" fmla="*/ 3228500 h 6851544"/>
              <a:gd name="connsiteX3653" fmla="*/ 6449027 w 6901213"/>
              <a:gd name="connsiteY3653" fmla="*/ 3271942 h 6851544"/>
              <a:gd name="connsiteX3654" fmla="*/ 6492468 w 6901213"/>
              <a:gd name="connsiteY3654" fmla="*/ 3228500 h 6851544"/>
              <a:gd name="connsiteX3655" fmla="*/ 6434749 w 6901213"/>
              <a:gd name="connsiteY3655" fmla="*/ 3055797 h 6851544"/>
              <a:gd name="connsiteX3656" fmla="*/ 6389560 w 6901213"/>
              <a:gd name="connsiteY3656" fmla="*/ 3010685 h 6851544"/>
              <a:gd name="connsiteX3657" fmla="*/ 6344448 w 6901213"/>
              <a:gd name="connsiteY3657" fmla="*/ 3055797 h 6851544"/>
              <a:gd name="connsiteX3658" fmla="*/ 6389560 w 6901213"/>
              <a:gd name="connsiteY3658" fmla="*/ 3100986 h 6851544"/>
              <a:gd name="connsiteX3659" fmla="*/ 6434749 w 6901213"/>
              <a:gd name="connsiteY3659" fmla="*/ 3055797 h 6851544"/>
              <a:gd name="connsiteX3660" fmla="*/ 6369662 w 6901213"/>
              <a:gd name="connsiteY3660" fmla="*/ 2885752 h 6851544"/>
              <a:gd name="connsiteX3661" fmla="*/ 6322803 w 6901213"/>
              <a:gd name="connsiteY3661" fmla="*/ 2838893 h 6851544"/>
              <a:gd name="connsiteX3662" fmla="*/ 6275943 w 6901213"/>
              <a:gd name="connsiteY3662" fmla="*/ 2885752 h 6851544"/>
              <a:gd name="connsiteX3663" fmla="*/ 6322803 w 6901213"/>
              <a:gd name="connsiteY3663" fmla="*/ 2932612 h 6851544"/>
              <a:gd name="connsiteX3664" fmla="*/ 6369662 w 6901213"/>
              <a:gd name="connsiteY3664" fmla="*/ 2885752 h 6851544"/>
              <a:gd name="connsiteX3665" fmla="*/ 6296829 w 6901213"/>
              <a:gd name="connsiteY3665" fmla="*/ 2718745 h 6851544"/>
              <a:gd name="connsiteX3666" fmla="*/ 6248830 w 6901213"/>
              <a:gd name="connsiteY3666" fmla="*/ 2670747 h 6851544"/>
              <a:gd name="connsiteX3667" fmla="*/ 6200832 w 6901213"/>
              <a:gd name="connsiteY3667" fmla="*/ 2718745 h 6851544"/>
              <a:gd name="connsiteX3668" fmla="*/ 6248830 w 6901213"/>
              <a:gd name="connsiteY3668" fmla="*/ 2766744 h 6851544"/>
              <a:gd name="connsiteX3669" fmla="*/ 6296829 w 6901213"/>
              <a:gd name="connsiteY3669" fmla="*/ 2718745 h 6851544"/>
              <a:gd name="connsiteX3670" fmla="*/ 6217540 w 6901213"/>
              <a:gd name="connsiteY3670" fmla="*/ 2555004 h 6851544"/>
              <a:gd name="connsiteX3671" fmla="*/ 6167871 w 6901213"/>
              <a:gd name="connsiteY3671" fmla="*/ 2505335 h 6851544"/>
              <a:gd name="connsiteX3672" fmla="*/ 6118202 w 6901213"/>
              <a:gd name="connsiteY3672" fmla="*/ 2555004 h 6851544"/>
              <a:gd name="connsiteX3673" fmla="*/ 6167871 w 6901213"/>
              <a:gd name="connsiteY3673" fmla="*/ 2604673 h 6851544"/>
              <a:gd name="connsiteX3674" fmla="*/ 6217540 w 6901213"/>
              <a:gd name="connsiteY3674" fmla="*/ 2555004 h 6851544"/>
              <a:gd name="connsiteX3675" fmla="*/ 6130733 w 6901213"/>
              <a:gd name="connsiteY3675" fmla="*/ 2394908 h 6851544"/>
              <a:gd name="connsiteX3676" fmla="*/ 6079925 w 6901213"/>
              <a:gd name="connsiteY3676" fmla="*/ 2344100 h 6851544"/>
              <a:gd name="connsiteX3677" fmla="*/ 6029116 w 6901213"/>
              <a:gd name="connsiteY3677" fmla="*/ 2394908 h 6851544"/>
              <a:gd name="connsiteX3678" fmla="*/ 6079925 w 6901213"/>
              <a:gd name="connsiteY3678" fmla="*/ 2445716 h 6851544"/>
              <a:gd name="connsiteX3679" fmla="*/ 6130733 w 6901213"/>
              <a:gd name="connsiteY3679" fmla="*/ 2394908 h 6851544"/>
              <a:gd name="connsiteX3680" fmla="*/ 6037167 w 6901213"/>
              <a:gd name="connsiteY3680" fmla="*/ 2238685 h 6851544"/>
              <a:gd name="connsiteX3681" fmla="*/ 5985219 w 6901213"/>
              <a:gd name="connsiteY3681" fmla="*/ 2186738 h 6851544"/>
              <a:gd name="connsiteX3682" fmla="*/ 5933271 w 6901213"/>
              <a:gd name="connsiteY3682" fmla="*/ 2238685 h 6851544"/>
              <a:gd name="connsiteX3683" fmla="*/ 5985219 w 6901213"/>
              <a:gd name="connsiteY3683" fmla="*/ 2290633 h 6851544"/>
              <a:gd name="connsiteX3684" fmla="*/ 6037167 w 6901213"/>
              <a:gd name="connsiteY3684" fmla="*/ 2238685 h 6851544"/>
              <a:gd name="connsiteX3685" fmla="*/ 5936461 w 6901213"/>
              <a:gd name="connsiteY3685" fmla="*/ 2086640 h 6851544"/>
              <a:gd name="connsiteX3686" fmla="*/ 5883982 w 6901213"/>
              <a:gd name="connsiteY3686" fmla="*/ 2034160 h 6851544"/>
              <a:gd name="connsiteX3687" fmla="*/ 5831503 w 6901213"/>
              <a:gd name="connsiteY3687" fmla="*/ 2086640 h 6851544"/>
              <a:gd name="connsiteX3688" fmla="*/ 5883982 w 6901213"/>
              <a:gd name="connsiteY3688" fmla="*/ 2139119 h 6851544"/>
              <a:gd name="connsiteX3689" fmla="*/ 5936461 w 6901213"/>
              <a:gd name="connsiteY3689" fmla="*/ 2086640 h 6851544"/>
              <a:gd name="connsiteX3690" fmla="*/ 5829376 w 6901213"/>
              <a:gd name="connsiteY3690" fmla="*/ 1939151 h 6851544"/>
              <a:gd name="connsiteX3691" fmla="*/ 5776289 w 6901213"/>
              <a:gd name="connsiteY3691" fmla="*/ 1886140 h 6851544"/>
              <a:gd name="connsiteX3692" fmla="*/ 5723279 w 6901213"/>
              <a:gd name="connsiteY3692" fmla="*/ 1939151 h 6851544"/>
              <a:gd name="connsiteX3693" fmla="*/ 5776289 w 6901213"/>
              <a:gd name="connsiteY3693" fmla="*/ 1992238 h 6851544"/>
              <a:gd name="connsiteX3694" fmla="*/ 5829376 w 6901213"/>
              <a:gd name="connsiteY3694" fmla="*/ 1939151 h 6851544"/>
              <a:gd name="connsiteX3695" fmla="*/ 5715988 w 6901213"/>
              <a:gd name="connsiteY3695" fmla="*/ 1796295 h 6851544"/>
              <a:gd name="connsiteX3696" fmla="*/ 5662369 w 6901213"/>
              <a:gd name="connsiteY3696" fmla="*/ 1742676 h 6851544"/>
              <a:gd name="connsiteX3697" fmla="*/ 5608751 w 6901213"/>
              <a:gd name="connsiteY3697" fmla="*/ 1796295 h 6851544"/>
              <a:gd name="connsiteX3698" fmla="*/ 5662369 w 6901213"/>
              <a:gd name="connsiteY3698" fmla="*/ 1849913 h 6851544"/>
              <a:gd name="connsiteX3699" fmla="*/ 5715988 w 6901213"/>
              <a:gd name="connsiteY3699" fmla="*/ 1796295 h 6851544"/>
              <a:gd name="connsiteX3700" fmla="*/ 5596675 w 6901213"/>
              <a:gd name="connsiteY3700" fmla="*/ 1658527 h 6851544"/>
              <a:gd name="connsiteX3701" fmla="*/ 5542525 w 6901213"/>
              <a:gd name="connsiteY3701" fmla="*/ 1604377 h 6851544"/>
              <a:gd name="connsiteX3702" fmla="*/ 5488375 w 6901213"/>
              <a:gd name="connsiteY3702" fmla="*/ 1658527 h 6851544"/>
              <a:gd name="connsiteX3703" fmla="*/ 5542525 w 6901213"/>
              <a:gd name="connsiteY3703" fmla="*/ 1712677 h 6851544"/>
              <a:gd name="connsiteX3704" fmla="*/ 5596675 w 6901213"/>
              <a:gd name="connsiteY3704" fmla="*/ 1658527 h 6851544"/>
              <a:gd name="connsiteX3705" fmla="*/ 5471059 w 6901213"/>
              <a:gd name="connsiteY3705" fmla="*/ 1525924 h 6851544"/>
              <a:gd name="connsiteX3706" fmla="*/ 5416909 w 6901213"/>
              <a:gd name="connsiteY3706" fmla="*/ 1471774 h 6851544"/>
              <a:gd name="connsiteX3707" fmla="*/ 5362759 w 6901213"/>
              <a:gd name="connsiteY3707" fmla="*/ 1525924 h 6851544"/>
              <a:gd name="connsiteX3708" fmla="*/ 5416909 w 6901213"/>
              <a:gd name="connsiteY3708" fmla="*/ 1580074 h 6851544"/>
              <a:gd name="connsiteX3709" fmla="*/ 5471059 w 6901213"/>
              <a:gd name="connsiteY3709" fmla="*/ 1525924 h 6851544"/>
              <a:gd name="connsiteX3710" fmla="*/ 5339823 w 6901213"/>
              <a:gd name="connsiteY3710" fmla="*/ 1398865 h 6851544"/>
              <a:gd name="connsiteX3711" fmla="*/ 5285672 w 6901213"/>
              <a:gd name="connsiteY3711" fmla="*/ 1344715 h 6851544"/>
              <a:gd name="connsiteX3712" fmla="*/ 5231523 w 6901213"/>
              <a:gd name="connsiteY3712" fmla="*/ 1398865 h 6851544"/>
              <a:gd name="connsiteX3713" fmla="*/ 5285672 w 6901213"/>
              <a:gd name="connsiteY3713" fmla="*/ 1453015 h 6851544"/>
              <a:gd name="connsiteX3714" fmla="*/ 5339823 w 6901213"/>
              <a:gd name="connsiteY3714" fmla="*/ 1398865 h 6851544"/>
              <a:gd name="connsiteX3715" fmla="*/ 5202739 w 6901213"/>
              <a:gd name="connsiteY3715" fmla="*/ 1277502 h 6851544"/>
              <a:gd name="connsiteX3716" fmla="*/ 5149120 w 6901213"/>
              <a:gd name="connsiteY3716" fmla="*/ 1223883 h 6851544"/>
              <a:gd name="connsiteX3717" fmla="*/ 5095502 w 6901213"/>
              <a:gd name="connsiteY3717" fmla="*/ 1277502 h 6851544"/>
              <a:gd name="connsiteX3718" fmla="*/ 5149120 w 6901213"/>
              <a:gd name="connsiteY3718" fmla="*/ 1331120 h 6851544"/>
              <a:gd name="connsiteX3719" fmla="*/ 5202739 w 6901213"/>
              <a:gd name="connsiteY3719" fmla="*/ 1277502 h 6851544"/>
              <a:gd name="connsiteX3720" fmla="*/ 5061098 w 6901213"/>
              <a:gd name="connsiteY3720" fmla="*/ 1162063 h 6851544"/>
              <a:gd name="connsiteX3721" fmla="*/ 5007480 w 6901213"/>
              <a:gd name="connsiteY3721" fmla="*/ 1108444 h 6851544"/>
              <a:gd name="connsiteX3722" fmla="*/ 4953861 w 6901213"/>
              <a:gd name="connsiteY3722" fmla="*/ 1162063 h 6851544"/>
              <a:gd name="connsiteX3723" fmla="*/ 5007480 w 6901213"/>
              <a:gd name="connsiteY3723" fmla="*/ 1215681 h 6851544"/>
              <a:gd name="connsiteX3724" fmla="*/ 5061098 w 6901213"/>
              <a:gd name="connsiteY3724" fmla="*/ 1162063 h 6851544"/>
              <a:gd name="connsiteX3725" fmla="*/ 4913609 w 6901213"/>
              <a:gd name="connsiteY3725" fmla="*/ 1052851 h 6851544"/>
              <a:gd name="connsiteX3726" fmla="*/ 4861130 w 6901213"/>
              <a:gd name="connsiteY3726" fmla="*/ 1000372 h 6851544"/>
              <a:gd name="connsiteX3727" fmla="*/ 4808650 w 6901213"/>
              <a:gd name="connsiteY3727" fmla="*/ 1052851 h 6851544"/>
              <a:gd name="connsiteX3728" fmla="*/ 4861130 w 6901213"/>
              <a:gd name="connsiteY3728" fmla="*/ 1105330 h 6851544"/>
              <a:gd name="connsiteX3729" fmla="*/ 4913609 w 6901213"/>
              <a:gd name="connsiteY3729" fmla="*/ 1052851 h 6851544"/>
              <a:gd name="connsiteX3730" fmla="*/ 4762095 w 6901213"/>
              <a:gd name="connsiteY3730" fmla="*/ 949943 h 6851544"/>
              <a:gd name="connsiteX3731" fmla="*/ 4710148 w 6901213"/>
              <a:gd name="connsiteY3731" fmla="*/ 897995 h 6851544"/>
              <a:gd name="connsiteX3732" fmla="*/ 4658200 w 6901213"/>
              <a:gd name="connsiteY3732" fmla="*/ 949943 h 6851544"/>
              <a:gd name="connsiteX3733" fmla="*/ 4710148 w 6901213"/>
              <a:gd name="connsiteY3733" fmla="*/ 1001891 h 6851544"/>
              <a:gd name="connsiteX3734" fmla="*/ 4762095 w 6901213"/>
              <a:gd name="connsiteY3734" fmla="*/ 949943 h 6851544"/>
              <a:gd name="connsiteX3735" fmla="*/ 4605797 w 6901213"/>
              <a:gd name="connsiteY3735" fmla="*/ 853567 h 6851544"/>
              <a:gd name="connsiteX3736" fmla="*/ 4554988 w 6901213"/>
              <a:gd name="connsiteY3736" fmla="*/ 802758 h 6851544"/>
              <a:gd name="connsiteX3737" fmla="*/ 4504180 w 6901213"/>
              <a:gd name="connsiteY3737" fmla="*/ 853567 h 6851544"/>
              <a:gd name="connsiteX3738" fmla="*/ 4554988 w 6901213"/>
              <a:gd name="connsiteY3738" fmla="*/ 904375 h 6851544"/>
              <a:gd name="connsiteX3739" fmla="*/ 4605797 w 6901213"/>
              <a:gd name="connsiteY3739" fmla="*/ 853567 h 6851544"/>
              <a:gd name="connsiteX3740" fmla="*/ 4445549 w 6901213"/>
              <a:gd name="connsiteY3740" fmla="*/ 763949 h 6851544"/>
              <a:gd name="connsiteX3741" fmla="*/ 4395879 w 6901213"/>
              <a:gd name="connsiteY3741" fmla="*/ 714280 h 6851544"/>
              <a:gd name="connsiteX3742" fmla="*/ 4346210 w 6901213"/>
              <a:gd name="connsiteY3742" fmla="*/ 763949 h 6851544"/>
              <a:gd name="connsiteX3743" fmla="*/ 4395879 w 6901213"/>
              <a:gd name="connsiteY3743" fmla="*/ 813619 h 6851544"/>
              <a:gd name="connsiteX3744" fmla="*/ 4445549 w 6901213"/>
              <a:gd name="connsiteY3744" fmla="*/ 763949 h 6851544"/>
              <a:gd name="connsiteX3745" fmla="*/ 4281580 w 6901213"/>
              <a:gd name="connsiteY3745" fmla="*/ 681167 h 6851544"/>
              <a:gd name="connsiteX3746" fmla="*/ 4233049 w 6901213"/>
              <a:gd name="connsiteY3746" fmla="*/ 632637 h 6851544"/>
              <a:gd name="connsiteX3747" fmla="*/ 4184519 w 6901213"/>
              <a:gd name="connsiteY3747" fmla="*/ 681167 h 6851544"/>
              <a:gd name="connsiteX3748" fmla="*/ 4233049 w 6901213"/>
              <a:gd name="connsiteY3748" fmla="*/ 729697 h 6851544"/>
              <a:gd name="connsiteX3749" fmla="*/ 4281580 w 6901213"/>
              <a:gd name="connsiteY3749" fmla="*/ 681167 h 6851544"/>
              <a:gd name="connsiteX3750" fmla="*/ 4113585 w 6901213"/>
              <a:gd name="connsiteY3750" fmla="*/ 605448 h 6851544"/>
              <a:gd name="connsiteX3751" fmla="*/ 4066725 w 6901213"/>
              <a:gd name="connsiteY3751" fmla="*/ 558589 h 6851544"/>
              <a:gd name="connsiteX3752" fmla="*/ 4019866 w 6901213"/>
              <a:gd name="connsiteY3752" fmla="*/ 605448 h 6851544"/>
              <a:gd name="connsiteX3753" fmla="*/ 4066725 w 6901213"/>
              <a:gd name="connsiteY3753" fmla="*/ 652307 h 6851544"/>
              <a:gd name="connsiteX3754" fmla="*/ 4113585 w 6901213"/>
              <a:gd name="connsiteY3754" fmla="*/ 605448 h 6851544"/>
              <a:gd name="connsiteX3755" fmla="*/ 3943160 w 6901213"/>
              <a:gd name="connsiteY3755" fmla="*/ 536944 h 6851544"/>
              <a:gd name="connsiteX3756" fmla="*/ 3897440 w 6901213"/>
              <a:gd name="connsiteY3756" fmla="*/ 491224 h 6851544"/>
              <a:gd name="connsiteX3757" fmla="*/ 3851720 w 6901213"/>
              <a:gd name="connsiteY3757" fmla="*/ 536944 h 6851544"/>
              <a:gd name="connsiteX3758" fmla="*/ 3897440 w 6901213"/>
              <a:gd name="connsiteY3758" fmla="*/ 582664 h 6851544"/>
              <a:gd name="connsiteX3759" fmla="*/ 3943160 w 6901213"/>
              <a:gd name="connsiteY3759" fmla="*/ 536944 h 6851544"/>
              <a:gd name="connsiteX3760" fmla="*/ 3769394 w 6901213"/>
              <a:gd name="connsiteY3760" fmla="*/ 475655 h 6851544"/>
              <a:gd name="connsiteX3761" fmla="*/ 3725345 w 6901213"/>
              <a:gd name="connsiteY3761" fmla="*/ 431606 h 6851544"/>
              <a:gd name="connsiteX3762" fmla="*/ 3681295 w 6901213"/>
              <a:gd name="connsiteY3762" fmla="*/ 475655 h 6851544"/>
              <a:gd name="connsiteX3763" fmla="*/ 3725345 w 6901213"/>
              <a:gd name="connsiteY3763" fmla="*/ 519704 h 6851544"/>
              <a:gd name="connsiteX3764" fmla="*/ 3769394 w 6901213"/>
              <a:gd name="connsiteY3764" fmla="*/ 475655 h 6851544"/>
              <a:gd name="connsiteX3765" fmla="*/ 3593121 w 6901213"/>
              <a:gd name="connsiteY3765" fmla="*/ 421809 h 6851544"/>
              <a:gd name="connsiteX3766" fmla="*/ 3550819 w 6901213"/>
              <a:gd name="connsiteY3766" fmla="*/ 379506 h 6851544"/>
              <a:gd name="connsiteX3767" fmla="*/ 3508516 w 6901213"/>
              <a:gd name="connsiteY3767" fmla="*/ 421809 h 6851544"/>
              <a:gd name="connsiteX3768" fmla="*/ 3550819 w 6901213"/>
              <a:gd name="connsiteY3768" fmla="*/ 464111 h 6851544"/>
              <a:gd name="connsiteX3769" fmla="*/ 3593121 w 6901213"/>
              <a:gd name="connsiteY3769" fmla="*/ 421809 h 6851544"/>
              <a:gd name="connsiteX3770" fmla="*/ 3414190 w 6901213"/>
              <a:gd name="connsiteY3770" fmla="*/ 375481 h 6851544"/>
              <a:gd name="connsiteX3771" fmla="*/ 3374090 w 6901213"/>
              <a:gd name="connsiteY3771" fmla="*/ 335381 h 6851544"/>
              <a:gd name="connsiteX3772" fmla="*/ 3333990 w 6901213"/>
              <a:gd name="connsiteY3772" fmla="*/ 375481 h 6851544"/>
              <a:gd name="connsiteX3773" fmla="*/ 3374090 w 6901213"/>
              <a:gd name="connsiteY3773" fmla="*/ 415581 h 6851544"/>
              <a:gd name="connsiteX3774" fmla="*/ 3414190 w 6901213"/>
              <a:gd name="connsiteY3774" fmla="*/ 375481 h 6851544"/>
              <a:gd name="connsiteX3775" fmla="*/ 3233969 w 6901213"/>
              <a:gd name="connsiteY3775" fmla="*/ 336748 h 6851544"/>
              <a:gd name="connsiteX3776" fmla="*/ 3195615 w 6901213"/>
              <a:gd name="connsiteY3776" fmla="*/ 298395 h 6851544"/>
              <a:gd name="connsiteX3777" fmla="*/ 3157262 w 6901213"/>
              <a:gd name="connsiteY3777" fmla="*/ 336748 h 6851544"/>
              <a:gd name="connsiteX3778" fmla="*/ 3195615 w 6901213"/>
              <a:gd name="connsiteY3778" fmla="*/ 375101 h 6851544"/>
              <a:gd name="connsiteX3779" fmla="*/ 3233969 w 6901213"/>
              <a:gd name="connsiteY3779" fmla="*/ 336748 h 6851544"/>
              <a:gd name="connsiteX3780" fmla="*/ 3051772 w 6901213"/>
              <a:gd name="connsiteY3780" fmla="*/ 305686 h 6851544"/>
              <a:gd name="connsiteX3781" fmla="*/ 3015621 w 6901213"/>
              <a:gd name="connsiteY3781" fmla="*/ 269535 h 6851544"/>
              <a:gd name="connsiteX3782" fmla="*/ 2979471 w 6901213"/>
              <a:gd name="connsiteY3782" fmla="*/ 305686 h 6851544"/>
              <a:gd name="connsiteX3783" fmla="*/ 3015621 w 6901213"/>
              <a:gd name="connsiteY3783" fmla="*/ 341837 h 6851544"/>
              <a:gd name="connsiteX3784" fmla="*/ 3051772 w 6901213"/>
              <a:gd name="connsiteY3784" fmla="*/ 305686 h 6851544"/>
              <a:gd name="connsiteX3785" fmla="*/ 2868285 w 6901213"/>
              <a:gd name="connsiteY3785" fmla="*/ 282294 h 6851544"/>
              <a:gd name="connsiteX3786" fmla="*/ 2834412 w 6901213"/>
              <a:gd name="connsiteY3786" fmla="*/ 248422 h 6851544"/>
              <a:gd name="connsiteX3787" fmla="*/ 2800540 w 6901213"/>
              <a:gd name="connsiteY3787" fmla="*/ 282294 h 6851544"/>
              <a:gd name="connsiteX3788" fmla="*/ 2834412 w 6901213"/>
              <a:gd name="connsiteY3788" fmla="*/ 316167 h 6851544"/>
              <a:gd name="connsiteX3789" fmla="*/ 2868285 w 6901213"/>
              <a:gd name="connsiteY3789" fmla="*/ 282294 h 6851544"/>
              <a:gd name="connsiteX3790" fmla="*/ 2684038 w 6901213"/>
              <a:gd name="connsiteY3790" fmla="*/ 266725 h 6851544"/>
              <a:gd name="connsiteX3791" fmla="*/ 2652444 w 6901213"/>
              <a:gd name="connsiteY3791" fmla="*/ 235131 h 6851544"/>
              <a:gd name="connsiteX3792" fmla="*/ 2620850 w 6901213"/>
              <a:gd name="connsiteY3792" fmla="*/ 266725 h 6851544"/>
              <a:gd name="connsiteX3793" fmla="*/ 2652444 w 6901213"/>
              <a:gd name="connsiteY3793" fmla="*/ 298319 h 6851544"/>
              <a:gd name="connsiteX3794" fmla="*/ 2684038 w 6901213"/>
              <a:gd name="connsiteY3794" fmla="*/ 266725 h 6851544"/>
              <a:gd name="connsiteX3795" fmla="*/ 2499335 w 6901213"/>
              <a:gd name="connsiteY3795" fmla="*/ 258903 h 6851544"/>
              <a:gd name="connsiteX3796" fmla="*/ 2470019 w 6901213"/>
              <a:gd name="connsiteY3796" fmla="*/ 229587 h 6851544"/>
              <a:gd name="connsiteX3797" fmla="*/ 2440704 w 6901213"/>
              <a:gd name="connsiteY3797" fmla="*/ 258903 h 6851544"/>
              <a:gd name="connsiteX3798" fmla="*/ 2470019 w 6901213"/>
              <a:gd name="connsiteY3798" fmla="*/ 288218 h 6851544"/>
              <a:gd name="connsiteX3799" fmla="*/ 2499335 w 6901213"/>
              <a:gd name="connsiteY3799" fmla="*/ 258903 h 6851544"/>
              <a:gd name="connsiteX3800" fmla="*/ 2314404 w 6901213"/>
              <a:gd name="connsiteY3800" fmla="*/ 258903 h 6851544"/>
              <a:gd name="connsiteX3801" fmla="*/ 2287291 w 6901213"/>
              <a:gd name="connsiteY3801" fmla="*/ 231790 h 6851544"/>
              <a:gd name="connsiteX3802" fmla="*/ 2260178 w 6901213"/>
              <a:gd name="connsiteY3802" fmla="*/ 258903 h 6851544"/>
              <a:gd name="connsiteX3803" fmla="*/ 2287291 w 6901213"/>
              <a:gd name="connsiteY3803" fmla="*/ 286016 h 6851544"/>
              <a:gd name="connsiteX3804" fmla="*/ 2314404 w 6901213"/>
              <a:gd name="connsiteY3804" fmla="*/ 258903 h 6851544"/>
              <a:gd name="connsiteX3805" fmla="*/ 2129626 w 6901213"/>
              <a:gd name="connsiteY3805" fmla="*/ 266725 h 6851544"/>
              <a:gd name="connsiteX3806" fmla="*/ 2104791 w 6901213"/>
              <a:gd name="connsiteY3806" fmla="*/ 241891 h 6851544"/>
              <a:gd name="connsiteX3807" fmla="*/ 2079956 w 6901213"/>
              <a:gd name="connsiteY3807" fmla="*/ 266725 h 6851544"/>
              <a:gd name="connsiteX3808" fmla="*/ 2104791 w 6901213"/>
              <a:gd name="connsiteY3808" fmla="*/ 291560 h 6851544"/>
              <a:gd name="connsiteX3809" fmla="*/ 2129626 w 6901213"/>
              <a:gd name="connsiteY3809" fmla="*/ 266725 h 6851544"/>
              <a:gd name="connsiteX3810" fmla="*/ 1945378 w 6901213"/>
              <a:gd name="connsiteY3810" fmla="*/ 282294 h 6851544"/>
              <a:gd name="connsiteX3811" fmla="*/ 1922822 w 6901213"/>
              <a:gd name="connsiteY3811" fmla="*/ 259738 h 6851544"/>
              <a:gd name="connsiteX3812" fmla="*/ 1900266 w 6901213"/>
              <a:gd name="connsiteY3812" fmla="*/ 282294 h 6851544"/>
              <a:gd name="connsiteX3813" fmla="*/ 1922822 w 6901213"/>
              <a:gd name="connsiteY3813" fmla="*/ 304851 h 6851544"/>
              <a:gd name="connsiteX3814" fmla="*/ 1945378 w 6901213"/>
              <a:gd name="connsiteY3814" fmla="*/ 282294 h 6851544"/>
              <a:gd name="connsiteX3815" fmla="*/ 1761967 w 6901213"/>
              <a:gd name="connsiteY3815" fmla="*/ 305686 h 6851544"/>
              <a:gd name="connsiteX3816" fmla="*/ 1741613 w 6901213"/>
              <a:gd name="connsiteY3816" fmla="*/ 285332 h 6851544"/>
              <a:gd name="connsiteX3817" fmla="*/ 1721335 w 6901213"/>
              <a:gd name="connsiteY3817" fmla="*/ 305686 h 6851544"/>
              <a:gd name="connsiteX3818" fmla="*/ 1741613 w 6901213"/>
              <a:gd name="connsiteY3818" fmla="*/ 326040 h 6851544"/>
              <a:gd name="connsiteX3819" fmla="*/ 1761967 w 6901213"/>
              <a:gd name="connsiteY3819" fmla="*/ 305686 h 6851544"/>
              <a:gd name="connsiteX3820" fmla="*/ 1579694 w 6901213"/>
              <a:gd name="connsiteY3820" fmla="*/ 336748 h 6851544"/>
              <a:gd name="connsiteX3821" fmla="*/ 1561619 w 6901213"/>
              <a:gd name="connsiteY3821" fmla="*/ 318673 h 6851544"/>
              <a:gd name="connsiteX3822" fmla="*/ 1543544 w 6901213"/>
              <a:gd name="connsiteY3822" fmla="*/ 336748 h 6851544"/>
              <a:gd name="connsiteX3823" fmla="*/ 1561619 w 6901213"/>
              <a:gd name="connsiteY3823" fmla="*/ 354824 h 6851544"/>
              <a:gd name="connsiteX3824" fmla="*/ 1579694 w 6901213"/>
              <a:gd name="connsiteY3824" fmla="*/ 336748 h 6851544"/>
              <a:gd name="connsiteX3825" fmla="*/ 1398941 w 6901213"/>
              <a:gd name="connsiteY3825" fmla="*/ 375481 h 6851544"/>
              <a:gd name="connsiteX3826" fmla="*/ 1383144 w 6901213"/>
              <a:gd name="connsiteY3826" fmla="*/ 359684 h 6851544"/>
              <a:gd name="connsiteX3827" fmla="*/ 1367347 w 6901213"/>
              <a:gd name="connsiteY3827" fmla="*/ 375481 h 6851544"/>
              <a:gd name="connsiteX3828" fmla="*/ 1383144 w 6901213"/>
              <a:gd name="connsiteY3828" fmla="*/ 391278 h 6851544"/>
              <a:gd name="connsiteX3829" fmla="*/ 1398941 w 6901213"/>
              <a:gd name="connsiteY3829" fmla="*/ 375481 h 6851544"/>
              <a:gd name="connsiteX3830" fmla="*/ 1220542 w 6901213"/>
              <a:gd name="connsiteY3830" fmla="*/ 421809 h 6851544"/>
              <a:gd name="connsiteX3831" fmla="*/ 1206416 w 6901213"/>
              <a:gd name="connsiteY3831" fmla="*/ 407683 h 6851544"/>
              <a:gd name="connsiteX3832" fmla="*/ 1192290 w 6901213"/>
              <a:gd name="connsiteY3832" fmla="*/ 421809 h 6851544"/>
              <a:gd name="connsiteX3833" fmla="*/ 1206416 w 6901213"/>
              <a:gd name="connsiteY3833" fmla="*/ 435935 h 6851544"/>
              <a:gd name="connsiteX3834" fmla="*/ 1220542 w 6901213"/>
              <a:gd name="connsiteY3834" fmla="*/ 421809 h 6851544"/>
              <a:gd name="connsiteX3835" fmla="*/ 1044269 w 6901213"/>
              <a:gd name="connsiteY3835" fmla="*/ 475655 h 6851544"/>
              <a:gd name="connsiteX3836" fmla="*/ 1031814 w 6901213"/>
              <a:gd name="connsiteY3836" fmla="*/ 463276 h 6851544"/>
              <a:gd name="connsiteX3837" fmla="*/ 1019359 w 6901213"/>
              <a:gd name="connsiteY3837" fmla="*/ 475655 h 6851544"/>
              <a:gd name="connsiteX3838" fmla="*/ 1031814 w 6901213"/>
              <a:gd name="connsiteY3838" fmla="*/ 488110 h 6851544"/>
              <a:gd name="connsiteX3839" fmla="*/ 1044269 w 6901213"/>
              <a:gd name="connsiteY3839" fmla="*/ 475655 h 6851544"/>
              <a:gd name="connsiteX3840" fmla="*/ 869971 w 6901213"/>
              <a:gd name="connsiteY3840" fmla="*/ 536944 h 6851544"/>
              <a:gd name="connsiteX3841" fmla="*/ 859794 w 6901213"/>
              <a:gd name="connsiteY3841" fmla="*/ 526767 h 6851544"/>
              <a:gd name="connsiteX3842" fmla="*/ 849617 w 6901213"/>
              <a:gd name="connsiteY3842" fmla="*/ 536944 h 6851544"/>
              <a:gd name="connsiteX3843" fmla="*/ 859794 w 6901213"/>
              <a:gd name="connsiteY3843" fmla="*/ 547121 h 6851544"/>
              <a:gd name="connsiteX3844" fmla="*/ 869971 w 6901213"/>
              <a:gd name="connsiteY3844" fmla="*/ 536944 h 6851544"/>
              <a:gd name="connsiteX3845" fmla="*/ 698939 w 6901213"/>
              <a:gd name="connsiteY3845" fmla="*/ 605448 h 6851544"/>
              <a:gd name="connsiteX3846" fmla="*/ 690433 w 6901213"/>
              <a:gd name="connsiteY3846" fmla="*/ 597018 h 6851544"/>
              <a:gd name="connsiteX3847" fmla="*/ 682003 w 6901213"/>
              <a:gd name="connsiteY3847" fmla="*/ 605448 h 6851544"/>
              <a:gd name="connsiteX3848" fmla="*/ 690433 w 6901213"/>
              <a:gd name="connsiteY3848" fmla="*/ 613954 h 6851544"/>
              <a:gd name="connsiteX3849" fmla="*/ 698939 w 6901213"/>
              <a:gd name="connsiteY3849" fmla="*/ 605448 h 6851544"/>
              <a:gd name="connsiteX3850" fmla="*/ 531552 w 6901213"/>
              <a:gd name="connsiteY3850" fmla="*/ 681167 h 6851544"/>
              <a:gd name="connsiteX3851" fmla="*/ 524185 w 6901213"/>
              <a:gd name="connsiteY3851" fmla="*/ 673800 h 6851544"/>
              <a:gd name="connsiteX3852" fmla="*/ 516818 w 6901213"/>
              <a:gd name="connsiteY3852" fmla="*/ 681167 h 6851544"/>
              <a:gd name="connsiteX3853" fmla="*/ 524185 w 6901213"/>
              <a:gd name="connsiteY3853" fmla="*/ 688534 h 6851544"/>
              <a:gd name="connsiteX3854" fmla="*/ 531552 w 6901213"/>
              <a:gd name="connsiteY3854" fmla="*/ 681167 h 6851544"/>
              <a:gd name="connsiteX3855" fmla="*/ 367051 w 6901213"/>
              <a:gd name="connsiteY3855" fmla="*/ 763949 h 6851544"/>
              <a:gd name="connsiteX3856" fmla="*/ 361431 w 6901213"/>
              <a:gd name="connsiteY3856" fmla="*/ 758329 h 6851544"/>
              <a:gd name="connsiteX3857" fmla="*/ 355811 w 6901213"/>
              <a:gd name="connsiteY3857" fmla="*/ 763949 h 6851544"/>
              <a:gd name="connsiteX3858" fmla="*/ 361431 w 6901213"/>
              <a:gd name="connsiteY3858" fmla="*/ 769569 h 6851544"/>
              <a:gd name="connsiteX3859" fmla="*/ 367051 w 6901213"/>
              <a:gd name="connsiteY3859" fmla="*/ 763949 h 6851544"/>
              <a:gd name="connsiteX3860" fmla="*/ 206727 w 6901213"/>
              <a:gd name="connsiteY3860" fmla="*/ 853567 h 6851544"/>
              <a:gd name="connsiteX3861" fmla="*/ 202171 w 6901213"/>
              <a:gd name="connsiteY3861" fmla="*/ 849086 h 6851544"/>
              <a:gd name="connsiteX3862" fmla="*/ 197690 w 6901213"/>
              <a:gd name="connsiteY3862" fmla="*/ 853567 h 6851544"/>
              <a:gd name="connsiteX3863" fmla="*/ 202171 w 6901213"/>
              <a:gd name="connsiteY3863" fmla="*/ 858123 h 6851544"/>
              <a:gd name="connsiteX3864" fmla="*/ 206727 w 6901213"/>
              <a:gd name="connsiteY3864" fmla="*/ 853567 h 6851544"/>
              <a:gd name="connsiteX3865" fmla="*/ 6291968 w 6901213"/>
              <a:gd name="connsiteY3865" fmla="*/ 6717650 h 6851544"/>
              <a:gd name="connsiteX3866" fmla="*/ 6286348 w 6901213"/>
              <a:gd name="connsiteY3866" fmla="*/ 6712030 h 6851544"/>
              <a:gd name="connsiteX3867" fmla="*/ 6280728 w 6901213"/>
              <a:gd name="connsiteY3867" fmla="*/ 6717650 h 6851544"/>
              <a:gd name="connsiteX3868" fmla="*/ 6286348 w 6901213"/>
              <a:gd name="connsiteY3868" fmla="*/ 6723271 h 6851544"/>
              <a:gd name="connsiteX3869" fmla="*/ 6291968 w 6901213"/>
              <a:gd name="connsiteY3869" fmla="*/ 6717650 h 6851544"/>
              <a:gd name="connsiteX3870" fmla="*/ 6379535 w 6901213"/>
              <a:gd name="connsiteY3870" fmla="*/ 6556415 h 6851544"/>
              <a:gd name="connsiteX3871" fmla="*/ 6372168 w 6901213"/>
              <a:gd name="connsiteY3871" fmla="*/ 6549049 h 6851544"/>
              <a:gd name="connsiteX3872" fmla="*/ 6364801 w 6901213"/>
              <a:gd name="connsiteY3872" fmla="*/ 6556415 h 6851544"/>
              <a:gd name="connsiteX3873" fmla="*/ 6372168 w 6901213"/>
              <a:gd name="connsiteY3873" fmla="*/ 6563782 h 6851544"/>
              <a:gd name="connsiteX3874" fmla="*/ 6379535 w 6901213"/>
              <a:gd name="connsiteY3874" fmla="*/ 6556415 h 6851544"/>
              <a:gd name="connsiteX3875" fmla="*/ 6459887 w 6901213"/>
              <a:gd name="connsiteY3875" fmla="*/ 6391839 h 6851544"/>
              <a:gd name="connsiteX3876" fmla="*/ 6451381 w 6901213"/>
              <a:gd name="connsiteY3876" fmla="*/ 6383409 h 6851544"/>
              <a:gd name="connsiteX3877" fmla="*/ 6442950 w 6901213"/>
              <a:gd name="connsiteY3877" fmla="*/ 6391839 h 6851544"/>
              <a:gd name="connsiteX3878" fmla="*/ 6451381 w 6901213"/>
              <a:gd name="connsiteY3878" fmla="*/ 6400269 h 6851544"/>
              <a:gd name="connsiteX3879" fmla="*/ 6459887 w 6901213"/>
              <a:gd name="connsiteY3879" fmla="*/ 6391839 h 6851544"/>
              <a:gd name="connsiteX3880" fmla="*/ 6534087 w 6901213"/>
              <a:gd name="connsiteY3880" fmla="*/ 6224148 h 6851544"/>
              <a:gd name="connsiteX3881" fmla="*/ 6523910 w 6901213"/>
              <a:gd name="connsiteY3881" fmla="*/ 6213971 h 6851544"/>
              <a:gd name="connsiteX3882" fmla="*/ 6513733 w 6901213"/>
              <a:gd name="connsiteY3882" fmla="*/ 6224148 h 6851544"/>
              <a:gd name="connsiteX3883" fmla="*/ 6523910 w 6901213"/>
              <a:gd name="connsiteY3883" fmla="*/ 6234325 h 6851544"/>
              <a:gd name="connsiteX3884" fmla="*/ 6534087 w 6901213"/>
              <a:gd name="connsiteY3884" fmla="*/ 6224148 h 6851544"/>
              <a:gd name="connsiteX3885" fmla="*/ 6601376 w 6901213"/>
              <a:gd name="connsiteY3885" fmla="*/ 6053723 h 6851544"/>
              <a:gd name="connsiteX3886" fmla="*/ 6589528 w 6901213"/>
              <a:gd name="connsiteY3886" fmla="*/ 6041875 h 6851544"/>
              <a:gd name="connsiteX3887" fmla="*/ 6577681 w 6901213"/>
              <a:gd name="connsiteY3887" fmla="*/ 6053723 h 6851544"/>
              <a:gd name="connsiteX3888" fmla="*/ 6589528 w 6901213"/>
              <a:gd name="connsiteY3888" fmla="*/ 6065571 h 6851544"/>
              <a:gd name="connsiteX3889" fmla="*/ 6601376 w 6901213"/>
              <a:gd name="connsiteY3889" fmla="*/ 6053723 h 6851544"/>
              <a:gd name="connsiteX3890" fmla="*/ 6662209 w 6901213"/>
              <a:gd name="connsiteY3890" fmla="*/ 5880640 h 6851544"/>
              <a:gd name="connsiteX3891" fmla="*/ 6648083 w 6901213"/>
              <a:gd name="connsiteY3891" fmla="*/ 5866514 h 6851544"/>
              <a:gd name="connsiteX3892" fmla="*/ 6633957 w 6901213"/>
              <a:gd name="connsiteY3892" fmla="*/ 5880640 h 6851544"/>
              <a:gd name="connsiteX3893" fmla="*/ 6648083 w 6901213"/>
              <a:gd name="connsiteY3893" fmla="*/ 5894766 h 6851544"/>
              <a:gd name="connsiteX3894" fmla="*/ 6662209 w 6901213"/>
              <a:gd name="connsiteY3894" fmla="*/ 5880640 h 6851544"/>
              <a:gd name="connsiteX3895" fmla="*/ 6715372 w 6901213"/>
              <a:gd name="connsiteY3895" fmla="*/ 5705431 h 6851544"/>
              <a:gd name="connsiteX3896" fmla="*/ 6699575 w 6901213"/>
              <a:gd name="connsiteY3896" fmla="*/ 5689634 h 6851544"/>
              <a:gd name="connsiteX3897" fmla="*/ 6683778 w 6901213"/>
              <a:gd name="connsiteY3897" fmla="*/ 5705431 h 6851544"/>
              <a:gd name="connsiteX3898" fmla="*/ 6699575 w 6901213"/>
              <a:gd name="connsiteY3898" fmla="*/ 5721228 h 6851544"/>
              <a:gd name="connsiteX3899" fmla="*/ 6715372 w 6901213"/>
              <a:gd name="connsiteY3899" fmla="*/ 5705431 h 6851544"/>
              <a:gd name="connsiteX3900" fmla="*/ 6761852 w 6901213"/>
              <a:gd name="connsiteY3900" fmla="*/ 5528171 h 6851544"/>
              <a:gd name="connsiteX3901" fmla="*/ 6743776 w 6901213"/>
              <a:gd name="connsiteY3901" fmla="*/ 5510095 h 6851544"/>
              <a:gd name="connsiteX3902" fmla="*/ 6725701 w 6901213"/>
              <a:gd name="connsiteY3902" fmla="*/ 5528171 h 6851544"/>
              <a:gd name="connsiteX3903" fmla="*/ 6743776 w 6901213"/>
              <a:gd name="connsiteY3903" fmla="*/ 5546246 h 6851544"/>
              <a:gd name="connsiteX3904" fmla="*/ 6761852 w 6901213"/>
              <a:gd name="connsiteY3904" fmla="*/ 5528171 h 6851544"/>
              <a:gd name="connsiteX3905" fmla="*/ 6801116 w 6901213"/>
              <a:gd name="connsiteY3905" fmla="*/ 5349316 h 6851544"/>
              <a:gd name="connsiteX3906" fmla="*/ 6780762 w 6901213"/>
              <a:gd name="connsiteY3906" fmla="*/ 5329038 h 6851544"/>
              <a:gd name="connsiteX3907" fmla="*/ 6760409 w 6901213"/>
              <a:gd name="connsiteY3907" fmla="*/ 5349316 h 6851544"/>
              <a:gd name="connsiteX3908" fmla="*/ 6780762 w 6901213"/>
              <a:gd name="connsiteY3908" fmla="*/ 5369670 h 6851544"/>
              <a:gd name="connsiteX3909" fmla="*/ 6801116 w 6901213"/>
              <a:gd name="connsiteY3909" fmla="*/ 5349316 h 6851544"/>
              <a:gd name="connsiteX3910" fmla="*/ 6833089 w 6901213"/>
              <a:gd name="connsiteY3910" fmla="*/ 5169094 h 6851544"/>
              <a:gd name="connsiteX3911" fmla="*/ 6810533 w 6901213"/>
              <a:gd name="connsiteY3911" fmla="*/ 5146538 h 6851544"/>
              <a:gd name="connsiteX3912" fmla="*/ 6787977 w 6901213"/>
              <a:gd name="connsiteY3912" fmla="*/ 5169094 h 6851544"/>
              <a:gd name="connsiteX3913" fmla="*/ 6810533 w 6901213"/>
              <a:gd name="connsiteY3913" fmla="*/ 5191650 h 6851544"/>
              <a:gd name="connsiteX3914" fmla="*/ 6833089 w 6901213"/>
              <a:gd name="connsiteY3914" fmla="*/ 5169094 h 6851544"/>
              <a:gd name="connsiteX3915" fmla="*/ 6857621 w 6901213"/>
              <a:gd name="connsiteY3915" fmla="*/ 4987733 h 6851544"/>
              <a:gd name="connsiteX3916" fmla="*/ 6832786 w 6901213"/>
              <a:gd name="connsiteY3916" fmla="*/ 4962899 h 6851544"/>
              <a:gd name="connsiteX3917" fmla="*/ 6807951 w 6901213"/>
              <a:gd name="connsiteY3917" fmla="*/ 4987733 h 6851544"/>
              <a:gd name="connsiteX3918" fmla="*/ 6832786 w 6901213"/>
              <a:gd name="connsiteY3918" fmla="*/ 5012568 h 6851544"/>
              <a:gd name="connsiteX3919" fmla="*/ 6857621 w 6901213"/>
              <a:gd name="connsiteY3919" fmla="*/ 4987733 h 6851544"/>
              <a:gd name="connsiteX3920" fmla="*/ 6874785 w 6901213"/>
              <a:gd name="connsiteY3920" fmla="*/ 4805688 h 6851544"/>
              <a:gd name="connsiteX3921" fmla="*/ 6847671 w 6901213"/>
              <a:gd name="connsiteY3921" fmla="*/ 4778576 h 6851544"/>
              <a:gd name="connsiteX3922" fmla="*/ 6820558 w 6901213"/>
              <a:gd name="connsiteY3922" fmla="*/ 4805688 h 6851544"/>
              <a:gd name="connsiteX3923" fmla="*/ 6847671 w 6901213"/>
              <a:gd name="connsiteY3923" fmla="*/ 4832802 h 6851544"/>
              <a:gd name="connsiteX3924" fmla="*/ 6874785 w 6901213"/>
              <a:gd name="connsiteY3924" fmla="*/ 4805688 h 6851544"/>
              <a:gd name="connsiteX3925" fmla="*/ 6884506 w 6901213"/>
              <a:gd name="connsiteY3925" fmla="*/ 4623188 h 6851544"/>
              <a:gd name="connsiteX3926" fmla="*/ 6855190 w 6901213"/>
              <a:gd name="connsiteY3926" fmla="*/ 4593873 h 6851544"/>
              <a:gd name="connsiteX3927" fmla="*/ 6825875 w 6901213"/>
              <a:gd name="connsiteY3927" fmla="*/ 4623188 h 6851544"/>
              <a:gd name="connsiteX3928" fmla="*/ 6855190 w 6901213"/>
              <a:gd name="connsiteY3928" fmla="*/ 4652504 h 6851544"/>
              <a:gd name="connsiteX3929" fmla="*/ 6884506 w 6901213"/>
              <a:gd name="connsiteY3929" fmla="*/ 4623188 h 6851544"/>
              <a:gd name="connsiteX3930" fmla="*/ 6886708 w 6901213"/>
              <a:gd name="connsiteY3930" fmla="*/ 4440536 h 6851544"/>
              <a:gd name="connsiteX3931" fmla="*/ 6855114 w 6901213"/>
              <a:gd name="connsiteY3931" fmla="*/ 4408942 h 6851544"/>
              <a:gd name="connsiteX3932" fmla="*/ 6823520 w 6901213"/>
              <a:gd name="connsiteY3932" fmla="*/ 4440536 h 6851544"/>
              <a:gd name="connsiteX3933" fmla="*/ 6855114 w 6901213"/>
              <a:gd name="connsiteY3933" fmla="*/ 4472130 h 6851544"/>
              <a:gd name="connsiteX3934" fmla="*/ 6886708 w 6901213"/>
              <a:gd name="connsiteY3934" fmla="*/ 4440536 h 6851544"/>
              <a:gd name="connsiteX3935" fmla="*/ 6882075 w 6901213"/>
              <a:gd name="connsiteY3935" fmla="*/ 4258036 h 6851544"/>
              <a:gd name="connsiteX3936" fmla="*/ 6847671 w 6901213"/>
              <a:gd name="connsiteY3936" fmla="*/ 4223632 h 6851544"/>
              <a:gd name="connsiteX3937" fmla="*/ 6813267 w 6901213"/>
              <a:gd name="connsiteY3937" fmla="*/ 4258036 h 6851544"/>
              <a:gd name="connsiteX3938" fmla="*/ 6847671 w 6901213"/>
              <a:gd name="connsiteY3938" fmla="*/ 4292440 h 6851544"/>
              <a:gd name="connsiteX3939" fmla="*/ 6882075 w 6901213"/>
              <a:gd name="connsiteY3939" fmla="*/ 4258036 h 6851544"/>
              <a:gd name="connsiteX3940" fmla="*/ 6869468 w 6901213"/>
              <a:gd name="connsiteY3940" fmla="*/ 4075915 h 6851544"/>
              <a:gd name="connsiteX3941" fmla="*/ 6832786 w 6901213"/>
              <a:gd name="connsiteY3941" fmla="*/ 4039233 h 6851544"/>
              <a:gd name="connsiteX3942" fmla="*/ 6796103 w 6901213"/>
              <a:gd name="connsiteY3942" fmla="*/ 4075915 h 6851544"/>
              <a:gd name="connsiteX3943" fmla="*/ 6832786 w 6901213"/>
              <a:gd name="connsiteY3943" fmla="*/ 4112598 h 6851544"/>
              <a:gd name="connsiteX3944" fmla="*/ 6869468 w 6901213"/>
              <a:gd name="connsiteY3944" fmla="*/ 4075915 h 6851544"/>
              <a:gd name="connsiteX3945" fmla="*/ 6849418 w 6901213"/>
              <a:gd name="connsiteY3945" fmla="*/ 3894630 h 6851544"/>
              <a:gd name="connsiteX3946" fmla="*/ 6810457 w 6901213"/>
              <a:gd name="connsiteY3946" fmla="*/ 3855670 h 6851544"/>
              <a:gd name="connsiteX3947" fmla="*/ 6771497 w 6901213"/>
              <a:gd name="connsiteY3947" fmla="*/ 3894630 h 6851544"/>
              <a:gd name="connsiteX3948" fmla="*/ 6810457 w 6901213"/>
              <a:gd name="connsiteY3948" fmla="*/ 3933591 h 6851544"/>
              <a:gd name="connsiteX3949" fmla="*/ 6849418 w 6901213"/>
              <a:gd name="connsiteY3949" fmla="*/ 3894630 h 6851544"/>
              <a:gd name="connsiteX3950" fmla="*/ 6822001 w 6901213"/>
              <a:gd name="connsiteY3950" fmla="*/ 3714408 h 6851544"/>
              <a:gd name="connsiteX3951" fmla="*/ 6780838 w 6901213"/>
              <a:gd name="connsiteY3951" fmla="*/ 3673245 h 6851544"/>
              <a:gd name="connsiteX3952" fmla="*/ 6739599 w 6901213"/>
              <a:gd name="connsiteY3952" fmla="*/ 3714408 h 6851544"/>
              <a:gd name="connsiteX3953" fmla="*/ 6780838 w 6901213"/>
              <a:gd name="connsiteY3953" fmla="*/ 3755647 h 6851544"/>
              <a:gd name="connsiteX3954" fmla="*/ 6822001 w 6901213"/>
              <a:gd name="connsiteY3954" fmla="*/ 3714408 h 6851544"/>
              <a:gd name="connsiteX3955" fmla="*/ 6787294 w 6901213"/>
              <a:gd name="connsiteY3955" fmla="*/ 3535554 h 6851544"/>
              <a:gd name="connsiteX3956" fmla="*/ 6743852 w 6901213"/>
              <a:gd name="connsiteY3956" fmla="*/ 3492112 h 6851544"/>
              <a:gd name="connsiteX3957" fmla="*/ 6700410 w 6901213"/>
              <a:gd name="connsiteY3957" fmla="*/ 3535554 h 6851544"/>
              <a:gd name="connsiteX3958" fmla="*/ 6743852 w 6901213"/>
              <a:gd name="connsiteY3958" fmla="*/ 3578995 h 6851544"/>
              <a:gd name="connsiteX3959" fmla="*/ 6787294 w 6901213"/>
              <a:gd name="connsiteY3959" fmla="*/ 3535554 h 6851544"/>
              <a:gd name="connsiteX3960" fmla="*/ 6744688 w 6901213"/>
              <a:gd name="connsiteY3960" fmla="*/ 3358294 h 6851544"/>
              <a:gd name="connsiteX3961" fmla="*/ 6699499 w 6901213"/>
              <a:gd name="connsiteY3961" fmla="*/ 3313181 h 6851544"/>
              <a:gd name="connsiteX3962" fmla="*/ 6654387 w 6901213"/>
              <a:gd name="connsiteY3962" fmla="*/ 3358294 h 6851544"/>
              <a:gd name="connsiteX3963" fmla="*/ 6699499 w 6901213"/>
              <a:gd name="connsiteY3963" fmla="*/ 3403406 h 6851544"/>
              <a:gd name="connsiteX3964" fmla="*/ 6744688 w 6901213"/>
              <a:gd name="connsiteY3964" fmla="*/ 3358294 h 6851544"/>
              <a:gd name="connsiteX3965" fmla="*/ 6695474 w 6901213"/>
              <a:gd name="connsiteY3965" fmla="*/ 3183084 h 6851544"/>
              <a:gd name="connsiteX3966" fmla="*/ 6648083 w 6901213"/>
              <a:gd name="connsiteY3966" fmla="*/ 3135693 h 6851544"/>
              <a:gd name="connsiteX3967" fmla="*/ 6600692 w 6901213"/>
              <a:gd name="connsiteY3967" fmla="*/ 3183084 h 6851544"/>
              <a:gd name="connsiteX3968" fmla="*/ 6648083 w 6901213"/>
              <a:gd name="connsiteY3968" fmla="*/ 3230475 h 6851544"/>
              <a:gd name="connsiteX3969" fmla="*/ 6695474 w 6901213"/>
              <a:gd name="connsiteY3969" fmla="*/ 3183084 h 6851544"/>
              <a:gd name="connsiteX3970" fmla="*/ 6638590 w 6901213"/>
              <a:gd name="connsiteY3970" fmla="*/ 3010001 h 6851544"/>
              <a:gd name="connsiteX3971" fmla="*/ 6589452 w 6901213"/>
              <a:gd name="connsiteY3971" fmla="*/ 2960940 h 6851544"/>
              <a:gd name="connsiteX3972" fmla="*/ 6540390 w 6901213"/>
              <a:gd name="connsiteY3972" fmla="*/ 3010001 h 6851544"/>
              <a:gd name="connsiteX3973" fmla="*/ 6589452 w 6901213"/>
              <a:gd name="connsiteY3973" fmla="*/ 3059139 h 6851544"/>
              <a:gd name="connsiteX3974" fmla="*/ 6638590 w 6901213"/>
              <a:gd name="connsiteY3974" fmla="*/ 3010001 h 6851544"/>
              <a:gd name="connsiteX3975" fmla="*/ 6574719 w 6901213"/>
              <a:gd name="connsiteY3975" fmla="*/ 2839501 h 6851544"/>
              <a:gd name="connsiteX3976" fmla="*/ 6523910 w 6901213"/>
              <a:gd name="connsiteY3976" fmla="*/ 2788692 h 6851544"/>
              <a:gd name="connsiteX3977" fmla="*/ 6473102 w 6901213"/>
              <a:gd name="connsiteY3977" fmla="*/ 2839501 h 6851544"/>
              <a:gd name="connsiteX3978" fmla="*/ 6523910 w 6901213"/>
              <a:gd name="connsiteY3978" fmla="*/ 2890309 h 6851544"/>
              <a:gd name="connsiteX3979" fmla="*/ 6574719 w 6901213"/>
              <a:gd name="connsiteY3979" fmla="*/ 2839501 h 6851544"/>
              <a:gd name="connsiteX3980" fmla="*/ 6503936 w 6901213"/>
              <a:gd name="connsiteY3980" fmla="*/ 2671886 h 6851544"/>
              <a:gd name="connsiteX3981" fmla="*/ 6451456 w 6901213"/>
              <a:gd name="connsiteY3981" fmla="*/ 2619407 h 6851544"/>
              <a:gd name="connsiteX3982" fmla="*/ 6398977 w 6901213"/>
              <a:gd name="connsiteY3982" fmla="*/ 2671886 h 6851544"/>
              <a:gd name="connsiteX3983" fmla="*/ 6451456 w 6901213"/>
              <a:gd name="connsiteY3983" fmla="*/ 2724365 h 6851544"/>
              <a:gd name="connsiteX3984" fmla="*/ 6503936 w 6901213"/>
              <a:gd name="connsiteY3984" fmla="*/ 2671886 h 6851544"/>
              <a:gd name="connsiteX3985" fmla="*/ 6425787 w 6901213"/>
              <a:gd name="connsiteY3985" fmla="*/ 2507309 h 6851544"/>
              <a:gd name="connsiteX3986" fmla="*/ 6372168 w 6901213"/>
              <a:gd name="connsiteY3986" fmla="*/ 2453691 h 6851544"/>
              <a:gd name="connsiteX3987" fmla="*/ 6318549 w 6901213"/>
              <a:gd name="connsiteY3987" fmla="*/ 2507309 h 6851544"/>
              <a:gd name="connsiteX3988" fmla="*/ 6372168 w 6901213"/>
              <a:gd name="connsiteY3988" fmla="*/ 2560928 h 6851544"/>
              <a:gd name="connsiteX3989" fmla="*/ 6425787 w 6901213"/>
              <a:gd name="connsiteY3989" fmla="*/ 2507309 h 6851544"/>
              <a:gd name="connsiteX3990" fmla="*/ 6341562 w 6901213"/>
              <a:gd name="connsiteY3990" fmla="*/ 2346074 h 6851544"/>
              <a:gd name="connsiteX3991" fmla="*/ 6286272 w 6901213"/>
              <a:gd name="connsiteY3991" fmla="*/ 2290785 h 6851544"/>
              <a:gd name="connsiteX3992" fmla="*/ 6230983 w 6901213"/>
              <a:gd name="connsiteY3992" fmla="*/ 2346074 h 6851544"/>
              <a:gd name="connsiteX3993" fmla="*/ 6286272 w 6901213"/>
              <a:gd name="connsiteY3993" fmla="*/ 2401363 h 6851544"/>
              <a:gd name="connsiteX3994" fmla="*/ 6341562 w 6901213"/>
              <a:gd name="connsiteY3994" fmla="*/ 2346074 h 6851544"/>
              <a:gd name="connsiteX3995" fmla="*/ 6250349 w 6901213"/>
              <a:gd name="connsiteY3995" fmla="*/ 2188484 h 6851544"/>
              <a:gd name="connsiteX3996" fmla="*/ 6193921 w 6901213"/>
              <a:gd name="connsiteY3996" fmla="*/ 2132056 h 6851544"/>
              <a:gd name="connsiteX3997" fmla="*/ 6137492 w 6901213"/>
              <a:gd name="connsiteY3997" fmla="*/ 2188484 h 6851544"/>
              <a:gd name="connsiteX3998" fmla="*/ 6193921 w 6901213"/>
              <a:gd name="connsiteY3998" fmla="*/ 2244913 h 6851544"/>
              <a:gd name="connsiteX3999" fmla="*/ 6250349 w 6901213"/>
              <a:gd name="connsiteY3999" fmla="*/ 2188484 h 6851544"/>
              <a:gd name="connsiteX4000" fmla="*/ 6152150 w 6901213"/>
              <a:gd name="connsiteY4000" fmla="*/ 2034844 h 6851544"/>
              <a:gd name="connsiteX4001" fmla="*/ 6095114 w 6901213"/>
              <a:gd name="connsiteY4001" fmla="*/ 1977884 h 6851544"/>
              <a:gd name="connsiteX4002" fmla="*/ 6038078 w 6901213"/>
              <a:gd name="connsiteY4002" fmla="*/ 2034844 h 6851544"/>
              <a:gd name="connsiteX4003" fmla="*/ 6095114 w 6901213"/>
              <a:gd name="connsiteY4003" fmla="*/ 2091880 h 6851544"/>
              <a:gd name="connsiteX4004" fmla="*/ 6152150 w 6901213"/>
              <a:gd name="connsiteY4004" fmla="*/ 2034844 h 6851544"/>
              <a:gd name="connsiteX4005" fmla="*/ 6048331 w 6901213"/>
              <a:gd name="connsiteY4005" fmla="*/ 1885305 h 6851544"/>
              <a:gd name="connsiteX4006" fmla="*/ 5990231 w 6901213"/>
              <a:gd name="connsiteY4006" fmla="*/ 1827205 h 6851544"/>
              <a:gd name="connsiteX4007" fmla="*/ 5932132 w 6901213"/>
              <a:gd name="connsiteY4007" fmla="*/ 1885305 h 6851544"/>
              <a:gd name="connsiteX4008" fmla="*/ 5990231 w 6901213"/>
              <a:gd name="connsiteY4008" fmla="*/ 1943404 h 6851544"/>
              <a:gd name="connsiteX4009" fmla="*/ 6048331 w 6901213"/>
              <a:gd name="connsiteY4009" fmla="*/ 1885305 h 6851544"/>
              <a:gd name="connsiteX4010" fmla="*/ 5937904 w 6901213"/>
              <a:gd name="connsiteY4010" fmla="*/ 1740246 h 6851544"/>
              <a:gd name="connsiteX4011" fmla="*/ 5879197 w 6901213"/>
              <a:gd name="connsiteY4011" fmla="*/ 1681539 h 6851544"/>
              <a:gd name="connsiteX4012" fmla="*/ 5820490 w 6901213"/>
              <a:gd name="connsiteY4012" fmla="*/ 1740246 h 6851544"/>
              <a:gd name="connsiteX4013" fmla="*/ 5879197 w 6901213"/>
              <a:gd name="connsiteY4013" fmla="*/ 1798953 h 6851544"/>
              <a:gd name="connsiteX4014" fmla="*/ 5937904 w 6901213"/>
              <a:gd name="connsiteY4014" fmla="*/ 1740246 h 6851544"/>
              <a:gd name="connsiteX4015" fmla="*/ 5821705 w 6901213"/>
              <a:gd name="connsiteY4015" fmla="*/ 1599744 h 6851544"/>
              <a:gd name="connsiteX4016" fmla="*/ 5762467 w 6901213"/>
              <a:gd name="connsiteY4016" fmla="*/ 1540506 h 6851544"/>
              <a:gd name="connsiteX4017" fmla="*/ 5703228 w 6901213"/>
              <a:gd name="connsiteY4017" fmla="*/ 1599744 h 6851544"/>
              <a:gd name="connsiteX4018" fmla="*/ 5762467 w 6901213"/>
              <a:gd name="connsiteY4018" fmla="*/ 1658983 h 6851544"/>
              <a:gd name="connsiteX4019" fmla="*/ 5821705 w 6901213"/>
              <a:gd name="connsiteY4019" fmla="*/ 1599744 h 6851544"/>
              <a:gd name="connsiteX4020" fmla="*/ 5699279 w 6901213"/>
              <a:gd name="connsiteY4020" fmla="*/ 1464179 h 6851544"/>
              <a:gd name="connsiteX4021" fmla="*/ 5640041 w 6901213"/>
              <a:gd name="connsiteY4021" fmla="*/ 1404941 h 6851544"/>
              <a:gd name="connsiteX4022" fmla="*/ 5580802 w 6901213"/>
              <a:gd name="connsiteY4022" fmla="*/ 1464179 h 6851544"/>
              <a:gd name="connsiteX4023" fmla="*/ 5640041 w 6901213"/>
              <a:gd name="connsiteY4023" fmla="*/ 1523418 h 6851544"/>
              <a:gd name="connsiteX4024" fmla="*/ 5699279 w 6901213"/>
              <a:gd name="connsiteY4024" fmla="*/ 1464179 h 6851544"/>
              <a:gd name="connsiteX4025" fmla="*/ 5571460 w 6901213"/>
              <a:gd name="connsiteY4025" fmla="*/ 1333703 h 6851544"/>
              <a:gd name="connsiteX4026" fmla="*/ 5512222 w 6901213"/>
              <a:gd name="connsiteY4026" fmla="*/ 1274464 h 6851544"/>
              <a:gd name="connsiteX4027" fmla="*/ 5452984 w 6901213"/>
              <a:gd name="connsiteY4027" fmla="*/ 1333703 h 6851544"/>
              <a:gd name="connsiteX4028" fmla="*/ 5512222 w 6901213"/>
              <a:gd name="connsiteY4028" fmla="*/ 1392941 h 6851544"/>
              <a:gd name="connsiteX4029" fmla="*/ 5571460 w 6901213"/>
              <a:gd name="connsiteY4029" fmla="*/ 1333703 h 6851544"/>
              <a:gd name="connsiteX4030" fmla="*/ 5438402 w 6901213"/>
              <a:gd name="connsiteY4030" fmla="*/ 1208542 h 6851544"/>
              <a:gd name="connsiteX4031" fmla="*/ 5379163 w 6901213"/>
              <a:gd name="connsiteY4031" fmla="*/ 1149304 h 6851544"/>
              <a:gd name="connsiteX4032" fmla="*/ 5319925 w 6901213"/>
              <a:gd name="connsiteY4032" fmla="*/ 1208542 h 6851544"/>
              <a:gd name="connsiteX4033" fmla="*/ 5379163 w 6901213"/>
              <a:gd name="connsiteY4033" fmla="*/ 1267781 h 6851544"/>
              <a:gd name="connsiteX4034" fmla="*/ 5438402 w 6901213"/>
              <a:gd name="connsiteY4034" fmla="*/ 1208542 h 6851544"/>
              <a:gd name="connsiteX4035" fmla="*/ 5299799 w 6901213"/>
              <a:gd name="connsiteY4035" fmla="*/ 1088926 h 6851544"/>
              <a:gd name="connsiteX4036" fmla="*/ 5241092 w 6901213"/>
              <a:gd name="connsiteY4036" fmla="*/ 1030219 h 6851544"/>
              <a:gd name="connsiteX4037" fmla="*/ 5182385 w 6901213"/>
              <a:gd name="connsiteY4037" fmla="*/ 1088926 h 6851544"/>
              <a:gd name="connsiteX4038" fmla="*/ 5241092 w 6901213"/>
              <a:gd name="connsiteY4038" fmla="*/ 1147633 h 6851544"/>
              <a:gd name="connsiteX4039" fmla="*/ 5299799 w 6901213"/>
              <a:gd name="connsiteY4039" fmla="*/ 1088926 h 6851544"/>
              <a:gd name="connsiteX4040" fmla="*/ 5156411 w 6901213"/>
              <a:gd name="connsiteY4040" fmla="*/ 975006 h 6851544"/>
              <a:gd name="connsiteX4041" fmla="*/ 5098312 w 6901213"/>
              <a:gd name="connsiteY4041" fmla="*/ 916906 h 6851544"/>
              <a:gd name="connsiteX4042" fmla="*/ 5040213 w 6901213"/>
              <a:gd name="connsiteY4042" fmla="*/ 975006 h 6851544"/>
              <a:gd name="connsiteX4043" fmla="*/ 5098312 w 6901213"/>
              <a:gd name="connsiteY4043" fmla="*/ 1033105 h 6851544"/>
              <a:gd name="connsiteX4044" fmla="*/ 5156411 w 6901213"/>
              <a:gd name="connsiteY4044" fmla="*/ 975006 h 6851544"/>
              <a:gd name="connsiteX4045" fmla="*/ 5008466 w 6901213"/>
              <a:gd name="connsiteY4045" fmla="*/ 867085 h 6851544"/>
              <a:gd name="connsiteX4046" fmla="*/ 4950899 w 6901213"/>
              <a:gd name="connsiteY4046" fmla="*/ 809517 h 6851544"/>
              <a:gd name="connsiteX4047" fmla="*/ 4893331 w 6901213"/>
              <a:gd name="connsiteY4047" fmla="*/ 867085 h 6851544"/>
              <a:gd name="connsiteX4048" fmla="*/ 4950899 w 6901213"/>
              <a:gd name="connsiteY4048" fmla="*/ 924653 h 6851544"/>
              <a:gd name="connsiteX4049" fmla="*/ 5008466 w 6901213"/>
              <a:gd name="connsiteY4049" fmla="*/ 867085 h 6851544"/>
              <a:gd name="connsiteX4050" fmla="*/ 4856345 w 6901213"/>
              <a:gd name="connsiteY4050" fmla="*/ 765164 h 6851544"/>
              <a:gd name="connsiteX4051" fmla="*/ 4799309 w 6901213"/>
              <a:gd name="connsiteY4051" fmla="*/ 708204 h 6851544"/>
              <a:gd name="connsiteX4052" fmla="*/ 4742273 w 6901213"/>
              <a:gd name="connsiteY4052" fmla="*/ 765164 h 6851544"/>
              <a:gd name="connsiteX4053" fmla="*/ 4799309 w 6901213"/>
              <a:gd name="connsiteY4053" fmla="*/ 822201 h 6851544"/>
              <a:gd name="connsiteX4054" fmla="*/ 4856345 w 6901213"/>
              <a:gd name="connsiteY4054" fmla="*/ 765164 h 6851544"/>
              <a:gd name="connsiteX4055" fmla="*/ 4699515 w 6901213"/>
              <a:gd name="connsiteY4055" fmla="*/ 669623 h 6851544"/>
              <a:gd name="connsiteX4056" fmla="*/ 4643618 w 6901213"/>
              <a:gd name="connsiteY4056" fmla="*/ 613726 h 6851544"/>
              <a:gd name="connsiteX4057" fmla="*/ 4587721 w 6901213"/>
              <a:gd name="connsiteY4057" fmla="*/ 669623 h 6851544"/>
              <a:gd name="connsiteX4058" fmla="*/ 4643618 w 6901213"/>
              <a:gd name="connsiteY4058" fmla="*/ 725520 h 6851544"/>
              <a:gd name="connsiteX4059" fmla="*/ 4699515 w 6901213"/>
              <a:gd name="connsiteY4059" fmla="*/ 669623 h 6851544"/>
              <a:gd name="connsiteX4060" fmla="*/ 4538432 w 6901213"/>
              <a:gd name="connsiteY4060" fmla="*/ 580386 h 6851544"/>
              <a:gd name="connsiteX4061" fmla="*/ 4484282 w 6901213"/>
              <a:gd name="connsiteY4061" fmla="*/ 526236 h 6851544"/>
              <a:gd name="connsiteX4062" fmla="*/ 4430132 w 6901213"/>
              <a:gd name="connsiteY4062" fmla="*/ 580386 h 6851544"/>
              <a:gd name="connsiteX4063" fmla="*/ 4484282 w 6901213"/>
              <a:gd name="connsiteY4063" fmla="*/ 634536 h 6851544"/>
              <a:gd name="connsiteX4064" fmla="*/ 4538432 w 6901213"/>
              <a:gd name="connsiteY4064" fmla="*/ 580386 h 6851544"/>
              <a:gd name="connsiteX4065" fmla="*/ 4374386 w 6901213"/>
              <a:gd name="connsiteY4065" fmla="*/ 497832 h 6851544"/>
              <a:gd name="connsiteX4066" fmla="*/ 4321300 w 6901213"/>
              <a:gd name="connsiteY4066" fmla="*/ 444821 h 6851544"/>
              <a:gd name="connsiteX4067" fmla="*/ 4268213 w 6901213"/>
              <a:gd name="connsiteY4067" fmla="*/ 497832 h 6851544"/>
              <a:gd name="connsiteX4068" fmla="*/ 4321300 w 6901213"/>
              <a:gd name="connsiteY4068" fmla="*/ 550842 h 6851544"/>
              <a:gd name="connsiteX4069" fmla="*/ 4374386 w 6901213"/>
              <a:gd name="connsiteY4069" fmla="*/ 497832 h 6851544"/>
              <a:gd name="connsiteX4070" fmla="*/ 4206544 w 6901213"/>
              <a:gd name="connsiteY4070" fmla="*/ 421961 h 6851544"/>
              <a:gd name="connsiteX4071" fmla="*/ 4155204 w 6901213"/>
              <a:gd name="connsiteY4071" fmla="*/ 370621 h 6851544"/>
              <a:gd name="connsiteX4072" fmla="*/ 4103864 w 6901213"/>
              <a:gd name="connsiteY4072" fmla="*/ 421961 h 6851544"/>
              <a:gd name="connsiteX4073" fmla="*/ 4155204 w 6901213"/>
              <a:gd name="connsiteY4073" fmla="*/ 473301 h 6851544"/>
              <a:gd name="connsiteX4074" fmla="*/ 4206544 w 6901213"/>
              <a:gd name="connsiteY4074" fmla="*/ 421961 h 6851544"/>
              <a:gd name="connsiteX4075" fmla="*/ 4035740 w 6901213"/>
              <a:gd name="connsiteY4075" fmla="*/ 352925 h 6851544"/>
              <a:gd name="connsiteX4076" fmla="*/ 3986070 w 6901213"/>
              <a:gd name="connsiteY4076" fmla="*/ 303256 h 6851544"/>
              <a:gd name="connsiteX4077" fmla="*/ 3936401 w 6901213"/>
              <a:gd name="connsiteY4077" fmla="*/ 352925 h 6851544"/>
              <a:gd name="connsiteX4078" fmla="*/ 3986070 w 6901213"/>
              <a:gd name="connsiteY4078" fmla="*/ 402594 h 6851544"/>
              <a:gd name="connsiteX4079" fmla="*/ 4035740 w 6901213"/>
              <a:gd name="connsiteY4079" fmla="*/ 352925 h 6851544"/>
              <a:gd name="connsiteX4080" fmla="*/ 3862201 w 6901213"/>
              <a:gd name="connsiteY4080" fmla="*/ 290800 h 6851544"/>
              <a:gd name="connsiteX4081" fmla="*/ 3814202 w 6901213"/>
              <a:gd name="connsiteY4081" fmla="*/ 242802 h 6851544"/>
              <a:gd name="connsiteX4082" fmla="*/ 3766204 w 6901213"/>
              <a:gd name="connsiteY4082" fmla="*/ 290800 h 6851544"/>
              <a:gd name="connsiteX4083" fmla="*/ 3814202 w 6901213"/>
              <a:gd name="connsiteY4083" fmla="*/ 338799 h 6851544"/>
              <a:gd name="connsiteX4084" fmla="*/ 3862201 w 6901213"/>
              <a:gd name="connsiteY4084" fmla="*/ 290800 h 6851544"/>
              <a:gd name="connsiteX4085" fmla="*/ 3686308 w 6901213"/>
              <a:gd name="connsiteY4085" fmla="*/ 235815 h 6851544"/>
              <a:gd name="connsiteX4086" fmla="*/ 3640056 w 6901213"/>
              <a:gd name="connsiteY4086" fmla="*/ 189563 h 6851544"/>
              <a:gd name="connsiteX4087" fmla="*/ 3593805 w 6901213"/>
              <a:gd name="connsiteY4087" fmla="*/ 235815 h 6851544"/>
              <a:gd name="connsiteX4088" fmla="*/ 3640056 w 6901213"/>
              <a:gd name="connsiteY4088" fmla="*/ 282067 h 6851544"/>
              <a:gd name="connsiteX4089" fmla="*/ 3686308 w 6901213"/>
              <a:gd name="connsiteY4089" fmla="*/ 235815 h 6851544"/>
              <a:gd name="connsiteX4090" fmla="*/ 3508365 w 6901213"/>
              <a:gd name="connsiteY4090" fmla="*/ 187892 h 6851544"/>
              <a:gd name="connsiteX4091" fmla="*/ 3463784 w 6901213"/>
              <a:gd name="connsiteY4091" fmla="*/ 143312 h 6851544"/>
              <a:gd name="connsiteX4092" fmla="*/ 3419203 w 6901213"/>
              <a:gd name="connsiteY4092" fmla="*/ 187892 h 6851544"/>
              <a:gd name="connsiteX4093" fmla="*/ 3463784 w 6901213"/>
              <a:gd name="connsiteY4093" fmla="*/ 232473 h 6851544"/>
              <a:gd name="connsiteX4094" fmla="*/ 3508365 w 6901213"/>
              <a:gd name="connsiteY4094" fmla="*/ 187892 h 6851544"/>
              <a:gd name="connsiteX4095" fmla="*/ 3328067 w 6901213"/>
              <a:gd name="connsiteY4095" fmla="*/ 147261 h 6851544"/>
              <a:gd name="connsiteX4096" fmla="*/ 3285764 w 6901213"/>
              <a:gd name="connsiteY4096" fmla="*/ 104959 h 6851544"/>
              <a:gd name="connsiteX4097" fmla="*/ 3243462 w 6901213"/>
              <a:gd name="connsiteY4097" fmla="*/ 147261 h 6851544"/>
              <a:gd name="connsiteX4098" fmla="*/ 3285764 w 6901213"/>
              <a:gd name="connsiteY4098" fmla="*/ 189563 h 6851544"/>
              <a:gd name="connsiteX4099" fmla="*/ 3328067 w 6901213"/>
              <a:gd name="connsiteY4099" fmla="*/ 147261 h 6851544"/>
              <a:gd name="connsiteX4100" fmla="*/ 3146174 w 6901213"/>
              <a:gd name="connsiteY4100" fmla="*/ 113920 h 6851544"/>
              <a:gd name="connsiteX4101" fmla="*/ 3106074 w 6901213"/>
              <a:gd name="connsiteY4101" fmla="*/ 73896 h 6851544"/>
              <a:gd name="connsiteX4102" fmla="*/ 3065974 w 6901213"/>
              <a:gd name="connsiteY4102" fmla="*/ 113920 h 6851544"/>
              <a:gd name="connsiteX4103" fmla="*/ 3106074 w 6901213"/>
              <a:gd name="connsiteY4103" fmla="*/ 154020 h 6851544"/>
              <a:gd name="connsiteX4104" fmla="*/ 3146174 w 6901213"/>
              <a:gd name="connsiteY4104" fmla="*/ 113920 h 6851544"/>
              <a:gd name="connsiteX4105" fmla="*/ 2963142 w 6901213"/>
              <a:gd name="connsiteY4105" fmla="*/ 87946 h 6851544"/>
              <a:gd name="connsiteX4106" fmla="*/ 2925321 w 6901213"/>
              <a:gd name="connsiteY4106" fmla="*/ 50125 h 6851544"/>
              <a:gd name="connsiteX4107" fmla="*/ 2887499 w 6901213"/>
              <a:gd name="connsiteY4107" fmla="*/ 87946 h 6851544"/>
              <a:gd name="connsiteX4108" fmla="*/ 2925321 w 6901213"/>
              <a:gd name="connsiteY4108" fmla="*/ 125768 h 6851544"/>
              <a:gd name="connsiteX4109" fmla="*/ 2963142 w 6901213"/>
              <a:gd name="connsiteY4109" fmla="*/ 87946 h 6851544"/>
              <a:gd name="connsiteX4110" fmla="*/ 2779123 w 6901213"/>
              <a:gd name="connsiteY4110" fmla="*/ 69339 h 6851544"/>
              <a:gd name="connsiteX4111" fmla="*/ 2743580 w 6901213"/>
              <a:gd name="connsiteY4111" fmla="*/ 33796 h 6851544"/>
              <a:gd name="connsiteX4112" fmla="*/ 2708037 w 6901213"/>
              <a:gd name="connsiteY4112" fmla="*/ 69339 h 6851544"/>
              <a:gd name="connsiteX4113" fmla="*/ 2743580 w 6901213"/>
              <a:gd name="connsiteY4113" fmla="*/ 104883 h 6851544"/>
              <a:gd name="connsiteX4114" fmla="*/ 2779123 w 6901213"/>
              <a:gd name="connsiteY4114" fmla="*/ 69339 h 6851544"/>
              <a:gd name="connsiteX4115" fmla="*/ 2593964 w 6901213"/>
              <a:gd name="connsiteY4115" fmla="*/ 58175 h 6851544"/>
              <a:gd name="connsiteX4116" fmla="*/ 2561231 w 6901213"/>
              <a:gd name="connsiteY4116" fmla="*/ 25442 h 6851544"/>
              <a:gd name="connsiteX4117" fmla="*/ 2528498 w 6901213"/>
              <a:gd name="connsiteY4117" fmla="*/ 58175 h 6851544"/>
              <a:gd name="connsiteX4118" fmla="*/ 2561231 w 6901213"/>
              <a:gd name="connsiteY4118" fmla="*/ 90908 h 6851544"/>
              <a:gd name="connsiteX4119" fmla="*/ 2593964 w 6901213"/>
              <a:gd name="connsiteY4119" fmla="*/ 58175 h 6851544"/>
              <a:gd name="connsiteX4120" fmla="*/ 2409110 w 6901213"/>
              <a:gd name="connsiteY4120" fmla="*/ 54454 h 6851544"/>
              <a:gd name="connsiteX4121" fmla="*/ 2378655 w 6901213"/>
              <a:gd name="connsiteY4121" fmla="*/ 23999 h 6851544"/>
              <a:gd name="connsiteX4122" fmla="*/ 2348201 w 6901213"/>
              <a:gd name="connsiteY4122" fmla="*/ 54454 h 6851544"/>
              <a:gd name="connsiteX4123" fmla="*/ 2378655 w 6901213"/>
              <a:gd name="connsiteY4123" fmla="*/ 84909 h 6851544"/>
              <a:gd name="connsiteX4124" fmla="*/ 2409110 w 6901213"/>
              <a:gd name="connsiteY4124" fmla="*/ 54454 h 6851544"/>
              <a:gd name="connsiteX4125" fmla="*/ 2224255 w 6901213"/>
              <a:gd name="connsiteY4125" fmla="*/ 58175 h 6851544"/>
              <a:gd name="connsiteX4126" fmla="*/ 2196003 w 6901213"/>
              <a:gd name="connsiteY4126" fmla="*/ 29923 h 6851544"/>
              <a:gd name="connsiteX4127" fmla="*/ 2167751 w 6901213"/>
              <a:gd name="connsiteY4127" fmla="*/ 58175 h 6851544"/>
              <a:gd name="connsiteX4128" fmla="*/ 2196003 w 6901213"/>
              <a:gd name="connsiteY4128" fmla="*/ 86428 h 6851544"/>
              <a:gd name="connsiteX4129" fmla="*/ 2224255 w 6901213"/>
              <a:gd name="connsiteY4129" fmla="*/ 58175 h 6851544"/>
              <a:gd name="connsiteX4130" fmla="*/ 2039628 w 6901213"/>
              <a:gd name="connsiteY4130" fmla="*/ 69339 h 6851544"/>
              <a:gd name="connsiteX4131" fmla="*/ 2013655 w 6901213"/>
              <a:gd name="connsiteY4131" fmla="*/ 43366 h 6851544"/>
              <a:gd name="connsiteX4132" fmla="*/ 1987681 w 6901213"/>
              <a:gd name="connsiteY4132" fmla="*/ 69339 h 6851544"/>
              <a:gd name="connsiteX4133" fmla="*/ 2013655 w 6901213"/>
              <a:gd name="connsiteY4133" fmla="*/ 95313 h 6851544"/>
              <a:gd name="connsiteX4134" fmla="*/ 2039628 w 6901213"/>
              <a:gd name="connsiteY4134" fmla="*/ 69339 h 6851544"/>
              <a:gd name="connsiteX4135" fmla="*/ 1855685 w 6901213"/>
              <a:gd name="connsiteY4135" fmla="*/ 87946 h 6851544"/>
              <a:gd name="connsiteX4136" fmla="*/ 1831990 w 6901213"/>
              <a:gd name="connsiteY4136" fmla="*/ 64251 h 6851544"/>
              <a:gd name="connsiteX4137" fmla="*/ 1808294 w 6901213"/>
              <a:gd name="connsiteY4137" fmla="*/ 87946 h 6851544"/>
              <a:gd name="connsiteX4138" fmla="*/ 1831990 w 6901213"/>
              <a:gd name="connsiteY4138" fmla="*/ 111642 h 6851544"/>
              <a:gd name="connsiteX4139" fmla="*/ 1855685 w 6901213"/>
              <a:gd name="connsiteY4139" fmla="*/ 87946 h 6851544"/>
              <a:gd name="connsiteX4140" fmla="*/ 1672577 w 6901213"/>
              <a:gd name="connsiteY4140" fmla="*/ 113920 h 6851544"/>
              <a:gd name="connsiteX4141" fmla="*/ 1651160 w 6901213"/>
              <a:gd name="connsiteY4141" fmla="*/ 92503 h 6851544"/>
              <a:gd name="connsiteX4142" fmla="*/ 1629743 w 6901213"/>
              <a:gd name="connsiteY4142" fmla="*/ 113920 h 6851544"/>
              <a:gd name="connsiteX4143" fmla="*/ 1651160 w 6901213"/>
              <a:gd name="connsiteY4143" fmla="*/ 135337 h 6851544"/>
              <a:gd name="connsiteX4144" fmla="*/ 1672577 w 6901213"/>
              <a:gd name="connsiteY4144" fmla="*/ 113920 h 6851544"/>
              <a:gd name="connsiteX4145" fmla="*/ 1490761 w 6901213"/>
              <a:gd name="connsiteY4145" fmla="*/ 147261 h 6851544"/>
              <a:gd name="connsiteX4146" fmla="*/ 1471546 w 6901213"/>
              <a:gd name="connsiteY4146" fmla="*/ 128046 h 6851544"/>
              <a:gd name="connsiteX4147" fmla="*/ 1452332 w 6901213"/>
              <a:gd name="connsiteY4147" fmla="*/ 147261 h 6851544"/>
              <a:gd name="connsiteX4148" fmla="*/ 1471546 w 6901213"/>
              <a:gd name="connsiteY4148" fmla="*/ 166475 h 6851544"/>
              <a:gd name="connsiteX4149" fmla="*/ 1490761 w 6901213"/>
              <a:gd name="connsiteY4149" fmla="*/ 147261 h 6851544"/>
              <a:gd name="connsiteX4150" fmla="*/ 1310387 w 6901213"/>
              <a:gd name="connsiteY4150" fmla="*/ 187892 h 6851544"/>
              <a:gd name="connsiteX4151" fmla="*/ 1293451 w 6901213"/>
              <a:gd name="connsiteY4151" fmla="*/ 170956 h 6851544"/>
              <a:gd name="connsiteX4152" fmla="*/ 1276515 w 6901213"/>
              <a:gd name="connsiteY4152" fmla="*/ 187892 h 6851544"/>
              <a:gd name="connsiteX4153" fmla="*/ 1293451 w 6901213"/>
              <a:gd name="connsiteY4153" fmla="*/ 204829 h 6851544"/>
              <a:gd name="connsiteX4154" fmla="*/ 1310387 w 6901213"/>
              <a:gd name="connsiteY4154" fmla="*/ 187892 h 6851544"/>
              <a:gd name="connsiteX4155" fmla="*/ 1132443 w 6901213"/>
              <a:gd name="connsiteY4155" fmla="*/ 235815 h 6851544"/>
              <a:gd name="connsiteX4156" fmla="*/ 1117178 w 6901213"/>
              <a:gd name="connsiteY4156" fmla="*/ 220550 h 6851544"/>
              <a:gd name="connsiteX4157" fmla="*/ 1101913 w 6901213"/>
              <a:gd name="connsiteY4157" fmla="*/ 235815 h 6851544"/>
              <a:gd name="connsiteX4158" fmla="*/ 1117178 w 6901213"/>
              <a:gd name="connsiteY4158" fmla="*/ 251080 h 6851544"/>
              <a:gd name="connsiteX4159" fmla="*/ 1132443 w 6901213"/>
              <a:gd name="connsiteY4159" fmla="*/ 235815 h 6851544"/>
              <a:gd name="connsiteX4160" fmla="*/ 956019 w 6901213"/>
              <a:gd name="connsiteY4160" fmla="*/ 290800 h 6851544"/>
              <a:gd name="connsiteX4161" fmla="*/ 943032 w 6901213"/>
              <a:gd name="connsiteY4161" fmla="*/ 277814 h 6851544"/>
              <a:gd name="connsiteX4162" fmla="*/ 930045 w 6901213"/>
              <a:gd name="connsiteY4162" fmla="*/ 290800 h 6851544"/>
              <a:gd name="connsiteX4163" fmla="*/ 943032 w 6901213"/>
              <a:gd name="connsiteY4163" fmla="*/ 303787 h 6851544"/>
              <a:gd name="connsiteX4164" fmla="*/ 956019 w 6901213"/>
              <a:gd name="connsiteY4164" fmla="*/ 290800 h 6851544"/>
              <a:gd name="connsiteX4165" fmla="*/ 782480 w 6901213"/>
              <a:gd name="connsiteY4165" fmla="*/ 352925 h 6851544"/>
              <a:gd name="connsiteX4166" fmla="*/ 771164 w 6901213"/>
              <a:gd name="connsiteY4166" fmla="*/ 341609 h 6851544"/>
              <a:gd name="connsiteX4167" fmla="*/ 759848 w 6901213"/>
              <a:gd name="connsiteY4167" fmla="*/ 352925 h 6851544"/>
              <a:gd name="connsiteX4168" fmla="*/ 771164 w 6901213"/>
              <a:gd name="connsiteY4168" fmla="*/ 364241 h 6851544"/>
              <a:gd name="connsiteX4169" fmla="*/ 782480 w 6901213"/>
              <a:gd name="connsiteY4169" fmla="*/ 352925 h 6851544"/>
              <a:gd name="connsiteX4170" fmla="*/ 611676 w 6901213"/>
              <a:gd name="connsiteY4170" fmla="*/ 421961 h 6851544"/>
              <a:gd name="connsiteX4171" fmla="*/ 602107 w 6901213"/>
              <a:gd name="connsiteY4171" fmla="*/ 412391 h 6851544"/>
              <a:gd name="connsiteX4172" fmla="*/ 592537 w 6901213"/>
              <a:gd name="connsiteY4172" fmla="*/ 421961 h 6851544"/>
              <a:gd name="connsiteX4173" fmla="*/ 602107 w 6901213"/>
              <a:gd name="connsiteY4173" fmla="*/ 431530 h 6851544"/>
              <a:gd name="connsiteX4174" fmla="*/ 611676 w 6901213"/>
              <a:gd name="connsiteY4174" fmla="*/ 421961 h 6851544"/>
              <a:gd name="connsiteX4175" fmla="*/ 443833 w 6901213"/>
              <a:gd name="connsiteY4175" fmla="*/ 497832 h 6851544"/>
              <a:gd name="connsiteX4176" fmla="*/ 435935 w 6901213"/>
              <a:gd name="connsiteY4176" fmla="*/ 489933 h 6851544"/>
              <a:gd name="connsiteX4177" fmla="*/ 428036 w 6901213"/>
              <a:gd name="connsiteY4177" fmla="*/ 497832 h 6851544"/>
              <a:gd name="connsiteX4178" fmla="*/ 435935 w 6901213"/>
              <a:gd name="connsiteY4178" fmla="*/ 505730 h 6851544"/>
              <a:gd name="connsiteX4179" fmla="*/ 443833 w 6901213"/>
              <a:gd name="connsiteY4179" fmla="*/ 497832 h 6851544"/>
              <a:gd name="connsiteX4180" fmla="*/ 279257 w 6901213"/>
              <a:gd name="connsiteY4180" fmla="*/ 580386 h 6851544"/>
              <a:gd name="connsiteX4181" fmla="*/ 273029 w 6901213"/>
              <a:gd name="connsiteY4181" fmla="*/ 574158 h 6851544"/>
              <a:gd name="connsiteX4182" fmla="*/ 266801 w 6901213"/>
              <a:gd name="connsiteY4182" fmla="*/ 580386 h 6851544"/>
              <a:gd name="connsiteX4183" fmla="*/ 273029 w 6901213"/>
              <a:gd name="connsiteY4183" fmla="*/ 586613 h 6851544"/>
              <a:gd name="connsiteX4184" fmla="*/ 279257 w 6901213"/>
              <a:gd name="connsiteY4184" fmla="*/ 580386 h 6851544"/>
              <a:gd name="connsiteX4185" fmla="*/ 118705 w 6901213"/>
              <a:gd name="connsiteY4185" fmla="*/ 669623 h 6851544"/>
              <a:gd name="connsiteX4186" fmla="*/ 113616 w 6901213"/>
              <a:gd name="connsiteY4186" fmla="*/ 664535 h 6851544"/>
              <a:gd name="connsiteX4187" fmla="*/ 108528 w 6901213"/>
              <a:gd name="connsiteY4187" fmla="*/ 669623 h 6851544"/>
              <a:gd name="connsiteX4188" fmla="*/ 113616 w 6901213"/>
              <a:gd name="connsiteY4188" fmla="*/ 674712 h 6851544"/>
              <a:gd name="connsiteX4189" fmla="*/ 118705 w 6901213"/>
              <a:gd name="connsiteY4189" fmla="*/ 669623 h 6851544"/>
              <a:gd name="connsiteX4190" fmla="*/ 6453204 w 6901213"/>
              <a:gd name="connsiteY4190" fmla="*/ 6845925 h 6851544"/>
              <a:gd name="connsiteX4191" fmla="*/ 6447584 w 6901213"/>
              <a:gd name="connsiteY4191" fmla="*/ 6840305 h 6851544"/>
              <a:gd name="connsiteX4192" fmla="*/ 6441963 w 6901213"/>
              <a:gd name="connsiteY4192" fmla="*/ 6845925 h 6851544"/>
              <a:gd name="connsiteX4193" fmla="*/ 6447584 w 6901213"/>
              <a:gd name="connsiteY4193" fmla="*/ 6851545 h 6851544"/>
              <a:gd name="connsiteX4194" fmla="*/ 6453204 w 6901213"/>
              <a:gd name="connsiteY4194" fmla="*/ 6845925 h 6851544"/>
              <a:gd name="connsiteX4195" fmla="*/ 6542137 w 6901213"/>
              <a:gd name="connsiteY4195" fmla="*/ 6685373 h 6851544"/>
              <a:gd name="connsiteX4196" fmla="*/ 6534770 w 6901213"/>
              <a:gd name="connsiteY4196" fmla="*/ 6678006 h 6851544"/>
              <a:gd name="connsiteX4197" fmla="*/ 6527403 w 6901213"/>
              <a:gd name="connsiteY4197" fmla="*/ 6685373 h 6851544"/>
              <a:gd name="connsiteX4198" fmla="*/ 6534770 w 6901213"/>
              <a:gd name="connsiteY4198" fmla="*/ 6692740 h 6851544"/>
              <a:gd name="connsiteX4199" fmla="*/ 6542137 w 6901213"/>
              <a:gd name="connsiteY4199" fmla="*/ 6685373 h 6851544"/>
              <a:gd name="connsiteX4200" fmla="*/ 6624084 w 6901213"/>
              <a:gd name="connsiteY4200" fmla="*/ 6521631 h 6851544"/>
              <a:gd name="connsiteX4201" fmla="*/ 6615654 w 6901213"/>
              <a:gd name="connsiteY4201" fmla="*/ 6513202 h 6851544"/>
              <a:gd name="connsiteX4202" fmla="*/ 6607224 w 6901213"/>
              <a:gd name="connsiteY4202" fmla="*/ 6521631 h 6851544"/>
              <a:gd name="connsiteX4203" fmla="*/ 6615654 w 6901213"/>
              <a:gd name="connsiteY4203" fmla="*/ 6530062 h 6851544"/>
              <a:gd name="connsiteX4204" fmla="*/ 6624084 w 6901213"/>
              <a:gd name="connsiteY4204" fmla="*/ 6521631 h 6851544"/>
              <a:gd name="connsiteX4205" fmla="*/ 6700790 w 6901213"/>
              <a:gd name="connsiteY4205" fmla="*/ 6354776 h 6851544"/>
              <a:gd name="connsiteX4206" fmla="*/ 6690082 w 6901213"/>
              <a:gd name="connsiteY4206" fmla="*/ 6344068 h 6851544"/>
              <a:gd name="connsiteX4207" fmla="*/ 6679373 w 6901213"/>
              <a:gd name="connsiteY4207" fmla="*/ 6354776 h 6851544"/>
              <a:gd name="connsiteX4208" fmla="*/ 6690082 w 6901213"/>
              <a:gd name="connsiteY4208" fmla="*/ 6365485 h 6851544"/>
              <a:gd name="connsiteX4209" fmla="*/ 6700790 w 6901213"/>
              <a:gd name="connsiteY4209" fmla="*/ 6354776 h 6851544"/>
              <a:gd name="connsiteX4210" fmla="*/ 6770282 w 6901213"/>
              <a:gd name="connsiteY4210" fmla="*/ 6185187 h 6851544"/>
              <a:gd name="connsiteX4211" fmla="*/ 6757826 w 6901213"/>
              <a:gd name="connsiteY4211" fmla="*/ 6172732 h 6851544"/>
              <a:gd name="connsiteX4212" fmla="*/ 6745371 w 6901213"/>
              <a:gd name="connsiteY4212" fmla="*/ 6185187 h 6851544"/>
              <a:gd name="connsiteX4213" fmla="*/ 6757826 w 6901213"/>
              <a:gd name="connsiteY4213" fmla="*/ 6197642 h 6851544"/>
              <a:gd name="connsiteX4214" fmla="*/ 6770282 w 6901213"/>
              <a:gd name="connsiteY4214" fmla="*/ 6185187 h 6851544"/>
              <a:gd name="connsiteX4215" fmla="*/ 6833697 w 6901213"/>
              <a:gd name="connsiteY4215" fmla="*/ 6013092 h 6851544"/>
              <a:gd name="connsiteX4216" fmla="*/ 6819039 w 6901213"/>
              <a:gd name="connsiteY4216" fmla="*/ 5998434 h 6851544"/>
              <a:gd name="connsiteX4217" fmla="*/ 6804382 w 6901213"/>
              <a:gd name="connsiteY4217" fmla="*/ 6013092 h 6851544"/>
              <a:gd name="connsiteX4218" fmla="*/ 6819039 w 6901213"/>
              <a:gd name="connsiteY4218" fmla="*/ 6027749 h 6851544"/>
              <a:gd name="connsiteX4219" fmla="*/ 6833697 w 6901213"/>
              <a:gd name="connsiteY4219" fmla="*/ 6013092 h 6851544"/>
              <a:gd name="connsiteX4220" fmla="*/ 6889822 w 6901213"/>
              <a:gd name="connsiteY4220" fmla="*/ 5838718 h 6851544"/>
              <a:gd name="connsiteX4221" fmla="*/ 6873418 w 6901213"/>
              <a:gd name="connsiteY4221" fmla="*/ 5822313 h 6851544"/>
              <a:gd name="connsiteX4222" fmla="*/ 6857013 w 6901213"/>
              <a:gd name="connsiteY4222" fmla="*/ 5838718 h 6851544"/>
              <a:gd name="connsiteX4223" fmla="*/ 6873418 w 6901213"/>
              <a:gd name="connsiteY4223" fmla="*/ 5855046 h 6851544"/>
              <a:gd name="connsiteX4224" fmla="*/ 6889822 w 6901213"/>
              <a:gd name="connsiteY4224" fmla="*/ 5838718 h 6851544"/>
              <a:gd name="connsiteX4225" fmla="*/ 6901214 w 6901213"/>
              <a:gd name="connsiteY4225" fmla="*/ 3264195 h 6851544"/>
              <a:gd name="connsiteX4226" fmla="*/ 6898100 w 6901213"/>
              <a:gd name="connsiteY4226" fmla="*/ 3263892 h 6851544"/>
              <a:gd name="connsiteX4227" fmla="*/ 6849038 w 6901213"/>
              <a:gd name="connsiteY4227" fmla="*/ 3312953 h 6851544"/>
              <a:gd name="connsiteX4228" fmla="*/ 6898100 w 6901213"/>
              <a:gd name="connsiteY4228" fmla="*/ 3362015 h 6851544"/>
              <a:gd name="connsiteX4229" fmla="*/ 6901214 w 6901213"/>
              <a:gd name="connsiteY4229" fmla="*/ 3361711 h 6851544"/>
              <a:gd name="connsiteX4230" fmla="*/ 6901214 w 6901213"/>
              <a:gd name="connsiteY4230" fmla="*/ 3264195 h 6851544"/>
              <a:gd name="connsiteX4231" fmla="*/ 6897872 w 6901213"/>
              <a:gd name="connsiteY4231" fmla="*/ 3137592 h 6851544"/>
              <a:gd name="connsiteX4232" fmla="*/ 6847064 w 6901213"/>
              <a:gd name="connsiteY4232" fmla="*/ 3086784 h 6851544"/>
              <a:gd name="connsiteX4233" fmla="*/ 6796255 w 6901213"/>
              <a:gd name="connsiteY4233" fmla="*/ 3137592 h 6851544"/>
              <a:gd name="connsiteX4234" fmla="*/ 6847064 w 6901213"/>
              <a:gd name="connsiteY4234" fmla="*/ 3188400 h 6851544"/>
              <a:gd name="connsiteX4235" fmla="*/ 6897872 w 6901213"/>
              <a:gd name="connsiteY4235" fmla="*/ 3137592 h 6851544"/>
              <a:gd name="connsiteX4236" fmla="*/ 6842355 w 6901213"/>
              <a:gd name="connsiteY4236" fmla="*/ 2964281 h 6851544"/>
              <a:gd name="connsiteX4237" fmla="*/ 6789344 w 6901213"/>
              <a:gd name="connsiteY4237" fmla="*/ 2911270 h 6851544"/>
              <a:gd name="connsiteX4238" fmla="*/ 6736257 w 6901213"/>
              <a:gd name="connsiteY4238" fmla="*/ 2964281 h 6851544"/>
              <a:gd name="connsiteX4239" fmla="*/ 6789344 w 6901213"/>
              <a:gd name="connsiteY4239" fmla="*/ 3017368 h 6851544"/>
              <a:gd name="connsiteX4240" fmla="*/ 6842355 w 6901213"/>
              <a:gd name="connsiteY4240" fmla="*/ 2964281 h 6851544"/>
              <a:gd name="connsiteX4241" fmla="*/ 6779547 w 6901213"/>
              <a:gd name="connsiteY4241" fmla="*/ 2793401 h 6851544"/>
              <a:gd name="connsiteX4242" fmla="*/ 6724790 w 6901213"/>
              <a:gd name="connsiteY4242" fmla="*/ 2738643 h 6851544"/>
              <a:gd name="connsiteX4243" fmla="*/ 6670032 w 6901213"/>
              <a:gd name="connsiteY4243" fmla="*/ 2793401 h 6851544"/>
              <a:gd name="connsiteX4244" fmla="*/ 6724790 w 6901213"/>
              <a:gd name="connsiteY4244" fmla="*/ 2848159 h 6851544"/>
              <a:gd name="connsiteX4245" fmla="*/ 6779547 w 6901213"/>
              <a:gd name="connsiteY4245" fmla="*/ 2793401 h 6851544"/>
              <a:gd name="connsiteX4246" fmla="*/ 6710056 w 6901213"/>
              <a:gd name="connsiteY4246" fmla="*/ 2625179 h 6851544"/>
              <a:gd name="connsiteX4247" fmla="*/ 6653627 w 6901213"/>
              <a:gd name="connsiteY4247" fmla="*/ 2568750 h 6851544"/>
              <a:gd name="connsiteX4248" fmla="*/ 6597198 w 6901213"/>
              <a:gd name="connsiteY4248" fmla="*/ 2625179 h 6851544"/>
              <a:gd name="connsiteX4249" fmla="*/ 6653627 w 6901213"/>
              <a:gd name="connsiteY4249" fmla="*/ 2681607 h 6851544"/>
              <a:gd name="connsiteX4250" fmla="*/ 6710056 w 6901213"/>
              <a:gd name="connsiteY4250" fmla="*/ 2625179 h 6851544"/>
              <a:gd name="connsiteX4251" fmla="*/ 6634109 w 6901213"/>
              <a:gd name="connsiteY4251" fmla="*/ 2459842 h 6851544"/>
              <a:gd name="connsiteX4252" fmla="*/ 6576009 w 6901213"/>
              <a:gd name="connsiteY4252" fmla="*/ 2401743 h 6851544"/>
              <a:gd name="connsiteX4253" fmla="*/ 6517834 w 6901213"/>
              <a:gd name="connsiteY4253" fmla="*/ 2459842 h 6851544"/>
              <a:gd name="connsiteX4254" fmla="*/ 6576009 w 6901213"/>
              <a:gd name="connsiteY4254" fmla="*/ 2517942 h 6851544"/>
              <a:gd name="connsiteX4255" fmla="*/ 6634109 w 6901213"/>
              <a:gd name="connsiteY4255" fmla="*/ 2459842 h 6851544"/>
              <a:gd name="connsiteX4256" fmla="*/ 6551782 w 6901213"/>
              <a:gd name="connsiteY4256" fmla="*/ 2297620 h 6851544"/>
              <a:gd name="connsiteX4257" fmla="*/ 6491936 w 6901213"/>
              <a:gd name="connsiteY4257" fmla="*/ 2237774 h 6851544"/>
              <a:gd name="connsiteX4258" fmla="*/ 6432090 w 6901213"/>
              <a:gd name="connsiteY4258" fmla="*/ 2297620 h 6851544"/>
              <a:gd name="connsiteX4259" fmla="*/ 6491936 w 6901213"/>
              <a:gd name="connsiteY4259" fmla="*/ 2357466 h 6851544"/>
              <a:gd name="connsiteX4260" fmla="*/ 6551782 w 6901213"/>
              <a:gd name="connsiteY4260" fmla="*/ 2297620 h 6851544"/>
              <a:gd name="connsiteX4261" fmla="*/ 6462621 w 6901213"/>
              <a:gd name="connsiteY4261" fmla="*/ 2138815 h 6851544"/>
              <a:gd name="connsiteX4262" fmla="*/ 6401635 w 6901213"/>
              <a:gd name="connsiteY4262" fmla="*/ 2077906 h 6851544"/>
              <a:gd name="connsiteX4263" fmla="*/ 6340650 w 6901213"/>
              <a:gd name="connsiteY4263" fmla="*/ 2138815 h 6851544"/>
              <a:gd name="connsiteX4264" fmla="*/ 6401635 w 6901213"/>
              <a:gd name="connsiteY4264" fmla="*/ 2199801 h 6851544"/>
              <a:gd name="connsiteX4265" fmla="*/ 6462621 w 6901213"/>
              <a:gd name="connsiteY4265" fmla="*/ 2138815 h 6851544"/>
              <a:gd name="connsiteX4266" fmla="*/ 6367308 w 6901213"/>
              <a:gd name="connsiteY4266" fmla="*/ 1983732 h 6851544"/>
              <a:gd name="connsiteX4267" fmla="*/ 6305183 w 6901213"/>
              <a:gd name="connsiteY4267" fmla="*/ 1921683 h 6851544"/>
              <a:gd name="connsiteX4268" fmla="*/ 6243134 w 6901213"/>
              <a:gd name="connsiteY4268" fmla="*/ 1983732 h 6851544"/>
              <a:gd name="connsiteX4269" fmla="*/ 6305183 w 6901213"/>
              <a:gd name="connsiteY4269" fmla="*/ 2045780 h 6851544"/>
              <a:gd name="connsiteX4270" fmla="*/ 6367308 w 6901213"/>
              <a:gd name="connsiteY4270" fmla="*/ 1983732 h 6851544"/>
              <a:gd name="connsiteX4271" fmla="*/ 6266070 w 6901213"/>
              <a:gd name="connsiteY4271" fmla="*/ 1832445 h 6851544"/>
              <a:gd name="connsiteX4272" fmla="*/ 6202883 w 6901213"/>
              <a:gd name="connsiteY4272" fmla="*/ 1769258 h 6851544"/>
              <a:gd name="connsiteX4273" fmla="*/ 6139695 w 6901213"/>
              <a:gd name="connsiteY4273" fmla="*/ 1832445 h 6851544"/>
              <a:gd name="connsiteX4274" fmla="*/ 6202883 w 6901213"/>
              <a:gd name="connsiteY4274" fmla="*/ 1895633 h 6851544"/>
              <a:gd name="connsiteX4275" fmla="*/ 6266070 w 6901213"/>
              <a:gd name="connsiteY4275" fmla="*/ 1832445 h 6851544"/>
              <a:gd name="connsiteX4276" fmla="*/ 6158378 w 6901213"/>
              <a:gd name="connsiteY4276" fmla="*/ 1685260 h 6851544"/>
              <a:gd name="connsiteX4277" fmla="*/ 6094582 w 6901213"/>
              <a:gd name="connsiteY4277" fmla="*/ 1621465 h 6851544"/>
              <a:gd name="connsiteX4278" fmla="*/ 6030787 w 6901213"/>
              <a:gd name="connsiteY4278" fmla="*/ 1685260 h 6851544"/>
              <a:gd name="connsiteX4279" fmla="*/ 6094582 w 6901213"/>
              <a:gd name="connsiteY4279" fmla="*/ 1749056 h 6851544"/>
              <a:gd name="connsiteX4280" fmla="*/ 6158378 w 6901213"/>
              <a:gd name="connsiteY4280" fmla="*/ 1685260 h 6851544"/>
              <a:gd name="connsiteX4281" fmla="*/ 6045065 w 6901213"/>
              <a:gd name="connsiteY4281" fmla="*/ 1542481 h 6851544"/>
              <a:gd name="connsiteX4282" fmla="*/ 5980738 w 6901213"/>
              <a:gd name="connsiteY4282" fmla="*/ 1478154 h 6851544"/>
              <a:gd name="connsiteX4283" fmla="*/ 5916411 w 6901213"/>
              <a:gd name="connsiteY4283" fmla="*/ 1542481 h 6851544"/>
              <a:gd name="connsiteX4284" fmla="*/ 5980738 w 6901213"/>
              <a:gd name="connsiteY4284" fmla="*/ 1606807 h 6851544"/>
              <a:gd name="connsiteX4285" fmla="*/ 6045065 w 6901213"/>
              <a:gd name="connsiteY4285" fmla="*/ 1542481 h 6851544"/>
              <a:gd name="connsiteX4286" fmla="*/ 5925677 w 6901213"/>
              <a:gd name="connsiteY4286" fmla="*/ 1404181 h 6851544"/>
              <a:gd name="connsiteX4287" fmla="*/ 5861350 w 6901213"/>
              <a:gd name="connsiteY4287" fmla="*/ 1339854 h 6851544"/>
              <a:gd name="connsiteX4288" fmla="*/ 5797023 w 6901213"/>
              <a:gd name="connsiteY4288" fmla="*/ 1404181 h 6851544"/>
              <a:gd name="connsiteX4289" fmla="*/ 5861350 w 6901213"/>
              <a:gd name="connsiteY4289" fmla="*/ 1468508 h 6851544"/>
              <a:gd name="connsiteX4290" fmla="*/ 5925677 w 6901213"/>
              <a:gd name="connsiteY4290" fmla="*/ 1404181 h 6851544"/>
              <a:gd name="connsiteX4291" fmla="*/ 5801580 w 6901213"/>
              <a:gd name="connsiteY4291" fmla="*/ 1270743 h 6851544"/>
              <a:gd name="connsiteX4292" fmla="*/ 5736645 w 6901213"/>
              <a:gd name="connsiteY4292" fmla="*/ 1205808 h 6851544"/>
              <a:gd name="connsiteX4293" fmla="*/ 5671710 w 6901213"/>
              <a:gd name="connsiteY4293" fmla="*/ 1270743 h 6851544"/>
              <a:gd name="connsiteX4294" fmla="*/ 5736645 w 6901213"/>
              <a:gd name="connsiteY4294" fmla="*/ 1335677 h 6851544"/>
              <a:gd name="connsiteX4295" fmla="*/ 5801580 w 6901213"/>
              <a:gd name="connsiteY4295" fmla="*/ 1270743 h 6851544"/>
              <a:gd name="connsiteX4296" fmla="*/ 5671786 w 6901213"/>
              <a:gd name="connsiteY4296" fmla="*/ 1142165 h 6851544"/>
              <a:gd name="connsiteX4297" fmla="*/ 5606852 w 6901213"/>
              <a:gd name="connsiteY4297" fmla="*/ 1077230 h 6851544"/>
              <a:gd name="connsiteX4298" fmla="*/ 5541917 w 6901213"/>
              <a:gd name="connsiteY4298" fmla="*/ 1142165 h 6851544"/>
              <a:gd name="connsiteX4299" fmla="*/ 5606852 w 6901213"/>
              <a:gd name="connsiteY4299" fmla="*/ 1207099 h 6851544"/>
              <a:gd name="connsiteX4300" fmla="*/ 5671786 w 6901213"/>
              <a:gd name="connsiteY4300" fmla="*/ 1142165 h 6851544"/>
              <a:gd name="connsiteX4301" fmla="*/ 5536449 w 6901213"/>
              <a:gd name="connsiteY4301" fmla="*/ 1018827 h 6851544"/>
              <a:gd name="connsiteX4302" fmla="*/ 5472122 w 6901213"/>
              <a:gd name="connsiteY4302" fmla="*/ 954500 h 6851544"/>
              <a:gd name="connsiteX4303" fmla="*/ 5407795 w 6901213"/>
              <a:gd name="connsiteY4303" fmla="*/ 1018827 h 6851544"/>
              <a:gd name="connsiteX4304" fmla="*/ 5472122 w 6901213"/>
              <a:gd name="connsiteY4304" fmla="*/ 1083154 h 6851544"/>
              <a:gd name="connsiteX4305" fmla="*/ 5536449 w 6901213"/>
              <a:gd name="connsiteY4305" fmla="*/ 1018827 h 6851544"/>
              <a:gd name="connsiteX4306" fmla="*/ 5397087 w 6901213"/>
              <a:gd name="connsiteY4306" fmla="*/ 900806 h 6851544"/>
              <a:gd name="connsiteX4307" fmla="*/ 5332760 w 6901213"/>
              <a:gd name="connsiteY4307" fmla="*/ 836479 h 6851544"/>
              <a:gd name="connsiteX4308" fmla="*/ 5268433 w 6901213"/>
              <a:gd name="connsiteY4308" fmla="*/ 900806 h 6851544"/>
              <a:gd name="connsiteX4309" fmla="*/ 5332760 w 6901213"/>
              <a:gd name="connsiteY4309" fmla="*/ 965133 h 6851544"/>
              <a:gd name="connsiteX4310" fmla="*/ 5397087 w 6901213"/>
              <a:gd name="connsiteY4310" fmla="*/ 900806 h 6851544"/>
              <a:gd name="connsiteX4311" fmla="*/ 5252560 w 6901213"/>
              <a:gd name="connsiteY4311" fmla="*/ 788328 h 6851544"/>
              <a:gd name="connsiteX4312" fmla="*/ 5188765 w 6901213"/>
              <a:gd name="connsiteY4312" fmla="*/ 724533 h 6851544"/>
              <a:gd name="connsiteX4313" fmla="*/ 5124969 w 6901213"/>
              <a:gd name="connsiteY4313" fmla="*/ 788328 h 6851544"/>
              <a:gd name="connsiteX4314" fmla="*/ 5188765 w 6901213"/>
              <a:gd name="connsiteY4314" fmla="*/ 852124 h 6851544"/>
              <a:gd name="connsiteX4315" fmla="*/ 5252560 w 6901213"/>
              <a:gd name="connsiteY4315" fmla="*/ 788328 h 6851544"/>
              <a:gd name="connsiteX4316" fmla="*/ 5103248 w 6901213"/>
              <a:gd name="connsiteY4316" fmla="*/ 681471 h 6851544"/>
              <a:gd name="connsiteX4317" fmla="*/ 5040592 w 6901213"/>
              <a:gd name="connsiteY4317" fmla="*/ 618815 h 6851544"/>
              <a:gd name="connsiteX4318" fmla="*/ 4977936 w 6901213"/>
              <a:gd name="connsiteY4318" fmla="*/ 681471 h 6851544"/>
              <a:gd name="connsiteX4319" fmla="*/ 5040592 w 6901213"/>
              <a:gd name="connsiteY4319" fmla="*/ 744127 h 6851544"/>
              <a:gd name="connsiteX4320" fmla="*/ 5103248 w 6901213"/>
              <a:gd name="connsiteY4320" fmla="*/ 681471 h 6851544"/>
              <a:gd name="connsiteX4321" fmla="*/ 4949836 w 6901213"/>
              <a:gd name="connsiteY4321" fmla="*/ 580614 h 6851544"/>
              <a:gd name="connsiteX4322" fmla="*/ 4888319 w 6901213"/>
              <a:gd name="connsiteY4322" fmla="*/ 519097 h 6851544"/>
              <a:gd name="connsiteX4323" fmla="*/ 4826802 w 6901213"/>
              <a:gd name="connsiteY4323" fmla="*/ 580614 h 6851544"/>
              <a:gd name="connsiteX4324" fmla="*/ 4888319 w 6901213"/>
              <a:gd name="connsiteY4324" fmla="*/ 642131 h 6851544"/>
              <a:gd name="connsiteX4325" fmla="*/ 4949836 w 6901213"/>
              <a:gd name="connsiteY4325" fmla="*/ 580614 h 6851544"/>
              <a:gd name="connsiteX4326" fmla="*/ 4792702 w 6901213"/>
              <a:gd name="connsiteY4326" fmla="*/ 485680 h 6851544"/>
              <a:gd name="connsiteX4327" fmla="*/ 4732324 w 6901213"/>
              <a:gd name="connsiteY4327" fmla="*/ 425302 h 6851544"/>
              <a:gd name="connsiteX4328" fmla="*/ 4671946 w 6901213"/>
              <a:gd name="connsiteY4328" fmla="*/ 485680 h 6851544"/>
              <a:gd name="connsiteX4329" fmla="*/ 4732324 w 6901213"/>
              <a:gd name="connsiteY4329" fmla="*/ 546058 h 6851544"/>
              <a:gd name="connsiteX4330" fmla="*/ 4792702 w 6901213"/>
              <a:gd name="connsiteY4330" fmla="*/ 485680 h 6851544"/>
              <a:gd name="connsiteX4331" fmla="*/ 4631846 w 6901213"/>
              <a:gd name="connsiteY4331" fmla="*/ 396898 h 6851544"/>
              <a:gd name="connsiteX4332" fmla="*/ 4572608 w 6901213"/>
              <a:gd name="connsiteY4332" fmla="*/ 337660 h 6851544"/>
              <a:gd name="connsiteX4333" fmla="*/ 4513369 w 6901213"/>
              <a:gd name="connsiteY4333" fmla="*/ 396898 h 6851544"/>
              <a:gd name="connsiteX4334" fmla="*/ 4572608 w 6901213"/>
              <a:gd name="connsiteY4334" fmla="*/ 456137 h 6851544"/>
              <a:gd name="connsiteX4335" fmla="*/ 4631846 w 6901213"/>
              <a:gd name="connsiteY4335" fmla="*/ 396898 h 6851544"/>
              <a:gd name="connsiteX4336" fmla="*/ 4467194 w 6901213"/>
              <a:gd name="connsiteY4336" fmla="*/ 314496 h 6851544"/>
              <a:gd name="connsiteX4337" fmla="*/ 4409626 w 6901213"/>
              <a:gd name="connsiteY4337" fmla="*/ 256928 h 6851544"/>
              <a:gd name="connsiteX4338" fmla="*/ 4352058 w 6901213"/>
              <a:gd name="connsiteY4338" fmla="*/ 314496 h 6851544"/>
              <a:gd name="connsiteX4339" fmla="*/ 4409626 w 6901213"/>
              <a:gd name="connsiteY4339" fmla="*/ 372064 h 6851544"/>
              <a:gd name="connsiteX4340" fmla="*/ 4467194 w 6901213"/>
              <a:gd name="connsiteY4340" fmla="*/ 314496 h 6851544"/>
              <a:gd name="connsiteX4341" fmla="*/ 4299959 w 6901213"/>
              <a:gd name="connsiteY4341" fmla="*/ 238397 h 6851544"/>
              <a:gd name="connsiteX4342" fmla="*/ 4243530 w 6901213"/>
              <a:gd name="connsiteY4342" fmla="*/ 181969 h 6851544"/>
              <a:gd name="connsiteX4343" fmla="*/ 4187102 w 6901213"/>
              <a:gd name="connsiteY4343" fmla="*/ 238397 h 6851544"/>
              <a:gd name="connsiteX4344" fmla="*/ 4243530 w 6901213"/>
              <a:gd name="connsiteY4344" fmla="*/ 294826 h 6851544"/>
              <a:gd name="connsiteX4345" fmla="*/ 4299959 w 6901213"/>
              <a:gd name="connsiteY4345" fmla="*/ 238397 h 6851544"/>
              <a:gd name="connsiteX4346" fmla="*/ 4129306 w 6901213"/>
              <a:gd name="connsiteY4346" fmla="*/ 168906 h 6851544"/>
              <a:gd name="connsiteX4347" fmla="*/ 4074548 w 6901213"/>
              <a:gd name="connsiteY4347" fmla="*/ 114148 h 6851544"/>
              <a:gd name="connsiteX4348" fmla="*/ 4019790 w 6901213"/>
              <a:gd name="connsiteY4348" fmla="*/ 168906 h 6851544"/>
              <a:gd name="connsiteX4349" fmla="*/ 4074548 w 6901213"/>
              <a:gd name="connsiteY4349" fmla="*/ 223663 h 6851544"/>
              <a:gd name="connsiteX4350" fmla="*/ 4129306 w 6901213"/>
              <a:gd name="connsiteY4350" fmla="*/ 168906 h 6851544"/>
              <a:gd name="connsiteX4351" fmla="*/ 3955540 w 6901213"/>
              <a:gd name="connsiteY4351" fmla="*/ 106098 h 6851544"/>
              <a:gd name="connsiteX4352" fmla="*/ 3903060 w 6901213"/>
              <a:gd name="connsiteY4352" fmla="*/ 53618 h 6851544"/>
              <a:gd name="connsiteX4353" fmla="*/ 3850581 w 6901213"/>
              <a:gd name="connsiteY4353" fmla="*/ 106098 h 6851544"/>
              <a:gd name="connsiteX4354" fmla="*/ 3903060 w 6901213"/>
              <a:gd name="connsiteY4354" fmla="*/ 158577 h 6851544"/>
              <a:gd name="connsiteX4355" fmla="*/ 3955540 w 6901213"/>
              <a:gd name="connsiteY4355" fmla="*/ 106098 h 6851544"/>
              <a:gd name="connsiteX4356" fmla="*/ 3726560 w 6901213"/>
              <a:gd name="connsiteY4356" fmla="*/ 0 h 6851544"/>
              <a:gd name="connsiteX4357" fmla="*/ 3679017 w 6901213"/>
              <a:gd name="connsiteY4357" fmla="*/ 49973 h 6851544"/>
              <a:gd name="connsiteX4358" fmla="*/ 3729218 w 6901213"/>
              <a:gd name="connsiteY4358" fmla="*/ 100174 h 6851544"/>
              <a:gd name="connsiteX4359" fmla="*/ 3779419 w 6901213"/>
              <a:gd name="connsiteY4359" fmla="*/ 49973 h 6851544"/>
              <a:gd name="connsiteX4360" fmla="*/ 3731876 w 6901213"/>
              <a:gd name="connsiteY4360" fmla="*/ 0 h 6851544"/>
              <a:gd name="connsiteX4361" fmla="*/ 3726560 w 6901213"/>
              <a:gd name="connsiteY4361" fmla="*/ 0 h 6851544"/>
              <a:gd name="connsiteX4362" fmla="*/ 3504871 w 6901213"/>
              <a:gd name="connsiteY4362" fmla="*/ 0 h 6851544"/>
              <a:gd name="connsiteX4363" fmla="*/ 3504795 w 6901213"/>
              <a:gd name="connsiteY4363" fmla="*/ 684 h 6851544"/>
              <a:gd name="connsiteX4364" fmla="*/ 3553325 w 6901213"/>
              <a:gd name="connsiteY4364" fmla="*/ 49214 h 6851544"/>
              <a:gd name="connsiteX4365" fmla="*/ 3601855 w 6901213"/>
              <a:gd name="connsiteY4365" fmla="*/ 684 h 6851544"/>
              <a:gd name="connsiteX4366" fmla="*/ 3601779 w 6901213"/>
              <a:gd name="connsiteY4366" fmla="*/ 0 h 6851544"/>
              <a:gd name="connsiteX4367" fmla="*/ 3504871 w 6901213"/>
              <a:gd name="connsiteY4367" fmla="*/ 0 h 6851544"/>
              <a:gd name="connsiteX4368" fmla="*/ 1043813 w 6901213"/>
              <a:gd name="connsiteY4368" fmla="*/ 49973 h 6851544"/>
              <a:gd name="connsiteX4369" fmla="*/ 1028016 w 6901213"/>
              <a:gd name="connsiteY4369" fmla="*/ 34176 h 6851544"/>
              <a:gd name="connsiteX4370" fmla="*/ 1012220 w 6901213"/>
              <a:gd name="connsiteY4370" fmla="*/ 49973 h 6851544"/>
              <a:gd name="connsiteX4371" fmla="*/ 1028016 w 6901213"/>
              <a:gd name="connsiteY4371" fmla="*/ 65770 h 6851544"/>
              <a:gd name="connsiteX4372" fmla="*/ 1043813 w 6901213"/>
              <a:gd name="connsiteY4372" fmla="*/ 49973 h 6851544"/>
              <a:gd name="connsiteX4373" fmla="*/ 868300 w 6901213"/>
              <a:gd name="connsiteY4373" fmla="*/ 106098 h 6851544"/>
              <a:gd name="connsiteX4374" fmla="*/ 854174 w 6901213"/>
              <a:gd name="connsiteY4374" fmla="*/ 91972 h 6851544"/>
              <a:gd name="connsiteX4375" fmla="*/ 840048 w 6901213"/>
              <a:gd name="connsiteY4375" fmla="*/ 106098 h 6851544"/>
              <a:gd name="connsiteX4376" fmla="*/ 854174 w 6901213"/>
              <a:gd name="connsiteY4376" fmla="*/ 120224 h 6851544"/>
              <a:gd name="connsiteX4377" fmla="*/ 868300 w 6901213"/>
              <a:gd name="connsiteY4377" fmla="*/ 106098 h 6851544"/>
              <a:gd name="connsiteX4378" fmla="*/ 694534 w 6901213"/>
              <a:gd name="connsiteY4378" fmla="*/ 168906 h 6851544"/>
              <a:gd name="connsiteX4379" fmla="*/ 682686 w 6901213"/>
              <a:gd name="connsiteY4379" fmla="*/ 157058 h 6851544"/>
              <a:gd name="connsiteX4380" fmla="*/ 670839 w 6901213"/>
              <a:gd name="connsiteY4380" fmla="*/ 168906 h 6851544"/>
              <a:gd name="connsiteX4381" fmla="*/ 682686 w 6901213"/>
              <a:gd name="connsiteY4381" fmla="*/ 180754 h 6851544"/>
              <a:gd name="connsiteX4382" fmla="*/ 694534 w 6901213"/>
              <a:gd name="connsiteY4382" fmla="*/ 168906 h 6851544"/>
              <a:gd name="connsiteX4383" fmla="*/ 523881 w 6901213"/>
              <a:gd name="connsiteY4383" fmla="*/ 238397 h 6851544"/>
              <a:gd name="connsiteX4384" fmla="*/ 513704 w 6901213"/>
              <a:gd name="connsiteY4384" fmla="*/ 228220 h 6851544"/>
              <a:gd name="connsiteX4385" fmla="*/ 503528 w 6901213"/>
              <a:gd name="connsiteY4385" fmla="*/ 238397 h 6851544"/>
              <a:gd name="connsiteX4386" fmla="*/ 513704 w 6901213"/>
              <a:gd name="connsiteY4386" fmla="*/ 248574 h 6851544"/>
              <a:gd name="connsiteX4387" fmla="*/ 523881 w 6901213"/>
              <a:gd name="connsiteY4387" fmla="*/ 238397 h 6851544"/>
              <a:gd name="connsiteX4388" fmla="*/ 356115 w 6901213"/>
              <a:gd name="connsiteY4388" fmla="*/ 314496 h 6851544"/>
              <a:gd name="connsiteX4389" fmla="*/ 347609 w 6901213"/>
              <a:gd name="connsiteY4389" fmla="*/ 306066 h 6851544"/>
              <a:gd name="connsiteX4390" fmla="*/ 339179 w 6901213"/>
              <a:gd name="connsiteY4390" fmla="*/ 314496 h 6851544"/>
              <a:gd name="connsiteX4391" fmla="*/ 347609 w 6901213"/>
              <a:gd name="connsiteY4391" fmla="*/ 323002 h 6851544"/>
              <a:gd name="connsiteX4392" fmla="*/ 356115 w 6901213"/>
              <a:gd name="connsiteY4392" fmla="*/ 314496 h 6851544"/>
              <a:gd name="connsiteX4393" fmla="*/ 191386 w 6901213"/>
              <a:gd name="connsiteY4393" fmla="*/ 396898 h 6851544"/>
              <a:gd name="connsiteX4394" fmla="*/ 184627 w 6901213"/>
              <a:gd name="connsiteY4394" fmla="*/ 390139 h 6851544"/>
              <a:gd name="connsiteX4395" fmla="*/ 177868 w 6901213"/>
              <a:gd name="connsiteY4395" fmla="*/ 396898 h 6851544"/>
              <a:gd name="connsiteX4396" fmla="*/ 184627 w 6901213"/>
              <a:gd name="connsiteY4396" fmla="*/ 403657 h 6851544"/>
              <a:gd name="connsiteX4397" fmla="*/ 191386 w 6901213"/>
              <a:gd name="connsiteY4397" fmla="*/ 396898 h 6851544"/>
              <a:gd name="connsiteX4398" fmla="*/ 30607 w 6901213"/>
              <a:gd name="connsiteY4398" fmla="*/ 485680 h 6851544"/>
              <a:gd name="connsiteX4399" fmla="*/ 24987 w 6901213"/>
              <a:gd name="connsiteY4399" fmla="*/ 480060 h 6851544"/>
              <a:gd name="connsiteX4400" fmla="*/ 19366 w 6901213"/>
              <a:gd name="connsiteY4400" fmla="*/ 485680 h 6851544"/>
              <a:gd name="connsiteX4401" fmla="*/ 24987 w 6901213"/>
              <a:gd name="connsiteY4401" fmla="*/ 491300 h 6851544"/>
              <a:gd name="connsiteX4402" fmla="*/ 30607 w 6901213"/>
              <a:gd name="connsiteY4402" fmla="*/ 485680 h 6851544"/>
              <a:gd name="connsiteX4403" fmla="*/ 6704436 w 6901213"/>
              <a:gd name="connsiteY4403" fmla="*/ 6814255 h 6851544"/>
              <a:gd name="connsiteX4404" fmla="*/ 6697069 w 6901213"/>
              <a:gd name="connsiteY4404" fmla="*/ 6806888 h 6851544"/>
              <a:gd name="connsiteX4405" fmla="*/ 6689702 w 6901213"/>
              <a:gd name="connsiteY4405" fmla="*/ 6814255 h 6851544"/>
              <a:gd name="connsiteX4406" fmla="*/ 6697069 w 6901213"/>
              <a:gd name="connsiteY4406" fmla="*/ 6821622 h 6851544"/>
              <a:gd name="connsiteX4407" fmla="*/ 6704436 w 6901213"/>
              <a:gd name="connsiteY4407" fmla="*/ 6814255 h 6851544"/>
              <a:gd name="connsiteX4408" fmla="*/ 6788433 w 6901213"/>
              <a:gd name="connsiteY4408" fmla="*/ 6651121 h 6851544"/>
              <a:gd name="connsiteX4409" fmla="*/ 6779395 w 6901213"/>
              <a:gd name="connsiteY4409" fmla="*/ 6642084 h 6851544"/>
              <a:gd name="connsiteX4410" fmla="*/ 6770358 w 6901213"/>
              <a:gd name="connsiteY4410" fmla="*/ 6651121 h 6851544"/>
              <a:gd name="connsiteX4411" fmla="*/ 6779395 w 6901213"/>
              <a:gd name="connsiteY4411" fmla="*/ 6660159 h 6851544"/>
              <a:gd name="connsiteX4412" fmla="*/ 6788433 w 6901213"/>
              <a:gd name="connsiteY4412" fmla="*/ 6651121 h 6851544"/>
              <a:gd name="connsiteX4413" fmla="*/ 6866279 w 6901213"/>
              <a:gd name="connsiteY4413" fmla="*/ 6485101 h 6851544"/>
              <a:gd name="connsiteX4414" fmla="*/ 6855570 w 6901213"/>
              <a:gd name="connsiteY4414" fmla="*/ 6474393 h 6851544"/>
              <a:gd name="connsiteX4415" fmla="*/ 6844861 w 6901213"/>
              <a:gd name="connsiteY4415" fmla="*/ 6485101 h 6851544"/>
              <a:gd name="connsiteX4416" fmla="*/ 6855570 w 6901213"/>
              <a:gd name="connsiteY4416" fmla="*/ 6495810 h 6851544"/>
              <a:gd name="connsiteX4417" fmla="*/ 6866279 w 6901213"/>
              <a:gd name="connsiteY4417" fmla="*/ 6485101 h 6851544"/>
              <a:gd name="connsiteX4418" fmla="*/ 6901214 w 6901213"/>
              <a:gd name="connsiteY4418" fmla="*/ 2693379 h 6851544"/>
              <a:gd name="connsiteX4419" fmla="*/ 6866203 w 6901213"/>
              <a:gd name="connsiteY4419" fmla="*/ 2747377 h 6851544"/>
              <a:gd name="connsiteX4420" fmla="*/ 6901214 w 6901213"/>
              <a:gd name="connsiteY4420" fmla="*/ 2801375 h 6851544"/>
              <a:gd name="connsiteX4421" fmla="*/ 6901214 w 6901213"/>
              <a:gd name="connsiteY4421" fmla="*/ 2693379 h 6851544"/>
              <a:gd name="connsiteX4422" fmla="*/ 6901214 w 6901213"/>
              <a:gd name="connsiteY4422" fmla="*/ 2538599 h 6851544"/>
              <a:gd name="connsiteX4423" fmla="*/ 6855494 w 6901213"/>
              <a:gd name="connsiteY4423" fmla="*/ 2517638 h 6851544"/>
              <a:gd name="connsiteX4424" fmla="*/ 6794585 w 6901213"/>
              <a:gd name="connsiteY4424" fmla="*/ 2578623 h 6851544"/>
              <a:gd name="connsiteX4425" fmla="*/ 6855494 w 6901213"/>
              <a:gd name="connsiteY4425" fmla="*/ 2639609 h 6851544"/>
              <a:gd name="connsiteX4426" fmla="*/ 6901214 w 6901213"/>
              <a:gd name="connsiteY4426" fmla="*/ 2618647 h 6851544"/>
              <a:gd name="connsiteX4427" fmla="*/ 6901214 w 6901213"/>
              <a:gd name="connsiteY4427" fmla="*/ 2538599 h 6851544"/>
              <a:gd name="connsiteX4428" fmla="*/ 6842051 w 6901213"/>
              <a:gd name="connsiteY4428" fmla="*/ 2412527 h 6851544"/>
              <a:gd name="connsiteX4429" fmla="*/ 6779395 w 6901213"/>
              <a:gd name="connsiteY4429" fmla="*/ 2349871 h 6851544"/>
              <a:gd name="connsiteX4430" fmla="*/ 6716739 w 6901213"/>
              <a:gd name="connsiteY4430" fmla="*/ 2412527 h 6851544"/>
              <a:gd name="connsiteX4431" fmla="*/ 6779395 w 6901213"/>
              <a:gd name="connsiteY4431" fmla="*/ 2475184 h 6851544"/>
              <a:gd name="connsiteX4432" fmla="*/ 6842051 w 6901213"/>
              <a:gd name="connsiteY4432" fmla="*/ 2412527 h 6851544"/>
              <a:gd name="connsiteX4433" fmla="*/ 6761396 w 6901213"/>
              <a:gd name="connsiteY4433" fmla="*/ 2249470 h 6851544"/>
              <a:gd name="connsiteX4434" fmla="*/ 6697069 w 6901213"/>
              <a:gd name="connsiteY4434" fmla="*/ 2185143 h 6851544"/>
              <a:gd name="connsiteX4435" fmla="*/ 6632742 w 6901213"/>
              <a:gd name="connsiteY4435" fmla="*/ 2249470 h 6851544"/>
              <a:gd name="connsiteX4436" fmla="*/ 6697069 w 6901213"/>
              <a:gd name="connsiteY4436" fmla="*/ 2313797 h 6851544"/>
              <a:gd name="connsiteX4437" fmla="*/ 6761396 w 6901213"/>
              <a:gd name="connsiteY4437" fmla="*/ 2249470 h 6851544"/>
              <a:gd name="connsiteX4438" fmla="*/ 6674740 w 6901213"/>
              <a:gd name="connsiteY4438" fmla="*/ 2089602 h 6851544"/>
              <a:gd name="connsiteX4439" fmla="*/ 6608743 w 6901213"/>
              <a:gd name="connsiteY4439" fmla="*/ 2023604 h 6851544"/>
              <a:gd name="connsiteX4440" fmla="*/ 6542745 w 6901213"/>
              <a:gd name="connsiteY4440" fmla="*/ 2089602 h 6851544"/>
              <a:gd name="connsiteX4441" fmla="*/ 6608743 w 6901213"/>
              <a:gd name="connsiteY4441" fmla="*/ 2155599 h 6851544"/>
              <a:gd name="connsiteX4442" fmla="*/ 6674740 w 6901213"/>
              <a:gd name="connsiteY4442" fmla="*/ 2089602 h 6851544"/>
              <a:gd name="connsiteX4443" fmla="*/ 6581553 w 6901213"/>
              <a:gd name="connsiteY4443" fmla="*/ 1933151 h 6851544"/>
              <a:gd name="connsiteX4444" fmla="*/ 6514417 w 6901213"/>
              <a:gd name="connsiteY4444" fmla="*/ 1866014 h 6851544"/>
              <a:gd name="connsiteX4445" fmla="*/ 6447279 w 6901213"/>
              <a:gd name="connsiteY4445" fmla="*/ 1933151 h 6851544"/>
              <a:gd name="connsiteX4446" fmla="*/ 6514417 w 6901213"/>
              <a:gd name="connsiteY4446" fmla="*/ 2000288 h 6851544"/>
              <a:gd name="connsiteX4447" fmla="*/ 6581553 w 6901213"/>
              <a:gd name="connsiteY4447" fmla="*/ 1933151 h 6851544"/>
              <a:gd name="connsiteX4448" fmla="*/ 6482063 w 6901213"/>
              <a:gd name="connsiteY4448" fmla="*/ 1780346 h 6851544"/>
              <a:gd name="connsiteX4449" fmla="*/ 6414319 w 6901213"/>
              <a:gd name="connsiteY4449" fmla="*/ 1712601 h 6851544"/>
              <a:gd name="connsiteX4450" fmla="*/ 6346574 w 6901213"/>
              <a:gd name="connsiteY4450" fmla="*/ 1780346 h 6851544"/>
              <a:gd name="connsiteX4451" fmla="*/ 6414319 w 6901213"/>
              <a:gd name="connsiteY4451" fmla="*/ 1848091 h 6851544"/>
              <a:gd name="connsiteX4452" fmla="*/ 6482063 w 6901213"/>
              <a:gd name="connsiteY4452" fmla="*/ 1780346 h 6851544"/>
              <a:gd name="connsiteX4453" fmla="*/ 6377484 w 6901213"/>
              <a:gd name="connsiteY4453" fmla="*/ 1631338 h 6851544"/>
              <a:gd name="connsiteX4454" fmla="*/ 6308600 w 6901213"/>
              <a:gd name="connsiteY4454" fmla="*/ 1562454 h 6851544"/>
              <a:gd name="connsiteX4455" fmla="*/ 6239717 w 6901213"/>
              <a:gd name="connsiteY4455" fmla="*/ 1631338 h 6851544"/>
              <a:gd name="connsiteX4456" fmla="*/ 6308600 w 6901213"/>
              <a:gd name="connsiteY4456" fmla="*/ 1700222 h 6851544"/>
              <a:gd name="connsiteX4457" fmla="*/ 6377484 w 6901213"/>
              <a:gd name="connsiteY4457" fmla="*/ 1631338 h 6851544"/>
              <a:gd name="connsiteX4458" fmla="*/ 6266906 w 6901213"/>
              <a:gd name="connsiteY4458" fmla="*/ 1486432 h 6851544"/>
              <a:gd name="connsiteX4459" fmla="*/ 6197491 w 6901213"/>
              <a:gd name="connsiteY4459" fmla="*/ 1417016 h 6851544"/>
              <a:gd name="connsiteX4460" fmla="*/ 6128075 w 6901213"/>
              <a:gd name="connsiteY4460" fmla="*/ 1486432 h 6851544"/>
              <a:gd name="connsiteX4461" fmla="*/ 6197491 w 6901213"/>
              <a:gd name="connsiteY4461" fmla="*/ 1555847 h 6851544"/>
              <a:gd name="connsiteX4462" fmla="*/ 6266906 w 6901213"/>
              <a:gd name="connsiteY4462" fmla="*/ 1486432 h 6851544"/>
              <a:gd name="connsiteX4463" fmla="*/ 6150935 w 6901213"/>
              <a:gd name="connsiteY4463" fmla="*/ 1345778 h 6851544"/>
              <a:gd name="connsiteX4464" fmla="*/ 6080988 w 6901213"/>
              <a:gd name="connsiteY4464" fmla="*/ 1275831 h 6851544"/>
              <a:gd name="connsiteX4465" fmla="*/ 6011041 w 6901213"/>
              <a:gd name="connsiteY4465" fmla="*/ 1345778 h 6851544"/>
              <a:gd name="connsiteX4466" fmla="*/ 6080988 w 6901213"/>
              <a:gd name="connsiteY4466" fmla="*/ 1415801 h 6851544"/>
              <a:gd name="connsiteX4467" fmla="*/ 6150935 w 6901213"/>
              <a:gd name="connsiteY4467" fmla="*/ 1345778 h 6851544"/>
              <a:gd name="connsiteX4468" fmla="*/ 6029192 w 6901213"/>
              <a:gd name="connsiteY4468" fmla="*/ 1209605 h 6851544"/>
              <a:gd name="connsiteX4469" fmla="*/ 5959245 w 6901213"/>
              <a:gd name="connsiteY4469" fmla="*/ 1139658 h 6851544"/>
              <a:gd name="connsiteX4470" fmla="*/ 5889298 w 6901213"/>
              <a:gd name="connsiteY4470" fmla="*/ 1209605 h 6851544"/>
              <a:gd name="connsiteX4471" fmla="*/ 5959245 w 6901213"/>
              <a:gd name="connsiteY4471" fmla="*/ 1279552 h 6851544"/>
              <a:gd name="connsiteX4472" fmla="*/ 6029192 w 6901213"/>
              <a:gd name="connsiteY4472" fmla="*/ 1209605 h 6851544"/>
              <a:gd name="connsiteX4473" fmla="*/ 5903045 w 6901213"/>
              <a:gd name="connsiteY4473" fmla="*/ 1077990 h 6851544"/>
              <a:gd name="connsiteX4474" fmla="*/ 5832490 w 6901213"/>
              <a:gd name="connsiteY4474" fmla="*/ 1007435 h 6851544"/>
              <a:gd name="connsiteX4475" fmla="*/ 5761935 w 6901213"/>
              <a:gd name="connsiteY4475" fmla="*/ 1077990 h 6851544"/>
              <a:gd name="connsiteX4476" fmla="*/ 5832490 w 6901213"/>
              <a:gd name="connsiteY4476" fmla="*/ 1148544 h 6851544"/>
              <a:gd name="connsiteX4477" fmla="*/ 5903045 w 6901213"/>
              <a:gd name="connsiteY4477" fmla="*/ 1077990 h 6851544"/>
              <a:gd name="connsiteX4478" fmla="*/ 5770897 w 6901213"/>
              <a:gd name="connsiteY4478" fmla="*/ 951310 h 6851544"/>
              <a:gd name="connsiteX4479" fmla="*/ 5700950 w 6901213"/>
              <a:gd name="connsiteY4479" fmla="*/ 881363 h 6851544"/>
              <a:gd name="connsiteX4480" fmla="*/ 5631003 w 6901213"/>
              <a:gd name="connsiteY4480" fmla="*/ 951310 h 6851544"/>
              <a:gd name="connsiteX4481" fmla="*/ 5700950 w 6901213"/>
              <a:gd name="connsiteY4481" fmla="*/ 1021333 h 6851544"/>
              <a:gd name="connsiteX4482" fmla="*/ 5770897 w 6901213"/>
              <a:gd name="connsiteY4482" fmla="*/ 951310 h 6851544"/>
              <a:gd name="connsiteX4483" fmla="*/ 5634724 w 6901213"/>
              <a:gd name="connsiteY4483" fmla="*/ 829567 h 6851544"/>
              <a:gd name="connsiteX4484" fmla="*/ 5564702 w 6901213"/>
              <a:gd name="connsiteY4484" fmla="*/ 759620 h 6851544"/>
              <a:gd name="connsiteX4485" fmla="*/ 5494754 w 6901213"/>
              <a:gd name="connsiteY4485" fmla="*/ 829567 h 6851544"/>
              <a:gd name="connsiteX4486" fmla="*/ 5564702 w 6901213"/>
              <a:gd name="connsiteY4486" fmla="*/ 899514 h 6851544"/>
              <a:gd name="connsiteX4487" fmla="*/ 5634724 w 6901213"/>
              <a:gd name="connsiteY4487" fmla="*/ 829567 h 6851544"/>
              <a:gd name="connsiteX4488" fmla="*/ 5493463 w 6901213"/>
              <a:gd name="connsiteY4488" fmla="*/ 712989 h 6851544"/>
              <a:gd name="connsiteX4489" fmla="*/ 5424048 w 6901213"/>
              <a:gd name="connsiteY4489" fmla="*/ 643574 h 6851544"/>
              <a:gd name="connsiteX4490" fmla="*/ 5354632 w 6901213"/>
              <a:gd name="connsiteY4490" fmla="*/ 712989 h 6851544"/>
              <a:gd name="connsiteX4491" fmla="*/ 5424048 w 6901213"/>
              <a:gd name="connsiteY4491" fmla="*/ 782404 h 6851544"/>
              <a:gd name="connsiteX4492" fmla="*/ 5493463 w 6901213"/>
              <a:gd name="connsiteY4492" fmla="*/ 712989 h 6851544"/>
              <a:gd name="connsiteX4493" fmla="*/ 5347949 w 6901213"/>
              <a:gd name="connsiteY4493" fmla="*/ 601803 h 6851544"/>
              <a:gd name="connsiteX4494" fmla="*/ 5279065 w 6901213"/>
              <a:gd name="connsiteY4494" fmla="*/ 532995 h 6851544"/>
              <a:gd name="connsiteX4495" fmla="*/ 5210182 w 6901213"/>
              <a:gd name="connsiteY4495" fmla="*/ 601803 h 6851544"/>
              <a:gd name="connsiteX4496" fmla="*/ 5279065 w 6901213"/>
              <a:gd name="connsiteY4496" fmla="*/ 670687 h 6851544"/>
              <a:gd name="connsiteX4497" fmla="*/ 5347949 w 6901213"/>
              <a:gd name="connsiteY4497" fmla="*/ 601803 h 6851544"/>
              <a:gd name="connsiteX4498" fmla="*/ 5197878 w 6901213"/>
              <a:gd name="connsiteY4498" fmla="*/ 496085 h 6851544"/>
              <a:gd name="connsiteX4499" fmla="*/ 5130133 w 6901213"/>
              <a:gd name="connsiteY4499" fmla="*/ 428340 h 6851544"/>
              <a:gd name="connsiteX4500" fmla="*/ 5062389 w 6901213"/>
              <a:gd name="connsiteY4500" fmla="*/ 496085 h 6851544"/>
              <a:gd name="connsiteX4501" fmla="*/ 5130133 w 6901213"/>
              <a:gd name="connsiteY4501" fmla="*/ 563829 h 6851544"/>
              <a:gd name="connsiteX4502" fmla="*/ 5197878 w 6901213"/>
              <a:gd name="connsiteY4502" fmla="*/ 496085 h 6851544"/>
              <a:gd name="connsiteX4503" fmla="*/ 5044466 w 6901213"/>
              <a:gd name="connsiteY4503" fmla="*/ 396063 h 6851544"/>
              <a:gd name="connsiteX4504" fmla="*/ 4977328 w 6901213"/>
              <a:gd name="connsiteY4504" fmla="*/ 328926 h 6851544"/>
              <a:gd name="connsiteX4505" fmla="*/ 4910192 w 6901213"/>
              <a:gd name="connsiteY4505" fmla="*/ 396063 h 6851544"/>
              <a:gd name="connsiteX4506" fmla="*/ 4977328 w 6901213"/>
              <a:gd name="connsiteY4506" fmla="*/ 463200 h 6851544"/>
              <a:gd name="connsiteX4507" fmla="*/ 5044466 w 6901213"/>
              <a:gd name="connsiteY4507" fmla="*/ 396063 h 6851544"/>
              <a:gd name="connsiteX4508" fmla="*/ 4886876 w 6901213"/>
              <a:gd name="connsiteY4508" fmla="*/ 301813 h 6851544"/>
              <a:gd name="connsiteX4509" fmla="*/ 4820878 w 6901213"/>
              <a:gd name="connsiteY4509" fmla="*/ 235815 h 6851544"/>
              <a:gd name="connsiteX4510" fmla="*/ 4754880 w 6901213"/>
              <a:gd name="connsiteY4510" fmla="*/ 301813 h 6851544"/>
              <a:gd name="connsiteX4511" fmla="*/ 4820878 w 6901213"/>
              <a:gd name="connsiteY4511" fmla="*/ 367811 h 6851544"/>
              <a:gd name="connsiteX4512" fmla="*/ 4886876 w 6901213"/>
              <a:gd name="connsiteY4512" fmla="*/ 301813 h 6851544"/>
              <a:gd name="connsiteX4513" fmla="*/ 4725337 w 6901213"/>
              <a:gd name="connsiteY4513" fmla="*/ 213411 h 6851544"/>
              <a:gd name="connsiteX4514" fmla="*/ 4661010 w 6901213"/>
              <a:gd name="connsiteY4514" fmla="*/ 149084 h 6851544"/>
              <a:gd name="connsiteX4515" fmla="*/ 4596683 w 6901213"/>
              <a:gd name="connsiteY4515" fmla="*/ 213411 h 6851544"/>
              <a:gd name="connsiteX4516" fmla="*/ 4661010 w 6901213"/>
              <a:gd name="connsiteY4516" fmla="*/ 277738 h 6851544"/>
              <a:gd name="connsiteX4517" fmla="*/ 4725337 w 6901213"/>
              <a:gd name="connsiteY4517" fmla="*/ 213411 h 6851544"/>
              <a:gd name="connsiteX4518" fmla="*/ 4560608 w 6901213"/>
              <a:gd name="connsiteY4518" fmla="*/ 131084 h 6851544"/>
              <a:gd name="connsiteX4519" fmla="*/ 4497952 w 6901213"/>
              <a:gd name="connsiteY4519" fmla="*/ 68428 h 6851544"/>
              <a:gd name="connsiteX4520" fmla="*/ 4435296 w 6901213"/>
              <a:gd name="connsiteY4520" fmla="*/ 131084 h 6851544"/>
              <a:gd name="connsiteX4521" fmla="*/ 4497952 w 6901213"/>
              <a:gd name="connsiteY4521" fmla="*/ 193740 h 6851544"/>
              <a:gd name="connsiteX4522" fmla="*/ 4560608 w 6901213"/>
              <a:gd name="connsiteY4522" fmla="*/ 131084 h 6851544"/>
              <a:gd name="connsiteX4523" fmla="*/ 4305883 w 6901213"/>
              <a:gd name="connsiteY4523" fmla="*/ 0 h 6851544"/>
              <a:gd name="connsiteX4524" fmla="*/ 4270947 w 6901213"/>
              <a:gd name="connsiteY4524" fmla="*/ 54910 h 6851544"/>
              <a:gd name="connsiteX4525" fmla="*/ 4331856 w 6901213"/>
              <a:gd name="connsiteY4525" fmla="*/ 115895 h 6851544"/>
              <a:gd name="connsiteX4526" fmla="*/ 4392841 w 6901213"/>
              <a:gd name="connsiteY4526" fmla="*/ 54910 h 6851544"/>
              <a:gd name="connsiteX4527" fmla="*/ 4357906 w 6901213"/>
              <a:gd name="connsiteY4527" fmla="*/ 0 h 6851544"/>
              <a:gd name="connsiteX4528" fmla="*/ 4305883 w 6901213"/>
              <a:gd name="connsiteY4528" fmla="*/ 0 h 6851544"/>
              <a:gd name="connsiteX4529" fmla="*/ 4105990 w 6901213"/>
              <a:gd name="connsiteY4529" fmla="*/ 0 h 6851544"/>
              <a:gd name="connsiteX4530" fmla="*/ 4163102 w 6901213"/>
              <a:gd name="connsiteY4530" fmla="*/ 44277 h 6851544"/>
              <a:gd name="connsiteX4531" fmla="*/ 4220214 w 6901213"/>
              <a:gd name="connsiteY4531" fmla="*/ 0 h 6851544"/>
              <a:gd name="connsiteX4532" fmla="*/ 4105990 w 6901213"/>
              <a:gd name="connsiteY4532" fmla="*/ 0 h 6851544"/>
              <a:gd name="connsiteX4533" fmla="*/ 436087 w 6901213"/>
              <a:gd name="connsiteY4533" fmla="*/ 54910 h 6851544"/>
              <a:gd name="connsiteX4534" fmla="*/ 425378 w 6901213"/>
              <a:gd name="connsiteY4534" fmla="*/ 44201 h 6851544"/>
              <a:gd name="connsiteX4535" fmla="*/ 414670 w 6901213"/>
              <a:gd name="connsiteY4535" fmla="*/ 54910 h 6851544"/>
              <a:gd name="connsiteX4536" fmla="*/ 425378 w 6901213"/>
              <a:gd name="connsiteY4536" fmla="*/ 65618 h 6851544"/>
              <a:gd name="connsiteX4537" fmla="*/ 436087 w 6901213"/>
              <a:gd name="connsiteY4537" fmla="*/ 54910 h 6851544"/>
              <a:gd name="connsiteX4538" fmla="*/ 268396 w 6901213"/>
              <a:gd name="connsiteY4538" fmla="*/ 131084 h 6851544"/>
              <a:gd name="connsiteX4539" fmla="*/ 259358 w 6901213"/>
              <a:gd name="connsiteY4539" fmla="*/ 122047 h 6851544"/>
              <a:gd name="connsiteX4540" fmla="*/ 250321 w 6901213"/>
              <a:gd name="connsiteY4540" fmla="*/ 131084 h 6851544"/>
              <a:gd name="connsiteX4541" fmla="*/ 259358 w 6901213"/>
              <a:gd name="connsiteY4541" fmla="*/ 140122 h 6851544"/>
              <a:gd name="connsiteX4542" fmla="*/ 268396 w 6901213"/>
              <a:gd name="connsiteY4542" fmla="*/ 131084 h 6851544"/>
              <a:gd name="connsiteX4543" fmla="*/ 103591 w 6901213"/>
              <a:gd name="connsiteY4543" fmla="*/ 213411 h 6851544"/>
              <a:gd name="connsiteX4544" fmla="*/ 96225 w 6901213"/>
              <a:gd name="connsiteY4544" fmla="*/ 206044 h 6851544"/>
              <a:gd name="connsiteX4545" fmla="*/ 88858 w 6901213"/>
              <a:gd name="connsiteY4545" fmla="*/ 213411 h 6851544"/>
              <a:gd name="connsiteX4546" fmla="*/ 96225 w 6901213"/>
              <a:gd name="connsiteY4546" fmla="*/ 220777 h 6851544"/>
              <a:gd name="connsiteX4547" fmla="*/ 103591 w 6901213"/>
              <a:gd name="connsiteY4547" fmla="*/ 213411 h 6851544"/>
              <a:gd name="connsiteX4548" fmla="*/ 6901214 w 6901213"/>
              <a:gd name="connsiteY4548" fmla="*/ 2132284 h 6851544"/>
              <a:gd name="connsiteX4549" fmla="*/ 6832178 w 6901213"/>
              <a:gd name="connsiteY4549" fmla="*/ 2201699 h 6851544"/>
              <a:gd name="connsiteX4550" fmla="*/ 6901214 w 6901213"/>
              <a:gd name="connsiteY4550" fmla="*/ 2271039 h 6851544"/>
              <a:gd name="connsiteX4551" fmla="*/ 6901214 w 6901213"/>
              <a:gd name="connsiteY4551" fmla="*/ 2132284 h 6851544"/>
              <a:gd name="connsiteX4552" fmla="*/ 6885645 w 6901213"/>
              <a:gd name="connsiteY4552" fmla="*/ 2040768 h 6851544"/>
              <a:gd name="connsiteX4553" fmla="*/ 6815090 w 6901213"/>
              <a:gd name="connsiteY4553" fmla="*/ 1970213 h 6851544"/>
              <a:gd name="connsiteX4554" fmla="*/ 6744536 w 6901213"/>
              <a:gd name="connsiteY4554" fmla="*/ 2040768 h 6851544"/>
              <a:gd name="connsiteX4555" fmla="*/ 6815090 w 6901213"/>
              <a:gd name="connsiteY4555" fmla="*/ 2111322 h 6851544"/>
              <a:gd name="connsiteX4556" fmla="*/ 6885645 w 6901213"/>
              <a:gd name="connsiteY4556" fmla="*/ 2040768 h 6851544"/>
              <a:gd name="connsiteX4557" fmla="*/ 6795040 w 6901213"/>
              <a:gd name="connsiteY4557" fmla="*/ 1883102 h 6851544"/>
              <a:gd name="connsiteX4558" fmla="*/ 6722815 w 6901213"/>
              <a:gd name="connsiteY4558" fmla="*/ 1810877 h 6851544"/>
              <a:gd name="connsiteX4559" fmla="*/ 6650589 w 6901213"/>
              <a:gd name="connsiteY4559" fmla="*/ 1883102 h 6851544"/>
              <a:gd name="connsiteX4560" fmla="*/ 6722815 w 6901213"/>
              <a:gd name="connsiteY4560" fmla="*/ 1955328 h 6851544"/>
              <a:gd name="connsiteX4561" fmla="*/ 6795040 w 6901213"/>
              <a:gd name="connsiteY4561" fmla="*/ 1883102 h 6851544"/>
              <a:gd name="connsiteX4562" fmla="*/ 6698284 w 6901213"/>
              <a:gd name="connsiteY4562" fmla="*/ 1728930 h 6851544"/>
              <a:gd name="connsiteX4563" fmla="*/ 6624919 w 6901213"/>
              <a:gd name="connsiteY4563" fmla="*/ 1655565 h 6851544"/>
              <a:gd name="connsiteX4564" fmla="*/ 6551555 w 6901213"/>
              <a:gd name="connsiteY4564" fmla="*/ 1728930 h 6851544"/>
              <a:gd name="connsiteX4565" fmla="*/ 6624919 w 6901213"/>
              <a:gd name="connsiteY4565" fmla="*/ 1802295 h 6851544"/>
              <a:gd name="connsiteX4566" fmla="*/ 6698284 w 6901213"/>
              <a:gd name="connsiteY4566" fmla="*/ 1728930 h 6851544"/>
              <a:gd name="connsiteX4567" fmla="*/ 6595528 w 6901213"/>
              <a:gd name="connsiteY4567" fmla="*/ 1578251 h 6851544"/>
              <a:gd name="connsiteX4568" fmla="*/ 6521632 w 6901213"/>
              <a:gd name="connsiteY4568" fmla="*/ 1504355 h 6851544"/>
              <a:gd name="connsiteX4569" fmla="*/ 6447659 w 6901213"/>
              <a:gd name="connsiteY4569" fmla="*/ 1578251 h 6851544"/>
              <a:gd name="connsiteX4570" fmla="*/ 6521632 w 6901213"/>
              <a:gd name="connsiteY4570" fmla="*/ 1652148 h 6851544"/>
              <a:gd name="connsiteX4571" fmla="*/ 6595528 w 6901213"/>
              <a:gd name="connsiteY4571" fmla="*/ 1578251 h 6851544"/>
              <a:gd name="connsiteX4572" fmla="*/ 6487911 w 6901213"/>
              <a:gd name="connsiteY4572" fmla="*/ 1431446 h 6851544"/>
              <a:gd name="connsiteX4573" fmla="*/ 6412876 w 6901213"/>
              <a:gd name="connsiteY4573" fmla="*/ 1356411 h 6851544"/>
              <a:gd name="connsiteX4574" fmla="*/ 6337840 w 6901213"/>
              <a:gd name="connsiteY4574" fmla="*/ 1431446 h 6851544"/>
              <a:gd name="connsiteX4575" fmla="*/ 6412876 w 6901213"/>
              <a:gd name="connsiteY4575" fmla="*/ 1506482 h 6851544"/>
              <a:gd name="connsiteX4576" fmla="*/ 6487911 w 6901213"/>
              <a:gd name="connsiteY4576" fmla="*/ 1431446 h 6851544"/>
              <a:gd name="connsiteX4577" fmla="*/ 6374598 w 6901213"/>
              <a:gd name="connsiteY4577" fmla="*/ 1288666 h 6851544"/>
              <a:gd name="connsiteX4578" fmla="*/ 6298956 w 6901213"/>
              <a:gd name="connsiteY4578" fmla="*/ 1213023 h 6851544"/>
              <a:gd name="connsiteX4579" fmla="*/ 6223312 w 6901213"/>
              <a:gd name="connsiteY4579" fmla="*/ 1288666 h 6851544"/>
              <a:gd name="connsiteX4580" fmla="*/ 6298956 w 6901213"/>
              <a:gd name="connsiteY4580" fmla="*/ 1364309 h 6851544"/>
              <a:gd name="connsiteX4581" fmla="*/ 6374598 w 6901213"/>
              <a:gd name="connsiteY4581" fmla="*/ 1288666 h 6851544"/>
              <a:gd name="connsiteX4582" fmla="*/ 6256273 w 6901213"/>
              <a:gd name="connsiteY4582" fmla="*/ 1149987 h 6851544"/>
              <a:gd name="connsiteX4583" fmla="*/ 6180099 w 6901213"/>
              <a:gd name="connsiteY4583" fmla="*/ 1073812 h 6851544"/>
              <a:gd name="connsiteX4584" fmla="*/ 6103924 w 6901213"/>
              <a:gd name="connsiteY4584" fmla="*/ 1149987 h 6851544"/>
              <a:gd name="connsiteX4585" fmla="*/ 6180099 w 6901213"/>
              <a:gd name="connsiteY4585" fmla="*/ 1226162 h 6851544"/>
              <a:gd name="connsiteX4586" fmla="*/ 6256273 w 6901213"/>
              <a:gd name="connsiteY4586" fmla="*/ 1149987 h 6851544"/>
              <a:gd name="connsiteX4587" fmla="*/ 6132404 w 6901213"/>
              <a:gd name="connsiteY4587" fmla="*/ 1015713 h 6851544"/>
              <a:gd name="connsiteX4588" fmla="*/ 6056229 w 6901213"/>
              <a:gd name="connsiteY4588" fmla="*/ 939538 h 6851544"/>
              <a:gd name="connsiteX4589" fmla="*/ 5980055 w 6901213"/>
              <a:gd name="connsiteY4589" fmla="*/ 1015713 h 6851544"/>
              <a:gd name="connsiteX4590" fmla="*/ 6056229 w 6901213"/>
              <a:gd name="connsiteY4590" fmla="*/ 1091888 h 6851544"/>
              <a:gd name="connsiteX4591" fmla="*/ 6132404 w 6901213"/>
              <a:gd name="connsiteY4591" fmla="*/ 1015713 h 6851544"/>
              <a:gd name="connsiteX4592" fmla="*/ 6003826 w 6901213"/>
              <a:gd name="connsiteY4592" fmla="*/ 885996 h 6851544"/>
              <a:gd name="connsiteX4593" fmla="*/ 5927651 w 6901213"/>
              <a:gd name="connsiteY4593" fmla="*/ 809821 h 6851544"/>
              <a:gd name="connsiteX4594" fmla="*/ 5851476 w 6901213"/>
              <a:gd name="connsiteY4594" fmla="*/ 885996 h 6851544"/>
              <a:gd name="connsiteX4595" fmla="*/ 5927651 w 6901213"/>
              <a:gd name="connsiteY4595" fmla="*/ 962171 h 6851544"/>
              <a:gd name="connsiteX4596" fmla="*/ 6003826 w 6901213"/>
              <a:gd name="connsiteY4596" fmla="*/ 885996 h 6851544"/>
              <a:gd name="connsiteX4597" fmla="*/ 5870615 w 6901213"/>
              <a:gd name="connsiteY4597" fmla="*/ 760911 h 6851544"/>
              <a:gd name="connsiteX4598" fmla="*/ 5794441 w 6901213"/>
              <a:gd name="connsiteY4598" fmla="*/ 684737 h 6851544"/>
              <a:gd name="connsiteX4599" fmla="*/ 5718266 w 6901213"/>
              <a:gd name="connsiteY4599" fmla="*/ 760911 h 6851544"/>
              <a:gd name="connsiteX4600" fmla="*/ 5794441 w 6901213"/>
              <a:gd name="connsiteY4600" fmla="*/ 837086 h 6851544"/>
              <a:gd name="connsiteX4601" fmla="*/ 5870615 w 6901213"/>
              <a:gd name="connsiteY4601" fmla="*/ 760911 h 6851544"/>
              <a:gd name="connsiteX4602" fmla="*/ 5732544 w 6901213"/>
              <a:gd name="connsiteY4602" fmla="*/ 640764 h 6851544"/>
              <a:gd name="connsiteX4603" fmla="*/ 5656901 w 6901213"/>
              <a:gd name="connsiteY4603" fmla="*/ 565121 h 6851544"/>
              <a:gd name="connsiteX4604" fmla="*/ 5581258 w 6901213"/>
              <a:gd name="connsiteY4604" fmla="*/ 640764 h 6851544"/>
              <a:gd name="connsiteX4605" fmla="*/ 5656901 w 6901213"/>
              <a:gd name="connsiteY4605" fmla="*/ 716407 h 6851544"/>
              <a:gd name="connsiteX4606" fmla="*/ 5732544 w 6901213"/>
              <a:gd name="connsiteY4606" fmla="*/ 640764 h 6851544"/>
              <a:gd name="connsiteX4607" fmla="*/ 5590144 w 6901213"/>
              <a:gd name="connsiteY4607" fmla="*/ 525628 h 6851544"/>
              <a:gd name="connsiteX4608" fmla="*/ 5515108 w 6901213"/>
              <a:gd name="connsiteY4608" fmla="*/ 450593 h 6851544"/>
              <a:gd name="connsiteX4609" fmla="*/ 5440072 w 6901213"/>
              <a:gd name="connsiteY4609" fmla="*/ 525628 h 6851544"/>
              <a:gd name="connsiteX4610" fmla="*/ 5515108 w 6901213"/>
              <a:gd name="connsiteY4610" fmla="*/ 600664 h 6851544"/>
              <a:gd name="connsiteX4611" fmla="*/ 5590144 w 6901213"/>
              <a:gd name="connsiteY4611" fmla="*/ 525628 h 6851544"/>
              <a:gd name="connsiteX4612" fmla="*/ 5443794 w 6901213"/>
              <a:gd name="connsiteY4612" fmla="*/ 415581 h 6851544"/>
              <a:gd name="connsiteX4613" fmla="*/ 5369290 w 6901213"/>
              <a:gd name="connsiteY4613" fmla="*/ 341077 h 6851544"/>
              <a:gd name="connsiteX4614" fmla="*/ 5294786 w 6901213"/>
              <a:gd name="connsiteY4614" fmla="*/ 415581 h 6851544"/>
              <a:gd name="connsiteX4615" fmla="*/ 5369290 w 6901213"/>
              <a:gd name="connsiteY4615" fmla="*/ 490085 h 6851544"/>
              <a:gd name="connsiteX4616" fmla="*/ 5443794 w 6901213"/>
              <a:gd name="connsiteY4616" fmla="*/ 415581 h 6851544"/>
              <a:gd name="connsiteX4617" fmla="*/ 5292964 w 6901213"/>
              <a:gd name="connsiteY4617" fmla="*/ 310850 h 6851544"/>
              <a:gd name="connsiteX4618" fmla="*/ 5219599 w 6901213"/>
              <a:gd name="connsiteY4618" fmla="*/ 237486 h 6851544"/>
              <a:gd name="connsiteX4619" fmla="*/ 5146234 w 6901213"/>
              <a:gd name="connsiteY4619" fmla="*/ 310850 h 6851544"/>
              <a:gd name="connsiteX4620" fmla="*/ 5219599 w 6901213"/>
              <a:gd name="connsiteY4620" fmla="*/ 384215 h 6851544"/>
              <a:gd name="connsiteX4621" fmla="*/ 5292964 w 6901213"/>
              <a:gd name="connsiteY4621" fmla="*/ 310850 h 6851544"/>
              <a:gd name="connsiteX4622" fmla="*/ 5138488 w 6901213"/>
              <a:gd name="connsiteY4622" fmla="*/ 211588 h 6851544"/>
              <a:gd name="connsiteX4623" fmla="*/ 5066262 w 6901213"/>
              <a:gd name="connsiteY4623" fmla="*/ 139362 h 6851544"/>
              <a:gd name="connsiteX4624" fmla="*/ 4994037 w 6901213"/>
              <a:gd name="connsiteY4624" fmla="*/ 211588 h 6851544"/>
              <a:gd name="connsiteX4625" fmla="*/ 5066262 w 6901213"/>
              <a:gd name="connsiteY4625" fmla="*/ 283813 h 6851544"/>
              <a:gd name="connsiteX4626" fmla="*/ 5138488 w 6901213"/>
              <a:gd name="connsiteY4626" fmla="*/ 211588 h 6851544"/>
              <a:gd name="connsiteX4627" fmla="*/ 4980518 w 6901213"/>
              <a:gd name="connsiteY4627" fmla="*/ 117945 h 6851544"/>
              <a:gd name="connsiteX4628" fmla="*/ 4909432 w 6901213"/>
              <a:gd name="connsiteY4628" fmla="*/ 46859 h 6851544"/>
              <a:gd name="connsiteX4629" fmla="*/ 4838346 w 6901213"/>
              <a:gd name="connsiteY4629" fmla="*/ 117945 h 6851544"/>
              <a:gd name="connsiteX4630" fmla="*/ 4909432 w 6901213"/>
              <a:gd name="connsiteY4630" fmla="*/ 189032 h 6851544"/>
              <a:gd name="connsiteX4631" fmla="*/ 4980518 w 6901213"/>
              <a:gd name="connsiteY4631" fmla="*/ 117945 h 6851544"/>
              <a:gd name="connsiteX4632" fmla="*/ 4686984 w 6901213"/>
              <a:gd name="connsiteY4632" fmla="*/ 0 h 6851544"/>
              <a:gd name="connsiteX4633" fmla="*/ 4679996 w 6901213"/>
              <a:gd name="connsiteY4633" fmla="*/ 29923 h 6851544"/>
              <a:gd name="connsiteX4634" fmla="*/ 4749412 w 6901213"/>
              <a:gd name="connsiteY4634" fmla="*/ 99338 h 6851544"/>
              <a:gd name="connsiteX4635" fmla="*/ 4818827 w 6901213"/>
              <a:gd name="connsiteY4635" fmla="*/ 29923 h 6851544"/>
              <a:gd name="connsiteX4636" fmla="*/ 4811840 w 6901213"/>
              <a:gd name="connsiteY4636" fmla="*/ 0 h 6851544"/>
              <a:gd name="connsiteX4637" fmla="*/ 4686984 w 6901213"/>
              <a:gd name="connsiteY4637" fmla="*/ 0 h 6851544"/>
              <a:gd name="connsiteX4638" fmla="*/ 15797 w 6901213"/>
              <a:gd name="connsiteY4638" fmla="*/ 29923 h 6851544"/>
              <a:gd name="connsiteX4639" fmla="*/ 7898 w 6901213"/>
              <a:gd name="connsiteY4639" fmla="*/ 22025 h 6851544"/>
              <a:gd name="connsiteX4640" fmla="*/ 0 w 6901213"/>
              <a:gd name="connsiteY4640" fmla="*/ 29923 h 6851544"/>
              <a:gd name="connsiteX4641" fmla="*/ 7898 w 6901213"/>
              <a:gd name="connsiteY4641" fmla="*/ 37822 h 6851544"/>
              <a:gd name="connsiteX4642" fmla="*/ 15797 w 6901213"/>
              <a:gd name="connsiteY4642" fmla="*/ 29923 h 6851544"/>
              <a:gd name="connsiteX4643" fmla="*/ 6901214 w 6901213"/>
              <a:gd name="connsiteY4643" fmla="*/ 1762043 h 6851544"/>
              <a:gd name="connsiteX4644" fmla="*/ 6853139 w 6901213"/>
              <a:gd name="connsiteY4644" fmla="*/ 1833585 h 6851544"/>
              <a:gd name="connsiteX4645" fmla="*/ 6901214 w 6901213"/>
              <a:gd name="connsiteY4645" fmla="*/ 1905051 h 6851544"/>
              <a:gd name="connsiteX4646" fmla="*/ 6901214 w 6901213"/>
              <a:gd name="connsiteY4646" fmla="*/ 1762043 h 6851544"/>
              <a:gd name="connsiteX4647" fmla="*/ 6901214 w 6901213"/>
              <a:gd name="connsiteY4647" fmla="*/ 1637034 h 6851544"/>
              <a:gd name="connsiteX4648" fmla="*/ 6834608 w 6901213"/>
              <a:gd name="connsiteY4648" fmla="*/ 1599592 h 6851544"/>
              <a:gd name="connsiteX4649" fmla="*/ 6756156 w 6901213"/>
              <a:gd name="connsiteY4649" fmla="*/ 1678046 h 6851544"/>
              <a:gd name="connsiteX4650" fmla="*/ 6834608 w 6901213"/>
              <a:gd name="connsiteY4650" fmla="*/ 1756499 h 6851544"/>
              <a:gd name="connsiteX4651" fmla="*/ 6901214 w 6901213"/>
              <a:gd name="connsiteY4651" fmla="*/ 1719057 h 6851544"/>
              <a:gd name="connsiteX4652" fmla="*/ 6901214 w 6901213"/>
              <a:gd name="connsiteY4652" fmla="*/ 1637034 h 6851544"/>
              <a:gd name="connsiteX4653" fmla="*/ 6813040 w 6901213"/>
              <a:gd name="connsiteY4653" fmla="*/ 1525924 h 6851544"/>
              <a:gd name="connsiteX4654" fmla="*/ 6733447 w 6901213"/>
              <a:gd name="connsiteY4654" fmla="*/ 1446332 h 6851544"/>
              <a:gd name="connsiteX4655" fmla="*/ 6653855 w 6901213"/>
              <a:gd name="connsiteY4655" fmla="*/ 1525924 h 6851544"/>
              <a:gd name="connsiteX4656" fmla="*/ 6733447 w 6901213"/>
              <a:gd name="connsiteY4656" fmla="*/ 1605516 h 6851544"/>
              <a:gd name="connsiteX4657" fmla="*/ 6813040 w 6901213"/>
              <a:gd name="connsiteY4657" fmla="*/ 1525924 h 6851544"/>
              <a:gd name="connsiteX4658" fmla="*/ 6707853 w 6901213"/>
              <a:gd name="connsiteY4658" fmla="*/ 1377448 h 6851544"/>
              <a:gd name="connsiteX4659" fmla="*/ 6627122 w 6901213"/>
              <a:gd name="connsiteY4659" fmla="*/ 1296717 h 6851544"/>
              <a:gd name="connsiteX4660" fmla="*/ 6546390 w 6901213"/>
              <a:gd name="connsiteY4660" fmla="*/ 1377448 h 6851544"/>
              <a:gd name="connsiteX4661" fmla="*/ 6627122 w 6901213"/>
              <a:gd name="connsiteY4661" fmla="*/ 1458179 h 6851544"/>
              <a:gd name="connsiteX4662" fmla="*/ 6707853 w 6901213"/>
              <a:gd name="connsiteY4662" fmla="*/ 1377448 h 6851544"/>
              <a:gd name="connsiteX4663" fmla="*/ 6596971 w 6901213"/>
              <a:gd name="connsiteY4663" fmla="*/ 1232617 h 6851544"/>
              <a:gd name="connsiteX4664" fmla="*/ 6515708 w 6901213"/>
              <a:gd name="connsiteY4664" fmla="*/ 1151354 h 6851544"/>
              <a:gd name="connsiteX4665" fmla="*/ 6434444 w 6901213"/>
              <a:gd name="connsiteY4665" fmla="*/ 1232617 h 6851544"/>
              <a:gd name="connsiteX4666" fmla="*/ 6515708 w 6901213"/>
              <a:gd name="connsiteY4666" fmla="*/ 1313880 h 6851544"/>
              <a:gd name="connsiteX4667" fmla="*/ 6596971 w 6901213"/>
              <a:gd name="connsiteY4667" fmla="*/ 1232617 h 6851544"/>
              <a:gd name="connsiteX4668" fmla="*/ 6481228 w 6901213"/>
              <a:gd name="connsiteY4668" fmla="*/ 1091812 h 6851544"/>
              <a:gd name="connsiteX4669" fmla="*/ 6399357 w 6901213"/>
              <a:gd name="connsiteY4669" fmla="*/ 1010017 h 6851544"/>
              <a:gd name="connsiteX4670" fmla="*/ 6317487 w 6901213"/>
              <a:gd name="connsiteY4670" fmla="*/ 1091812 h 6851544"/>
              <a:gd name="connsiteX4671" fmla="*/ 6399357 w 6901213"/>
              <a:gd name="connsiteY4671" fmla="*/ 1173607 h 6851544"/>
              <a:gd name="connsiteX4672" fmla="*/ 6481228 w 6901213"/>
              <a:gd name="connsiteY4672" fmla="*/ 1091812 h 6851544"/>
              <a:gd name="connsiteX4673" fmla="*/ 6360624 w 6901213"/>
              <a:gd name="connsiteY4673" fmla="*/ 955108 h 6851544"/>
              <a:gd name="connsiteX4674" fmla="*/ 6278222 w 6901213"/>
              <a:gd name="connsiteY4674" fmla="*/ 872705 h 6851544"/>
              <a:gd name="connsiteX4675" fmla="*/ 6195820 w 6901213"/>
              <a:gd name="connsiteY4675" fmla="*/ 955108 h 6851544"/>
              <a:gd name="connsiteX4676" fmla="*/ 6278222 w 6901213"/>
              <a:gd name="connsiteY4676" fmla="*/ 1037510 h 6851544"/>
              <a:gd name="connsiteX4677" fmla="*/ 6360624 w 6901213"/>
              <a:gd name="connsiteY4677" fmla="*/ 955108 h 6851544"/>
              <a:gd name="connsiteX4678" fmla="*/ 6234856 w 6901213"/>
              <a:gd name="connsiteY4678" fmla="*/ 822656 h 6851544"/>
              <a:gd name="connsiteX4679" fmla="*/ 6152454 w 6901213"/>
              <a:gd name="connsiteY4679" fmla="*/ 740254 h 6851544"/>
              <a:gd name="connsiteX4680" fmla="*/ 6070052 w 6901213"/>
              <a:gd name="connsiteY4680" fmla="*/ 822656 h 6851544"/>
              <a:gd name="connsiteX4681" fmla="*/ 6152454 w 6901213"/>
              <a:gd name="connsiteY4681" fmla="*/ 905059 h 6851544"/>
              <a:gd name="connsiteX4682" fmla="*/ 6234856 w 6901213"/>
              <a:gd name="connsiteY4682" fmla="*/ 822656 h 6851544"/>
              <a:gd name="connsiteX4683" fmla="*/ 6104531 w 6901213"/>
              <a:gd name="connsiteY4683" fmla="*/ 694610 h 6851544"/>
              <a:gd name="connsiteX4684" fmla="*/ 6022129 w 6901213"/>
              <a:gd name="connsiteY4684" fmla="*/ 612208 h 6851544"/>
              <a:gd name="connsiteX4685" fmla="*/ 5939727 w 6901213"/>
              <a:gd name="connsiteY4685" fmla="*/ 694610 h 6851544"/>
              <a:gd name="connsiteX4686" fmla="*/ 6022129 w 6901213"/>
              <a:gd name="connsiteY4686" fmla="*/ 777012 h 6851544"/>
              <a:gd name="connsiteX4687" fmla="*/ 6104531 w 6901213"/>
              <a:gd name="connsiteY4687" fmla="*/ 694610 h 6851544"/>
              <a:gd name="connsiteX4688" fmla="*/ 5969422 w 6901213"/>
              <a:gd name="connsiteY4688" fmla="*/ 571120 h 6851544"/>
              <a:gd name="connsiteX4689" fmla="*/ 5887627 w 6901213"/>
              <a:gd name="connsiteY4689" fmla="*/ 489326 h 6851544"/>
              <a:gd name="connsiteX4690" fmla="*/ 5805757 w 6901213"/>
              <a:gd name="connsiteY4690" fmla="*/ 571120 h 6851544"/>
              <a:gd name="connsiteX4691" fmla="*/ 5887627 w 6901213"/>
              <a:gd name="connsiteY4691" fmla="*/ 652991 h 6851544"/>
              <a:gd name="connsiteX4692" fmla="*/ 5969422 w 6901213"/>
              <a:gd name="connsiteY4692" fmla="*/ 571120 h 6851544"/>
              <a:gd name="connsiteX4693" fmla="*/ 5830591 w 6901213"/>
              <a:gd name="connsiteY4693" fmla="*/ 452339 h 6851544"/>
              <a:gd name="connsiteX4694" fmla="*/ 5748797 w 6901213"/>
              <a:gd name="connsiteY4694" fmla="*/ 370545 h 6851544"/>
              <a:gd name="connsiteX4695" fmla="*/ 5666926 w 6901213"/>
              <a:gd name="connsiteY4695" fmla="*/ 452339 h 6851544"/>
              <a:gd name="connsiteX4696" fmla="*/ 5748797 w 6901213"/>
              <a:gd name="connsiteY4696" fmla="*/ 534210 h 6851544"/>
              <a:gd name="connsiteX4697" fmla="*/ 5830591 w 6901213"/>
              <a:gd name="connsiteY4697" fmla="*/ 452339 h 6851544"/>
              <a:gd name="connsiteX4698" fmla="*/ 5686672 w 6901213"/>
              <a:gd name="connsiteY4698" fmla="*/ 338419 h 6851544"/>
              <a:gd name="connsiteX4699" fmla="*/ 5605941 w 6901213"/>
              <a:gd name="connsiteY4699" fmla="*/ 257688 h 6851544"/>
              <a:gd name="connsiteX4700" fmla="*/ 5525209 w 6901213"/>
              <a:gd name="connsiteY4700" fmla="*/ 338419 h 6851544"/>
              <a:gd name="connsiteX4701" fmla="*/ 5605941 w 6901213"/>
              <a:gd name="connsiteY4701" fmla="*/ 419151 h 6851544"/>
              <a:gd name="connsiteX4702" fmla="*/ 5686672 w 6901213"/>
              <a:gd name="connsiteY4702" fmla="*/ 338419 h 6851544"/>
              <a:gd name="connsiteX4703" fmla="*/ 5539411 w 6901213"/>
              <a:gd name="connsiteY4703" fmla="*/ 229587 h 6851544"/>
              <a:gd name="connsiteX4704" fmla="*/ 5459287 w 6901213"/>
              <a:gd name="connsiteY4704" fmla="*/ 149463 h 6851544"/>
              <a:gd name="connsiteX4705" fmla="*/ 5379163 w 6901213"/>
              <a:gd name="connsiteY4705" fmla="*/ 229587 h 6851544"/>
              <a:gd name="connsiteX4706" fmla="*/ 5459287 w 6901213"/>
              <a:gd name="connsiteY4706" fmla="*/ 309711 h 6851544"/>
              <a:gd name="connsiteX4707" fmla="*/ 5539411 w 6901213"/>
              <a:gd name="connsiteY4707" fmla="*/ 229587 h 6851544"/>
              <a:gd name="connsiteX4708" fmla="*/ 5387973 w 6901213"/>
              <a:gd name="connsiteY4708" fmla="*/ 125768 h 6851544"/>
              <a:gd name="connsiteX4709" fmla="*/ 5308988 w 6901213"/>
              <a:gd name="connsiteY4709" fmla="*/ 46783 h 6851544"/>
              <a:gd name="connsiteX4710" fmla="*/ 5230004 w 6901213"/>
              <a:gd name="connsiteY4710" fmla="*/ 125768 h 6851544"/>
              <a:gd name="connsiteX4711" fmla="*/ 5308988 w 6901213"/>
              <a:gd name="connsiteY4711" fmla="*/ 204753 h 6851544"/>
              <a:gd name="connsiteX4712" fmla="*/ 5387973 w 6901213"/>
              <a:gd name="connsiteY4712" fmla="*/ 125768 h 6851544"/>
              <a:gd name="connsiteX4713" fmla="*/ 5082439 w 6901213"/>
              <a:gd name="connsiteY4713" fmla="*/ 0 h 6851544"/>
              <a:gd name="connsiteX4714" fmla="*/ 5077275 w 6901213"/>
              <a:gd name="connsiteY4714" fmla="*/ 27265 h 6851544"/>
              <a:gd name="connsiteX4715" fmla="*/ 5155120 w 6901213"/>
              <a:gd name="connsiteY4715" fmla="*/ 105186 h 6851544"/>
              <a:gd name="connsiteX4716" fmla="*/ 5233041 w 6901213"/>
              <a:gd name="connsiteY4716" fmla="*/ 27265 h 6851544"/>
              <a:gd name="connsiteX4717" fmla="*/ 5227877 w 6901213"/>
              <a:gd name="connsiteY4717" fmla="*/ 0 h 6851544"/>
              <a:gd name="connsiteX4718" fmla="*/ 5082439 w 6901213"/>
              <a:gd name="connsiteY4718" fmla="*/ 0 h 6851544"/>
              <a:gd name="connsiteX4719" fmla="*/ 6901214 w 6901213"/>
              <a:gd name="connsiteY4719" fmla="*/ 1401143 h 6851544"/>
              <a:gd name="connsiteX4720" fmla="*/ 6859140 w 6901213"/>
              <a:gd name="connsiteY4720" fmla="*/ 1474204 h 6851544"/>
              <a:gd name="connsiteX4721" fmla="*/ 6901214 w 6901213"/>
              <a:gd name="connsiteY4721" fmla="*/ 1547265 h 6851544"/>
              <a:gd name="connsiteX4722" fmla="*/ 6901214 w 6901213"/>
              <a:gd name="connsiteY4722" fmla="*/ 1401143 h 6851544"/>
              <a:gd name="connsiteX4723" fmla="*/ 6901214 w 6901213"/>
              <a:gd name="connsiteY4723" fmla="*/ 1263072 h 6851544"/>
              <a:gd name="connsiteX4724" fmla="*/ 6840228 w 6901213"/>
              <a:gd name="connsiteY4724" fmla="*/ 1237858 h 6851544"/>
              <a:gd name="connsiteX4725" fmla="*/ 6753877 w 6901213"/>
              <a:gd name="connsiteY4725" fmla="*/ 1324209 h 6851544"/>
              <a:gd name="connsiteX4726" fmla="*/ 6840228 w 6901213"/>
              <a:gd name="connsiteY4726" fmla="*/ 1410561 h 6851544"/>
              <a:gd name="connsiteX4727" fmla="*/ 6901214 w 6901213"/>
              <a:gd name="connsiteY4727" fmla="*/ 1385346 h 6851544"/>
              <a:gd name="connsiteX4728" fmla="*/ 6901214 w 6901213"/>
              <a:gd name="connsiteY4728" fmla="*/ 1263072 h 6851544"/>
              <a:gd name="connsiteX4729" fmla="*/ 6818052 w 6901213"/>
              <a:gd name="connsiteY4729" fmla="*/ 1177632 h 6851544"/>
              <a:gd name="connsiteX4730" fmla="*/ 6731169 w 6901213"/>
              <a:gd name="connsiteY4730" fmla="*/ 1090749 h 6851544"/>
              <a:gd name="connsiteX4731" fmla="*/ 6644286 w 6901213"/>
              <a:gd name="connsiteY4731" fmla="*/ 1177632 h 6851544"/>
              <a:gd name="connsiteX4732" fmla="*/ 6731169 w 6901213"/>
              <a:gd name="connsiteY4732" fmla="*/ 1264515 h 6851544"/>
              <a:gd name="connsiteX4733" fmla="*/ 6818052 w 6901213"/>
              <a:gd name="connsiteY4733" fmla="*/ 1177632 h 6851544"/>
              <a:gd name="connsiteX4734" fmla="*/ 6704739 w 6901213"/>
              <a:gd name="connsiteY4734" fmla="*/ 1034852 h 6851544"/>
              <a:gd name="connsiteX4735" fmla="*/ 6617249 w 6901213"/>
              <a:gd name="connsiteY4735" fmla="*/ 947361 h 6851544"/>
              <a:gd name="connsiteX4736" fmla="*/ 6529758 w 6901213"/>
              <a:gd name="connsiteY4736" fmla="*/ 1034852 h 6851544"/>
              <a:gd name="connsiteX4737" fmla="*/ 6617249 w 6901213"/>
              <a:gd name="connsiteY4737" fmla="*/ 1122343 h 6851544"/>
              <a:gd name="connsiteX4738" fmla="*/ 6704739 w 6901213"/>
              <a:gd name="connsiteY4738" fmla="*/ 1034852 h 6851544"/>
              <a:gd name="connsiteX4739" fmla="*/ 6586718 w 6901213"/>
              <a:gd name="connsiteY4739" fmla="*/ 895869 h 6851544"/>
              <a:gd name="connsiteX4740" fmla="*/ 6498696 w 6901213"/>
              <a:gd name="connsiteY4740" fmla="*/ 807847 h 6851544"/>
              <a:gd name="connsiteX4741" fmla="*/ 6410673 w 6901213"/>
              <a:gd name="connsiteY4741" fmla="*/ 895869 h 6851544"/>
              <a:gd name="connsiteX4742" fmla="*/ 6498696 w 6901213"/>
              <a:gd name="connsiteY4742" fmla="*/ 983891 h 6851544"/>
              <a:gd name="connsiteX4743" fmla="*/ 6586718 w 6901213"/>
              <a:gd name="connsiteY4743" fmla="*/ 895869 h 6851544"/>
              <a:gd name="connsiteX4744" fmla="*/ 6463608 w 6901213"/>
              <a:gd name="connsiteY4744" fmla="*/ 760911 h 6851544"/>
              <a:gd name="connsiteX4745" fmla="*/ 6375586 w 6901213"/>
              <a:gd name="connsiteY4745" fmla="*/ 672889 h 6851544"/>
              <a:gd name="connsiteX4746" fmla="*/ 6287564 w 6901213"/>
              <a:gd name="connsiteY4746" fmla="*/ 760911 h 6851544"/>
              <a:gd name="connsiteX4747" fmla="*/ 6375586 w 6901213"/>
              <a:gd name="connsiteY4747" fmla="*/ 848934 h 6851544"/>
              <a:gd name="connsiteX4748" fmla="*/ 6463608 w 6901213"/>
              <a:gd name="connsiteY4748" fmla="*/ 760911 h 6851544"/>
              <a:gd name="connsiteX4749" fmla="*/ 6336625 w 6901213"/>
              <a:gd name="connsiteY4749" fmla="*/ 630131 h 6851544"/>
              <a:gd name="connsiteX4750" fmla="*/ 6247995 w 6901213"/>
              <a:gd name="connsiteY4750" fmla="*/ 541501 h 6851544"/>
              <a:gd name="connsiteX4751" fmla="*/ 6159365 w 6901213"/>
              <a:gd name="connsiteY4751" fmla="*/ 630131 h 6851544"/>
              <a:gd name="connsiteX4752" fmla="*/ 6247995 w 6901213"/>
              <a:gd name="connsiteY4752" fmla="*/ 718761 h 6851544"/>
              <a:gd name="connsiteX4753" fmla="*/ 6336625 w 6901213"/>
              <a:gd name="connsiteY4753" fmla="*/ 630131 h 6851544"/>
              <a:gd name="connsiteX4754" fmla="*/ 6204250 w 6901213"/>
              <a:gd name="connsiteY4754" fmla="*/ 503679 h 6851544"/>
              <a:gd name="connsiteX4755" fmla="*/ 6116227 w 6901213"/>
              <a:gd name="connsiteY4755" fmla="*/ 415657 h 6851544"/>
              <a:gd name="connsiteX4756" fmla="*/ 6028205 w 6901213"/>
              <a:gd name="connsiteY4756" fmla="*/ 503679 h 6851544"/>
              <a:gd name="connsiteX4757" fmla="*/ 6116227 w 6901213"/>
              <a:gd name="connsiteY4757" fmla="*/ 591702 h 6851544"/>
              <a:gd name="connsiteX4758" fmla="*/ 6204250 w 6901213"/>
              <a:gd name="connsiteY4758" fmla="*/ 503679 h 6851544"/>
              <a:gd name="connsiteX4759" fmla="*/ 6068305 w 6901213"/>
              <a:gd name="connsiteY4759" fmla="*/ 381709 h 6851544"/>
              <a:gd name="connsiteX4760" fmla="*/ 5980282 w 6901213"/>
              <a:gd name="connsiteY4760" fmla="*/ 293686 h 6851544"/>
              <a:gd name="connsiteX4761" fmla="*/ 5892260 w 6901213"/>
              <a:gd name="connsiteY4761" fmla="*/ 381709 h 6851544"/>
              <a:gd name="connsiteX4762" fmla="*/ 5980282 w 6901213"/>
              <a:gd name="connsiteY4762" fmla="*/ 469731 h 6851544"/>
              <a:gd name="connsiteX4763" fmla="*/ 6068305 w 6901213"/>
              <a:gd name="connsiteY4763" fmla="*/ 381709 h 6851544"/>
              <a:gd name="connsiteX4764" fmla="*/ 5927803 w 6901213"/>
              <a:gd name="connsiteY4764" fmla="*/ 264295 h 6851544"/>
              <a:gd name="connsiteX4765" fmla="*/ 5840312 w 6901213"/>
              <a:gd name="connsiteY4765" fmla="*/ 176804 h 6851544"/>
              <a:gd name="connsiteX4766" fmla="*/ 5752822 w 6901213"/>
              <a:gd name="connsiteY4766" fmla="*/ 264295 h 6851544"/>
              <a:gd name="connsiteX4767" fmla="*/ 5840312 w 6901213"/>
              <a:gd name="connsiteY4767" fmla="*/ 351786 h 6851544"/>
              <a:gd name="connsiteX4768" fmla="*/ 5927803 w 6901213"/>
              <a:gd name="connsiteY4768" fmla="*/ 264295 h 6851544"/>
              <a:gd name="connsiteX4769" fmla="*/ 5783428 w 6901213"/>
              <a:gd name="connsiteY4769" fmla="*/ 151590 h 6851544"/>
              <a:gd name="connsiteX4770" fmla="*/ 5696545 w 6901213"/>
              <a:gd name="connsiteY4770" fmla="*/ 64707 h 6851544"/>
              <a:gd name="connsiteX4771" fmla="*/ 5609662 w 6901213"/>
              <a:gd name="connsiteY4771" fmla="*/ 151590 h 6851544"/>
              <a:gd name="connsiteX4772" fmla="*/ 5696545 w 6901213"/>
              <a:gd name="connsiteY4772" fmla="*/ 238473 h 6851544"/>
              <a:gd name="connsiteX4773" fmla="*/ 5783428 w 6901213"/>
              <a:gd name="connsiteY4773" fmla="*/ 151590 h 6851544"/>
              <a:gd name="connsiteX4774" fmla="*/ 5475692 w 6901213"/>
              <a:gd name="connsiteY4774" fmla="*/ 0 h 6851544"/>
              <a:gd name="connsiteX4775" fmla="*/ 5463312 w 6901213"/>
              <a:gd name="connsiteY4775" fmla="*/ 43669 h 6851544"/>
              <a:gd name="connsiteX4776" fmla="*/ 5549132 w 6901213"/>
              <a:gd name="connsiteY4776" fmla="*/ 129413 h 6851544"/>
              <a:gd name="connsiteX4777" fmla="*/ 5634952 w 6901213"/>
              <a:gd name="connsiteY4777" fmla="*/ 43669 h 6851544"/>
              <a:gd name="connsiteX4778" fmla="*/ 5622573 w 6901213"/>
              <a:gd name="connsiteY4778" fmla="*/ 0 h 6851544"/>
              <a:gd name="connsiteX4779" fmla="*/ 5475692 w 6901213"/>
              <a:gd name="connsiteY4779" fmla="*/ 0 h 6851544"/>
              <a:gd name="connsiteX4780" fmla="*/ 6901214 w 6901213"/>
              <a:gd name="connsiteY4780" fmla="*/ 1042067 h 6851544"/>
              <a:gd name="connsiteX4781" fmla="*/ 6852380 w 6901213"/>
              <a:gd name="connsiteY4781" fmla="*/ 1123482 h 6851544"/>
              <a:gd name="connsiteX4782" fmla="*/ 6901214 w 6901213"/>
              <a:gd name="connsiteY4782" fmla="*/ 1204897 h 6851544"/>
              <a:gd name="connsiteX4783" fmla="*/ 6901214 w 6901213"/>
              <a:gd name="connsiteY4783" fmla="*/ 1042067 h 6851544"/>
              <a:gd name="connsiteX4784" fmla="*/ 6901214 w 6901213"/>
              <a:gd name="connsiteY4784" fmla="*/ 913033 h 6851544"/>
              <a:gd name="connsiteX4785" fmla="*/ 6833925 w 6901213"/>
              <a:gd name="connsiteY4785" fmla="*/ 884629 h 6851544"/>
              <a:gd name="connsiteX4786" fmla="*/ 6739675 w 6901213"/>
              <a:gd name="connsiteY4786" fmla="*/ 978879 h 6851544"/>
              <a:gd name="connsiteX4787" fmla="*/ 6833925 w 6901213"/>
              <a:gd name="connsiteY4787" fmla="*/ 1073129 h 6851544"/>
              <a:gd name="connsiteX4788" fmla="*/ 6901214 w 6901213"/>
              <a:gd name="connsiteY4788" fmla="*/ 1044725 h 6851544"/>
              <a:gd name="connsiteX4789" fmla="*/ 6901214 w 6901213"/>
              <a:gd name="connsiteY4789" fmla="*/ 913033 h 6851544"/>
              <a:gd name="connsiteX4790" fmla="*/ 6812584 w 6901213"/>
              <a:gd name="connsiteY4790" fmla="*/ 837922 h 6851544"/>
              <a:gd name="connsiteX4791" fmla="*/ 6717802 w 6901213"/>
              <a:gd name="connsiteY4791" fmla="*/ 743140 h 6851544"/>
              <a:gd name="connsiteX4792" fmla="*/ 6623021 w 6901213"/>
              <a:gd name="connsiteY4792" fmla="*/ 837922 h 6851544"/>
              <a:gd name="connsiteX4793" fmla="*/ 6717802 w 6901213"/>
              <a:gd name="connsiteY4793" fmla="*/ 932703 h 6851544"/>
              <a:gd name="connsiteX4794" fmla="*/ 6812584 w 6901213"/>
              <a:gd name="connsiteY4794" fmla="*/ 837922 h 6851544"/>
              <a:gd name="connsiteX4795" fmla="*/ 6691980 w 6901213"/>
              <a:gd name="connsiteY4795" fmla="*/ 700686 h 6851544"/>
              <a:gd name="connsiteX4796" fmla="*/ 6597198 w 6901213"/>
              <a:gd name="connsiteY4796" fmla="*/ 605904 h 6851544"/>
              <a:gd name="connsiteX4797" fmla="*/ 6502417 w 6901213"/>
              <a:gd name="connsiteY4797" fmla="*/ 700686 h 6851544"/>
              <a:gd name="connsiteX4798" fmla="*/ 6597198 w 6901213"/>
              <a:gd name="connsiteY4798" fmla="*/ 795467 h 6851544"/>
              <a:gd name="connsiteX4799" fmla="*/ 6691980 w 6901213"/>
              <a:gd name="connsiteY4799" fmla="*/ 700686 h 6851544"/>
              <a:gd name="connsiteX4800" fmla="*/ 6567579 w 6901213"/>
              <a:gd name="connsiteY4800" fmla="*/ 567475 h 6851544"/>
              <a:gd name="connsiteX4801" fmla="*/ 6472190 w 6901213"/>
              <a:gd name="connsiteY4801" fmla="*/ 472086 h 6851544"/>
              <a:gd name="connsiteX4802" fmla="*/ 6376801 w 6901213"/>
              <a:gd name="connsiteY4802" fmla="*/ 567475 h 6851544"/>
              <a:gd name="connsiteX4803" fmla="*/ 6472190 w 6901213"/>
              <a:gd name="connsiteY4803" fmla="*/ 662864 h 6851544"/>
              <a:gd name="connsiteX4804" fmla="*/ 6567579 w 6901213"/>
              <a:gd name="connsiteY4804" fmla="*/ 567475 h 6851544"/>
              <a:gd name="connsiteX4805" fmla="*/ 6438394 w 6901213"/>
              <a:gd name="connsiteY4805" fmla="*/ 438289 h 6851544"/>
              <a:gd name="connsiteX4806" fmla="*/ 6343005 w 6901213"/>
              <a:gd name="connsiteY4806" fmla="*/ 342900 h 6851544"/>
              <a:gd name="connsiteX4807" fmla="*/ 6247615 w 6901213"/>
              <a:gd name="connsiteY4807" fmla="*/ 438289 h 6851544"/>
              <a:gd name="connsiteX4808" fmla="*/ 6343005 w 6901213"/>
              <a:gd name="connsiteY4808" fmla="*/ 533679 h 6851544"/>
              <a:gd name="connsiteX4809" fmla="*/ 6438394 w 6901213"/>
              <a:gd name="connsiteY4809" fmla="*/ 438289 h 6851544"/>
              <a:gd name="connsiteX4810" fmla="*/ 6304576 w 6901213"/>
              <a:gd name="connsiteY4810" fmla="*/ 313357 h 6851544"/>
              <a:gd name="connsiteX4811" fmla="*/ 6209794 w 6901213"/>
              <a:gd name="connsiteY4811" fmla="*/ 218575 h 6851544"/>
              <a:gd name="connsiteX4812" fmla="*/ 6115012 w 6901213"/>
              <a:gd name="connsiteY4812" fmla="*/ 313357 h 6851544"/>
              <a:gd name="connsiteX4813" fmla="*/ 6209794 w 6901213"/>
              <a:gd name="connsiteY4813" fmla="*/ 408138 h 6851544"/>
              <a:gd name="connsiteX4814" fmla="*/ 6304576 w 6901213"/>
              <a:gd name="connsiteY4814" fmla="*/ 313357 h 6851544"/>
              <a:gd name="connsiteX4815" fmla="*/ 6167416 w 6901213"/>
              <a:gd name="connsiteY4815" fmla="*/ 192753 h 6851544"/>
              <a:gd name="connsiteX4816" fmla="*/ 6072634 w 6901213"/>
              <a:gd name="connsiteY4816" fmla="*/ 97971 h 6851544"/>
              <a:gd name="connsiteX4817" fmla="*/ 5977852 w 6901213"/>
              <a:gd name="connsiteY4817" fmla="*/ 192753 h 6851544"/>
              <a:gd name="connsiteX4818" fmla="*/ 6072634 w 6901213"/>
              <a:gd name="connsiteY4818" fmla="*/ 287535 h 6851544"/>
              <a:gd name="connsiteX4819" fmla="*/ 6167416 w 6901213"/>
              <a:gd name="connsiteY4819" fmla="*/ 192753 h 6851544"/>
              <a:gd name="connsiteX4820" fmla="*/ 5876919 w 6901213"/>
              <a:gd name="connsiteY4820" fmla="*/ 0 h 6851544"/>
              <a:gd name="connsiteX4821" fmla="*/ 5837350 w 6901213"/>
              <a:gd name="connsiteY4821" fmla="*/ 76554 h 6851544"/>
              <a:gd name="connsiteX4822" fmla="*/ 5931601 w 6901213"/>
              <a:gd name="connsiteY4822" fmla="*/ 170804 h 6851544"/>
              <a:gd name="connsiteX4823" fmla="*/ 6025851 w 6901213"/>
              <a:gd name="connsiteY4823" fmla="*/ 76554 h 6851544"/>
              <a:gd name="connsiteX4824" fmla="*/ 5986282 w 6901213"/>
              <a:gd name="connsiteY4824" fmla="*/ 0 h 6851544"/>
              <a:gd name="connsiteX4825" fmla="*/ 5876919 w 6901213"/>
              <a:gd name="connsiteY4825" fmla="*/ 0 h 6851544"/>
              <a:gd name="connsiteX4826" fmla="*/ 5700798 w 6901213"/>
              <a:gd name="connsiteY4826" fmla="*/ 0 h 6851544"/>
              <a:gd name="connsiteX4827" fmla="*/ 5786922 w 6901213"/>
              <a:gd name="connsiteY4827" fmla="*/ 58099 h 6851544"/>
              <a:gd name="connsiteX4828" fmla="*/ 5873122 w 6901213"/>
              <a:gd name="connsiteY4828" fmla="*/ 0 h 6851544"/>
              <a:gd name="connsiteX4829" fmla="*/ 5700798 w 6901213"/>
              <a:gd name="connsiteY4829" fmla="*/ 0 h 6851544"/>
              <a:gd name="connsiteX4830" fmla="*/ 6901214 w 6901213"/>
              <a:gd name="connsiteY4830" fmla="*/ 686332 h 6851544"/>
              <a:gd name="connsiteX4831" fmla="*/ 6834532 w 6901213"/>
              <a:gd name="connsiteY4831" fmla="*/ 780961 h 6851544"/>
              <a:gd name="connsiteX4832" fmla="*/ 6901214 w 6901213"/>
              <a:gd name="connsiteY4832" fmla="*/ 875591 h 6851544"/>
              <a:gd name="connsiteX4833" fmla="*/ 6901214 w 6901213"/>
              <a:gd name="connsiteY4833" fmla="*/ 686332 h 6851544"/>
              <a:gd name="connsiteX4834" fmla="*/ 6901214 w 6901213"/>
              <a:gd name="connsiteY4834" fmla="*/ 584639 h 6851544"/>
              <a:gd name="connsiteX4835" fmla="*/ 6817293 w 6901213"/>
              <a:gd name="connsiteY4835" fmla="*/ 540210 h 6851544"/>
              <a:gd name="connsiteX4836" fmla="*/ 6715676 w 6901213"/>
              <a:gd name="connsiteY4836" fmla="*/ 641827 h 6851544"/>
              <a:gd name="connsiteX4837" fmla="*/ 6817293 w 6901213"/>
              <a:gd name="connsiteY4837" fmla="*/ 743444 h 6851544"/>
              <a:gd name="connsiteX4838" fmla="*/ 6901214 w 6901213"/>
              <a:gd name="connsiteY4838" fmla="*/ 699015 h 6851544"/>
              <a:gd name="connsiteX4839" fmla="*/ 6901214 w 6901213"/>
              <a:gd name="connsiteY4839" fmla="*/ 584639 h 6851544"/>
              <a:gd name="connsiteX4840" fmla="*/ 6796331 w 6901213"/>
              <a:gd name="connsiteY4840" fmla="*/ 506262 h 6851544"/>
              <a:gd name="connsiteX4841" fmla="*/ 6694714 w 6901213"/>
              <a:gd name="connsiteY4841" fmla="*/ 404645 h 6851544"/>
              <a:gd name="connsiteX4842" fmla="*/ 6593098 w 6901213"/>
              <a:gd name="connsiteY4842" fmla="*/ 506262 h 6851544"/>
              <a:gd name="connsiteX4843" fmla="*/ 6694714 w 6901213"/>
              <a:gd name="connsiteY4843" fmla="*/ 607879 h 6851544"/>
              <a:gd name="connsiteX4844" fmla="*/ 6796331 w 6901213"/>
              <a:gd name="connsiteY4844" fmla="*/ 506262 h 6851544"/>
              <a:gd name="connsiteX4845" fmla="*/ 6669728 w 6901213"/>
              <a:gd name="connsiteY4845" fmla="*/ 374646 h 6851544"/>
              <a:gd name="connsiteX4846" fmla="*/ 6568111 w 6901213"/>
              <a:gd name="connsiteY4846" fmla="*/ 273029 h 6851544"/>
              <a:gd name="connsiteX4847" fmla="*/ 6466494 w 6901213"/>
              <a:gd name="connsiteY4847" fmla="*/ 374646 h 6851544"/>
              <a:gd name="connsiteX4848" fmla="*/ 6568111 w 6901213"/>
              <a:gd name="connsiteY4848" fmla="*/ 476263 h 6851544"/>
              <a:gd name="connsiteX4849" fmla="*/ 6669728 w 6901213"/>
              <a:gd name="connsiteY4849" fmla="*/ 374646 h 6851544"/>
              <a:gd name="connsiteX4850" fmla="*/ 6539099 w 6901213"/>
              <a:gd name="connsiteY4850" fmla="*/ 246979 h 6851544"/>
              <a:gd name="connsiteX4851" fmla="*/ 6437483 w 6901213"/>
              <a:gd name="connsiteY4851" fmla="*/ 145362 h 6851544"/>
              <a:gd name="connsiteX4852" fmla="*/ 6335866 w 6901213"/>
              <a:gd name="connsiteY4852" fmla="*/ 246979 h 6851544"/>
              <a:gd name="connsiteX4853" fmla="*/ 6437483 w 6901213"/>
              <a:gd name="connsiteY4853" fmla="*/ 348596 h 6851544"/>
              <a:gd name="connsiteX4854" fmla="*/ 6539099 w 6901213"/>
              <a:gd name="connsiteY4854" fmla="*/ 246979 h 6851544"/>
              <a:gd name="connsiteX4855" fmla="*/ 6404521 w 6901213"/>
              <a:gd name="connsiteY4855" fmla="*/ 123414 h 6851544"/>
              <a:gd name="connsiteX4856" fmla="*/ 6302904 w 6901213"/>
              <a:gd name="connsiteY4856" fmla="*/ 21797 h 6851544"/>
              <a:gd name="connsiteX4857" fmla="*/ 6201288 w 6901213"/>
              <a:gd name="connsiteY4857" fmla="*/ 123414 h 6851544"/>
              <a:gd name="connsiteX4858" fmla="*/ 6302904 w 6901213"/>
              <a:gd name="connsiteY4858" fmla="*/ 225031 h 6851544"/>
              <a:gd name="connsiteX4859" fmla="*/ 6404521 w 6901213"/>
              <a:gd name="connsiteY4859" fmla="*/ 123414 h 6851544"/>
              <a:gd name="connsiteX4860" fmla="*/ 6064052 w 6901213"/>
              <a:gd name="connsiteY4860" fmla="*/ 0 h 6851544"/>
              <a:gd name="connsiteX4861" fmla="*/ 6063596 w 6901213"/>
              <a:gd name="connsiteY4861" fmla="*/ 4101 h 6851544"/>
              <a:gd name="connsiteX4862" fmla="*/ 6164606 w 6901213"/>
              <a:gd name="connsiteY4862" fmla="*/ 105110 h 6851544"/>
              <a:gd name="connsiteX4863" fmla="*/ 6265615 w 6901213"/>
              <a:gd name="connsiteY4863" fmla="*/ 4101 h 6851544"/>
              <a:gd name="connsiteX4864" fmla="*/ 6265235 w 6901213"/>
              <a:gd name="connsiteY4864" fmla="*/ 0 h 6851544"/>
              <a:gd name="connsiteX4865" fmla="*/ 6064052 w 6901213"/>
              <a:gd name="connsiteY4865" fmla="*/ 0 h 6851544"/>
              <a:gd name="connsiteX4866" fmla="*/ 6901214 w 6901213"/>
              <a:gd name="connsiteY4866" fmla="*/ 339558 h 6851544"/>
              <a:gd name="connsiteX4867" fmla="*/ 6807571 w 6901213"/>
              <a:gd name="connsiteY4867" fmla="*/ 446416 h 6851544"/>
              <a:gd name="connsiteX4868" fmla="*/ 6901214 w 6901213"/>
              <a:gd name="connsiteY4868" fmla="*/ 553273 h 6851544"/>
              <a:gd name="connsiteX4869" fmla="*/ 6901214 w 6901213"/>
              <a:gd name="connsiteY4869" fmla="*/ 339558 h 6851544"/>
              <a:gd name="connsiteX4870" fmla="*/ 6900606 w 6901213"/>
              <a:gd name="connsiteY4870" fmla="*/ 312521 h 6851544"/>
              <a:gd name="connsiteX4871" fmla="*/ 6791699 w 6901213"/>
              <a:gd name="connsiteY4871" fmla="*/ 203614 h 6851544"/>
              <a:gd name="connsiteX4872" fmla="*/ 6682791 w 6901213"/>
              <a:gd name="connsiteY4872" fmla="*/ 312521 h 6851544"/>
              <a:gd name="connsiteX4873" fmla="*/ 6791699 w 6901213"/>
              <a:gd name="connsiteY4873" fmla="*/ 421429 h 6851544"/>
              <a:gd name="connsiteX4874" fmla="*/ 6900606 w 6901213"/>
              <a:gd name="connsiteY4874" fmla="*/ 312521 h 6851544"/>
              <a:gd name="connsiteX4875" fmla="*/ 6772408 w 6901213"/>
              <a:gd name="connsiteY4875" fmla="*/ 182348 h 6851544"/>
              <a:gd name="connsiteX4876" fmla="*/ 6663500 w 6901213"/>
              <a:gd name="connsiteY4876" fmla="*/ 73441 h 6851544"/>
              <a:gd name="connsiteX4877" fmla="*/ 6554592 w 6901213"/>
              <a:gd name="connsiteY4877" fmla="*/ 182348 h 6851544"/>
              <a:gd name="connsiteX4878" fmla="*/ 6663500 w 6901213"/>
              <a:gd name="connsiteY4878" fmla="*/ 291256 h 6851544"/>
              <a:gd name="connsiteX4879" fmla="*/ 6772408 w 6901213"/>
              <a:gd name="connsiteY4879" fmla="*/ 182348 h 6851544"/>
              <a:gd name="connsiteX4880" fmla="*/ 6438546 w 6901213"/>
              <a:gd name="connsiteY4880" fmla="*/ 0 h 6851544"/>
              <a:gd name="connsiteX4881" fmla="*/ 6422521 w 6901213"/>
              <a:gd name="connsiteY4881" fmla="*/ 56125 h 6851544"/>
              <a:gd name="connsiteX4882" fmla="*/ 6531429 w 6901213"/>
              <a:gd name="connsiteY4882" fmla="*/ 165033 h 6851544"/>
              <a:gd name="connsiteX4883" fmla="*/ 6640337 w 6901213"/>
              <a:gd name="connsiteY4883" fmla="*/ 56125 h 6851544"/>
              <a:gd name="connsiteX4884" fmla="*/ 6624312 w 6901213"/>
              <a:gd name="connsiteY4884" fmla="*/ 0 h 6851544"/>
              <a:gd name="connsiteX4885" fmla="*/ 6438546 w 6901213"/>
              <a:gd name="connsiteY4885" fmla="*/ 0 h 6851544"/>
              <a:gd name="connsiteX4886" fmla="*/ 6310424 w 6901213"/>
              <a:gd name="connsiteY4886" fmla="*/ 0 h 6851544"/>
              <a:gd name="connsiteX4887" fmla="*/ 6395712 w 6901213"/>
              <a:gd name="connsiteY4887" fmla="*/ 42226 h 6851544"/>
              <a:gd name="connsiteX4888" fmla="*/ 6481000 w 6901213"/>
              <a:gd name="connsiteY4888" fmla="*/ 0 h 6851544"/>
              <a:gd name="connsiteX4889" fmla="*/ 6310424 w 6901213"/>
              <a:gd name="connsiteY4889" fmla="*/ 0 h 6851544"/>
              <a:gd name="connsiteX4890" fmla="*/ 6901214 w 6901213"/>
              <a:gd name="connsiteY4890" fmla="*/ 4405 h 6851544"/>
              <a:gd name="connsiteX4891" fmla="*/ 6887999 w 6901213"/>
              <a:gd name="connsiteY4891" fmla="*/ 3114 h 6851544"/>
              <a:gd name="connsiteX4892" fmla="*/ 6771725 w 6901213"/>
              <a:gd name="connsiteY4892" fmla="*/ 119388 h 6851544"/>
              <a:gd name="connsiteX4893" fmla="*/ 6887999 w 6901213"/>
              <a:gd name="connsiteY4893" fmla="*/ 235663 h 6851544"/>
              <a:gd name="connsiteX4894" fmla="*/ 6901214 w 6901213"/>
              <a:gd name="connsiteY4894" fmla="*/ 234296 h 6851544"/>
              <a:gd name="connsiteX4895" fmla="*/ 6901214 w 6901213"/>
              <a:gd name="connsiteY4895" fmla="*/ 4405 h 6851544"/>
              <a:gd name="connsiteX4896" fmla="*/ 6643071 w 6901213"/>
              <a:gd name="connsiteY4896" fmla="*/ 0 h 6851544"/>
              <a:gd name="connsiteX4897" fmla="*/ 6758358 w 6901213"/>
              <a:gd name="connsiteY4897" fmla="*/ 106857 h 6851544"/>
              <a:gd name="connsiteX4898" fmla="*/ 6873645 w 6901213"/>
              <a:gd name="connsiteY4898" fmla="*/ 0 h 6851544"/>
              <a:gd name="connsiteX4899" fmla="*/ 6643071 w 6901213"/>
              <a:gd name="connsiteY4899" fmla="*/ 0 h 6851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Lst>
            <a:rect l="l" t="t" r="r" b="b"/>
            <a:pathLst>
              <a:path w="6901213" h="6851544">
                <a:moveTo>
                  <a:pt x="2538296" y="4658732"/>
                </a:moveTo>
                <a:cubicBezTo>
                  <a:pt x="2538296" y="4659035"/>
                  <a:pt x="2538068" y="4659263"/>
                  <a:pt x="2537764" y="4659263"/>
                </a:cubicBezTo>
                <a:cubicBezTo>
                  <a:pt x="2537460" y="4659263"/>
                  <a:pt x="2537156" y="4659035"/>
                  <a:pt x="2537156" y="4658732"/>
                </a:cubicBezTo>
                <a:cubicBezTo>
                  <a:pt x="2537156" y="4658428"/>
                  <a:pt x="2537384" y="4658200"/>
                  <a:pt x="2537764" y="4658200"/>
                </a:cubicBezTo>
                <a:cubicBezTo>
                  <a:pt x="2538068" y="4658200"/>
                  <a:pt x="2538296" y="4658428"/>
                  <a:pt x="2538296" y="4658732"/>
                </a:cubicBezTo>
                <a:moveTo>
                  <a:pt x="2577636" y="4486560"/>
                </a:moveTo>
                <a:cubicBezTo>
                  <a:pt x="2577636" y="4486256"/>
                  <a:pt x="2577408" y="4486028"/>
                  <a:pt x="2577104" y="4486028"/>
                </a:cubicBezTo>
                <a:cubicBezTo>
                  <a:pt x="2576801" y="4486028"/>
                  <a:pt x="2576573" y="4486256"/>
                  <a:pt x="2576573" y="4486560"/>
                </a:cubicBezTo>
                <a:cubicBezTo>
                  <a:pt x="2576573" y="4486864"/>
                  <a:pt x="2576801" y="4487092"/>
                  <a:pt x="2577104" y="4487092"/>
                </a:cubicBezTo>
                <a:cubicBezTo>
                  <a:pt x="2577408" y="4487092"/>
                  <a:pt x="2577636" y="4486864"/>
                  <a:pt x="2577636" y="4486560"/>
                </a:cubicBezTo>
                <a:moveTo>
                  <a:pt x="2467513" y="4348489"/>
                </a:moveTo>
                <a:cubicBezTo>
                  <a:pt x="2467513" y="4348185"/>
                  <a:pt x="2467285" y="4347957"/>
                  <a:pt x="2466981" y="4347957"/>
                </a:cubicBezTo>
                <a:cubicBezTo>
                  <a:pt x="2466678" y="4347957"/>
                  <a:pt x="2466450" y="4348185"/>
                  <a:pt x="2466450" y="4348489"/>
                </a:cubicBezTo>
                <a:cubicBezTo>
                  <a:pt x="2466450" y="4348792"/>
                  <a:pt x="2466678" y="4349021"/>
                  <a:pt x="2466981" y="4349021"/>
                </a:cubicBezTo>
                <a:cubicBezTo>
                  <a:pt x="2467285" y="4349021"/>
                  <a:pt x="2467513" y="4348792"/>
                  <a:pt x="2467513" y="4348489"/>
                </a:cubicBezTo>
                <a:moveTo>
                  <a:pt x="2290861" y="4348489"/>
                </a:moveTo>
                <a:cubicBezTo>
                  <a:pt x="2290861" y="4348185"/>
                  <a:pt x="2290633" y="4347957"/>
                  <a:pt x="2290329" y="4347957"/>
                </a:cubicBezTo>
                <a:cubicBezTo>
                  <a:pt x="2290025" y="4347957"/>
                  <a:pt x="2289797" y="4348185"/>
                  <a:pt x="2289797" y="4348489"/>
                </a:cubicBezTo>
                <a:cubicBezTo>
                  <a:pt x="2289797" y="4348792"/>
                  <a:pt x="2290025" y="4349021"/>
                  <a:pt x="2290329" y="4349021"/>
                </a:cubicBezTo>
                <a:cubicBezTo>
                  <a:pt x="2290633" y="4349021"/>
                  <a:pt x="2290861" y="4348792"/>
                  <a:pt x="2290861" y="4348489"/>
                </a:cubicBezTo>
                <a:moveTo>
                  <a:pt x="2697404" y="4785639"/>
                </a:moveTo>
                <a:cubicBezTo>
                  <a:pt x="2697404" y="4785335"/>
                  <a:pt x="2697176" y="4785107"/>
                  <a:pt x="2696873" y="4785107"/>
                </a:cubicBezTo>
                <a:cubicBezTo>
                  <a:pt x="2696569" y="4785107"/>
                  <a:pt x="2696341" y="4785335"/>
                  <a:pt x="2696341" y="4785639"/>
                </a:cubicBezTo>
                <a:cubicBezTo>
                  <a:pt x="2696341" y="4785942"/>
                  <a:pt x="2696569" y="4786171"/>
                  <a:pt x="2696873" y="4786171"/>
                </a:cubicBezTo>
                <a:cubicBezTo>
                  <a:pt x="2697176" y="4786171"/>
                  <a:pt x="2697404" y="4785942"/>
                  <a:pt x="2697404" y="4785639"/>
                </a:cubicBezTo>
                <a:moveTo>
                  <a:pt x="2776009" y="4622429"/>
                </a:moveTo>
                <a:cubicBezTo>
                  <a:pt x="2776009" y="4622125"/>
                  <a:pt x="2775781" y="4621897"/>
                  <a:pt x="2775478" y="4621897"/>
                </a:cubicBezTo>
                <a:cubicBezTo>
                  <a:pt x="2775174" y="4621897"/>
                  <a:pt x="2774946" y="4622125"/>
                  <a:pt x="2774946" y="4622429"/>
                </a:cubicBezTo>
                <a:cubicBezTo>
                  <a:pt x="2774946" y="4622733"/>
                  <a:pt x="2775174" y="4622960"/>
                  <a:pt x="2775478" y="4622960"/>
                </a:cubicBezTo>
                <a:cubicBezTo>
                  <a:pt x="2775781" y="4622960"/>
                  <a:pt x="2776009" y="4622733"/>
                  <a:pt x="2776009" y="4622429"/>
                </a:cubicBezTo>
                <a:moveTo>
                  <a:pt x="2776617" y="4441296"/>
                </a:moveTo>
                <a:cubicBezTo>
                  <a:pt x="2776617" y="4440688"/>
                  <a:pt x="2776085" y="4440157"/>
                  <a:pt x="2775478" y="4440157"/>
                </a:cubicBezTo>
                <a:cubicBezTo>
                  <a:pt x="2774870" y="4440157"/>
                  <a:pt x="2774338" y="4440688"/>
                  <a:pt x="2774338" y="4441296"/>
                </a:cubicBezTo>
                <a:cubicBezTo>
                  <a:pt x="2774338" y="4441903"/>
                  <a:pt x="2774870" y="4442435"/>
                  <a:pt x="2775478" y="4442435"/>
                </a:cubicBezTo>
                <a:cubicBezTo>
                  <a:pt x="2776085" y="4442435"/>
                  <a:pt x="2776617" y="4441903"/>
                  <a:pt x="2776617" y="4441296"/>
                </a:cubicBezTo>
                <a:moveTo>
                  <a:pt x="2698012" y="4278086"/>
                </a:moveTo>
                <a:cubicBezTo>
                  <a:pt x="2698012" y="4277478"/>
                  <a:pt x="2697480" y="4276947"/>
                  <a:pt x="2696873" y="4276947"/>
                </a:cubicBezTo>
                <a:cubicBezTo>
                  <a:pt x="2696265" y="4276947"/>
                  <a:pt x="2695733" y="4277478"/>
                  <a:pt x="2695733" y="4278086"/>
                </a:cubicBezTo>
                <a:cubicBezTo>
                  <a:pt x="2695733" y="4278694"/>
                  <a:pt x="2696265" y="4279225"/>
                  <a:pt x="2696873" y="4279225"/>
                </a:cubicBezTo>
                <a:cubicBezTo>
                  <a:pt x="2697480" y="4279225"/>
                  <a:pt x="2698012" y="4278694"/>
                  <a:pt x="2698012" y="4278086"/>
                </a:cubicBezTo>
                <a:moveTo>
                  <a:pt x="2556371" y="4165153"/>
                </a:moveTo>
                <a:cubicBezTo>
                  <a:pt x="2556371" y="4164545"/>
                  <a:pt x="2555839" y="4164014"/>
                  <a:pt x="2555232" y="4164014"/>
                </a:cubicBezTo>
                <a:cubicBezTo>
                  <a:pt x="2554624" y="4164014"/>
                  <a:pt x="2554092" y="4164545"/>
                  <a:pt x="2554092" y="4165153"/>
                </a:cubicBezTo>
                <a:cubicBezTo>
                  <a:pt x="2554092" y="4165761"/>
                  <a:pt x="2554624" y="4166292"/>
                  <a:pt x="2555232" y="4166292"/>
                </a:cubicBezTo>
                <a:cubicBezTo>
                  <a:pt x="2555839" y="4166216"/>
                  <a:pt x="2556371" y="4165761"/>
                  <a:pt x="2556371" y="4165153"/>
                </a:cubicBezTo>
                <a:moveTo>
                  <a:pt x="2379718" y="4124825"/>
                </a:moveTo>
                <a:cubicBezTo>
                  <a:pt x="2379718" y="4124217"/>
                  <a:pt x="2379187" y="4123686"/>
                  <a:pt x="2378579" y="4123686"/>
                </a:cubicBezTo>
                <a:cubicBezTo>
                  <a:pt x="2377972" y="4123686"/>
                  <a:pt x="2377440" y="4124217"/>
                  <a:pt x="2377440" y="4124825"/>
                </a:cubicBezTo>
                <a:cubicBezTo>
                  <a:pt x="2377440" y="4125433"/>
                  <a:pt x="2377972" y="4125964"/>
                  <a:pt x="2378579" y="4125964"/>
                </a:cubicBezTo>
                <a:cubicBezTo>
                  <a:pt x="2379263" y="4125964"/>
                  <a:pt x="2379718" y="4125433"/>
                  <a:pt x="2379718" y="4124825"/>
                </a:cubicBezTo>
                <a:moveTo>
                  <a:pt x="2202610" y="4165153"/>
                </a:moveTo>
                <a:cubicBezTo>
                  <a:pt x="2202610" y="4164849"/>
                  <a:pt x="2202383" y="4164621"/>
                  <a:pt x="2202079" y="4164621"/>
                </a:cubicBezTo>
                <a:cubicBezTo>
                  <a:pt x="2201775" y="4164621"/>
                  <a:pt x="2201547" y="4164849"/>
                  <a:pt x="2201547" y="4165153"/>
                </a:cubicBezTo>
                <a:cubicBezTo>
                  <a:pt x="2201547" y="4165457"/>
                  <a:pt x="2201775" y="4165685"/>
                  <a:pt x="2202079" y="4165685"/>
                </a:cubicBezTo>
                <a:cubicBezTo>
                  <a:pt x="2202383" y="4165685"/>
                  <a:pt x="2202610" y="4165457"/>
                  <a:pt x="2202610" y="4165153"/>
                </a:cubicBezTo>
                <a:moveTo>
                  <a:pt x="2856589" y="4912546"/>
                </a:moveTo>
                <a:cubicBezTo>
                  <a:pt x="2856589" y="4912242"/>
                  <a:pt x="2856361" y="4912014"/>
                  <a:pt x="2856057" y="4912014"/>
                </a:cubicBezTo>
                <a:cubicBezTo>
                  <a:pt x="2855753" y="4912014"/>
                  <a:pt x="2855525" y="4912242"/>
                  <a:pt x="2855525" y="4912546"/>
                </a:cubicBezTo>
                <a:cubicBezTo>
                  <a:pt x="2855525" y="4912850"/>
                  <a:pt x="2855753" y="4913077"/>
                  <a:pt x="2856057" y="4913077"/>
                </a:cubicBezTo>
                <a:cubicBezTo>
                  <a:pt x="2856361" y="4913077"/>
                  <a:pt x="2856589" y="4912850"/>
                  <a:pt x="2856589" y="4912546"/>
                </a:cubicBezTo>
                <a:moveTo>
                  <a:pt x="2947573" y="4754956"/>
                </a:moveTo>
                <a:cubicBezTo>
                  <a:pt x="2947573" y="4754652"/>
                  <a:pt x="2947345" y="4754424"/>
                  <a:pt x="2947041" y="4754424"/>
                </a:cubicBezTo>
                <a:cubicBezTo>
                  <a:pt x="2946738" y="4754424"/>
                  <a:pt x="2946510" y="4754652"/>
                  <a:pt x="2946510" y="4754956"/>
                </a:cubicBezTo>
                <a:cubicBezTo>
                  <a:pt x="2946510" y="4755260"/>
                  <a:pt x="2946738" y="4755488"/>
                  <a:pt x="2947041" y="4755488"/>
                </a:cubicBezTo>
                <a:cubicBezTo>
                  <a:pt x="2947345" y="4755488"/>
                  <a:pt x="2947573" y="4755260"/>
                  <a:pt x="2947573" y="4754956"/>
                </a:cubicBezTo>
                <a:moveTo>
                  <a:pt x="2988584" y="4577468"/>
                </a:moveTo>
                <a:cubicBezTo>
                  <a:pt x="2988584" y="4576861"/>
                  <a:pt x="2988053" y="4576329"/>
                  <a:pt x="2987445" y="4576329"/>
                </a:cubicBezTo>
                <a:cubicBezTo>
                  <a:pt x="2986838" y="4576329"/>
                  <a:pt x="2986306" y="4576861"/>
                  <a:pt x="2986306" y="4577468"/>
                </a:cubicBezTo>
                <a:cubicBezTo>
                  <a:pt x="2986306" y="4578076"/>
                  <a:pt x="2986838" y="4578608"/>
                  <a:pt x="2987445" y="4578608"/>
                </a:cubicBezTo>
                <a:cubicBezTo>
                  <a:pt x="2988053" y="4578608"/>
                  <a:pt x="2988584" y="4578076"/>
                  <a:pt x="2988584" y="4577468"/>
                </a:cubicBezTo>
                <a:moveTo>
                  <a:pt x="2975597" y="4396031"/>
                </a:moveTo>
                <a:cubicBezTo>
                  <a:pt x="2975597" y="4395120"/>
                  <a:pt x="2974838" y="4394361"/>
                  <a:pt x="2973926" y="4394361"/>
                </a:cubicBezTo>
                <a:cubicBezTo>
                  <a:pt x="2973015" y="4394361"/>
                  <a:pt x="2972256" y="4395120"/>
                  <a:pt x="2972256" y="4396031"/>
                </a:cubicBezTo>
                <a:cubicBezTo>
                  <a:pt x="2972256" y="4396943"/>
                  <a:pt x="2973015" y="4397702"/>
                  <a:pt x="2973926" y="4397702"/>
                </a:cubicBezTo>
                <a:cubicBezTo>
                  <a:pt x="2974838" y="4397702"/>
                  <a:pt x="2975597" y="4396943"/>
                  <a:pt x="2975597" y="4396031"/>
                </a:cubicBezTo>
                <a:moveTo>
                  <a:pt x="2909068" y="4226594"/>
                </a:moveTo>
                <a:cubicBezTo>
                  <a:pt x="2909068" y="4225682"/>
                  <a:pt x="2908309" y="4224923"/>
                  <a:pt x="2907397" y="4224923"/>
                </a:cubicBezTo>
                <a:cubicBezTo>
                  <a:pt x="2906486" y="4224923"/>
                  <a:pt x="2905726" y="4225682"/>
                  <a:pt x="2905726" y="4226594"/>
                </a:cubicBezTo>
                <a:cubicBezTo>
                  <a:pt x="2905726" y="4227506"/>
                  <a:pt x="2906486" y="4228265"/>
                  <a:pt x="2907397" y="4228265"/>
                </a:cubicBezTo>
                <a:cubicBezTo>
                  <a:pt x="2908309" y="4228265"/>
                  <a:pt x="2909068" y="4227506"/>
                  <a:pt x="2909068" y="4226594"/>
                </a:cubicBezTo>
                <a:moveTo>
                  <a:pt x="2796135" y="4084269"/>
                </a:moveTo>
                <a:cubicBezTo>
                  <a:pt x="2796135" y="4083054"/>
                  <a:pt x="2795148" y="4081991"/>
                  <a:pt x="2793857" y="4081991"/>
                </a:cubicBezTo>
                <a:cubicBezTo>
                  <a:pt x="2792641" y="4081991"/>
                  <a:pt x="2791578" y="4082978"/>
                  <a:pt x="2791578" y="4084269"/>
                </a:cubicBezTo>
                <a:cubicBezTo>
                  <a:pt x="2791578" y="4085485"/>
                  <a:pt x="2792566" y="4086548"/>
                  <a:pt x="2793857" y="4086548"/>
                </a:cubicBezTo>
                <a:cubicBezTo>
                  <a:pt x="2795148" y="4086548"/>
                  <a:pt x="2796135" y="4085561"/>
                  <a:pt x="2796135" y="4084269"/>
                </a:cubicBezTo>
                <a:moveTo>
                  <a:pt x="2645229" y="3981741"/>
                </a:moveTo>
                <a:cubicBezTo>
                  <a:pt x="2645229" y="3980830"/>
                  <a:pt x="2644469" y="3980071"/>
                  <a:pt x="2643558" y="3980071"/>
                </a:cubicBezTo>
                <a:cubicBezTo>
                  <a:pt x="2642646" y="3980071"/>
                  <a:pt x="2641887" y="3980830"/>
                  <a:pt x="2641887" y="3981741"/>
                </a:cubicBezTo>
                <a:cubicBezTo>
                  <a:pt x="2641887" y="3982652"/>
                  <a:pt x="2642646" y="3983412"/>
                  <a:pt x="2643558" y="3983412"/>
                </a:cubicBezTo>
                <a:cubicBezTo>
                  <a:pt x="2644469" y="3983488"/>
                  <a:pt x="2645229" y="3982728"/>
                  <a:pt x="2645229" y="3981741"/>
                </a:cubicBezTo>
                <a:moveTo>
                  <a:pt x="2471310" y="3928123"/>
                </a:moveTo>
                <a:cubicBezTo>
                  <a:pt x="2471310" y="3927211"/>
                  <a:pt x="2470551" y="3926452"/>
                  <a:pt x="2469639" y="3926452"/>
                </a:cubicBezTo>
                <a:cubicBezTo>
                  <a:pt x="2468728" y="3926452"/>
                  <a:pt x="2467969" y="3927211"/>
                  <a:pt x="2467969" y="3928123"/>
                </a:cubicBezTo>
                <a:cubicBezTo>
                  <a:pt x="2467969" y="3929034"/>
                  <a:pt x="2468728" y="3929794"/>
                  <a:pt x="2469639" y="3929794"/>
                </a:cubicBezTo>
                <a:cubicBezTo>
                  <a:pt x="2470551" y="3929794"/>
                  <a:pt x="2471310" y="3929034"/>
                  <a:pt x="2471310" y="3928123"/>
                </a:cubicBezTo>
                <a:moveTo>
                  <a:pt x="2288734" y="3928123"/>
                </a:moveTo>
                <a:cubicBezTo>
                  <a:pt x="2288734" y="3927515"/>
                  <a:pt x="2288203" y="3926984"/>
                  <a:pt x="2287595" y="3926984"/>
                </a:cubicBezTo>
                <a:cubicBezTo>
                  <a:pt x="2286987" y="3926984"/>
                  <a:pt x="2286456" y="3927515"/>
                  <a:pt x="2286456" y="3928123"/>
                </a:cubicBezTo>
                <a:cubicBezTo>
                  <a:pt x="2286456" y="3928730"/>
                  <a:pt x="2286987" y="3929262"/>
                  <a:pt x="2287595" y="3929262"/>
                </a:cubicBezTo>
                <a:cubicBezTo>
                  <a:pt x="2288278" y="3929262"/>
                  <a:pt x="2288734" y="3928730"/>
                  <a:pt x="2288734" y="3928123"/>
                </a:cubicBezTo>
                <a:moveTo>
                  <a:pt x="2114284" y="3981741"/>
                </a:moveTo>
                <a:cubicBezTo>
                  <a:pt x="2114284" y="3981438"/>
                  <a:pt x="2114056" y="3981209"/>
                  <a:pt x="2113753" y="3981209"/>
                </a:cubicBezTo>
                <a:cubicBezTo>
                  <a:pt x="2113449" y="3981209"/>
                  <a:pt x="2113221" y="3981438"/>
                  <a:pt x="2113221" y="3981741"/>
                </a:cubicBezTo>
                <a:cubicBezTo>
                  <a:pt x="2113221" y="3982045"/>
                  <a:pt x="2113449" y="3982349"/>
                  <a:pt x="2113753" y="3982349"/>
                </a:cubicBezTo>
                <a:cubicBezTo>
                  <a:pt x="2114056" y="3982349"/>
                  <a:pt x="2114284" y="3982045"/>
                  <a:pt x="2114284" y="3981741"/>
                </a:cubicBezTo>
                <a:moveTo>
                  <a:pt x="1963909" y="4084269"/>
                </a:moveTo>
                <a:cubicBezTo>
                  <a:pt x="1963909" y="4083966"/>
                  <a:pt x="1963682" y="4083738"/>
                  <a:pt x="1963378" y="4083738"/>
                </a:cubicBezTo>
                <a:cubicBezTo>
                  <a:pt x="1963074" y="4083738"/>
                  <a:pt x="1962846" y="4083966"/>
                  <a:pt x="1962846" y="4084269"/>
                </a:cubicBezTo>
                <a:cubicBezTo>
                  <a:pt x="1962846" y="4084573"/>
                  <a:pt x="1963074" y="4084801"/>
                  <a:pt x="1963378" y="4084801"/>
                </a:cubicBezTo>
                <a:cubicBezTo>
                  <a:pt x="1963682" y="4084801"/>
                  <a:pt x="1963909" y="4084573"/>
                  <a:pt x="1963909" y="4084269"/>
                </a:cubicBezTo>
                <a:moveTo>
                  <a:pt x="3015697" y="5039453"/>
                </a:moveTo>
                <a:cubicBezTo>
                  <a:pt x="3015697" y="5039149"/>
                  <a:pt x="3015469" y="5038921"/>
                  <a:pt x="3015166" y="5038921"/>
                </a:cubicBezTo>
                <a:cubicBezTo>
                  <a:pt x="3014862" y="5038921"/>
                  <a:pt x="3014634" y="5039149"/>
                  <a:pt x="3014634" y="5039453"/>
                </a:cubicBezTo>
                <a:cubicBezTo>
                  <a:pt x="3014634" y="5039757"/>
                  <a:pt x="3014862" y="5039985"/>
                  <a:pt x="3015166" y="5039985"/>
                </a:cubicBezTo>
                <a:cubicBezTo>
                  <a:pt x="3015469" y="5039985"/>
                  <a:pt x="3015697" y="5039757"/>
                  <a:pt x="3015697" y="5039453"/>
                </a:cubicBezTo>
                <a:moveTo>
                  <a:pt x="3112682" y="4885053"/>
                </a:moveTo>
                <a:cubicBezTo>
                  <a:pt x="3112682" y="4884749"/>
                  <a:pt x="3112454" y="4884521"/>
                  <a:pt x="3112150" y="4884521"/>
                </a:cubicBezTo>
                <a:cubicBezTo>
                  <a:pt x="3111846" y="4884521"/>
                  <a:pt x="3111618" y="4884749"/>
                  <a:pt x="3111618" y="4885053"/>
                </a:cubicBezTo>
                <a:cubicBezTo>
                  <a:pt x="3111618" y="4885357"/>
                  <a:pt x="3111846" y="4885585"/>
                  <a:pt x="3112150" y="4885585"/>
                </a:cubicBezTo>
                <a:cubicBezTo>
                  <a:pt x="3112454" y="4885585"/>
                  <a:pt x="3112682" y="4885357"/>
                  <a:pt x="3112682" y="4885053"/>
                </a:cubicBezTo>
                <a:moveTo>
                  <a:pt x="3173439" y="4713034"/>
                </a:moveTo>
                <a:cubicBezTo>
                  <a:pt x="3173439" y="4712426"/>
                  <a:pt x="3172907" y="4711894"/>
                  <a:pt x="3172300" y="4711894"/>
                </a:cubicBezTo>
                <a:cubicBezTo>
                  <a:pt x="3171692" y="4711894"/>
                  <a:pt x="3171160" y="4712426"/>
                  <a:pt x="3171160" y="4713034"/>
                </a:cubicBezTo>
                <a:cubicBezTo>
                  <a:pt x="3171160" y="4713641"/>
                  <a:pt x="3171692" y="4714173"/>
                  <a:pt x="3172300" y="4714173"/>
                </a:cubicBezTo>
                <a:cubicBezTo>
                  <a:pt x="3172907" y="4714173"/>
                  <a:pt x="3173439" y="4713641"/>
                  <a:pt x="3173439" y="4713034"/>
                </a:cubicBezTo>
                <a:moveTo>
                  <a:pt x="3194400" y="4531824"/>
                </a:moveTo>
                <a:cubicBezTo>
                  <a:pt x="3194400" y="4530913"/>
                  <a:pt x="3193641" y="4530154"/>
                  <a:pt x="3192730" y="4530154"/>
                </a:cubicBezTo>
                <a:cubicBezTo>
                  <a:pt x="3191818" y="4530154"/>
                  <a:pt x="3191059" y="4530913"/>
                  <a:pt x="3191059" y="4531824"/>
                </a:cubicBezTo>
                <a:cubicBezTo>
                  <a:pt x="3191059" y="4532736"/>
                  <a:pt x="3191818" y="4533495"/>
                  <a:pt x="3192730" y="4533495"/>
                </a:cubicBezTo>
                <a:cubicBezTo>
                  <a:pt x="3193641" y="4533571"/>
                  <a:pt x="3194400" y="4532812"/>
                  <a:pt x="3194400" y="4531824"/>
                </a:cubicBezTo>
                <a:moveTo>
                  <a:pt x="3174578" y="4350691"/>
                </a:moveTo>
                <a:cubicBezTo>
                  <a:pt x="3174578" y="4349476"/>
                  <a:pt x="3173591" y="4348413"/>
                  <a:pt x="3172300" y="4348413"/>
                </a:cubicBezTo>
                <a:cubicBezTo>
                  <a:pt x="3171085" y="4348413"/>
                  <a:pt x="3170021" y="4349400"/>
                  <a:pt x="3170021" y="4350691"/>
                </a:cubicBezTo>
                <a:cubicBezTo>
                  <a:pt x="3170021" y="4351906"/>
                  <a:pt x="3171009" y="4352969"/>
                  <a:pt x="3172300" y="4352969"/>
                </a:cubicBezTo>
                <a:cubicBezTo>
                  <a:pt x="3173515" y="4352969"/>
                  <a:pt x="3174578" y="4351982"/>
                  <a:pt x="3174578" y="4350691"/>
                </a:cubicBezTo>
                <a:moveTo>
                  <a:pt x="3114884" y="4178671"/>
                </a:moveTo>
                <a:cubicBezTo>
                  <a:pt x="3114884" y="4177077"/>
                  <a:pt x="3113593" y="4175861"/>
                  <a:pt x="3112074" y="4175861"/>
                </a:cubicBezTo>
                <a:cubicBezTo>
                  <a:pt x="3110555" y="4175861"/>
                  <a:pt x="3109264" y="4177153"/>
                  <a:pt x="3109264" y="4178671"/>
                </a:cubicBezTo>
                <a:cubicBezTo>
                  <a:pt x="3109264" y="4180190"/>
                  <a:pt x="3110555" y="4181481"/>
                  <a:pt x="3112074" y="4181481"/>
                </a:cubicBezTo>
                <a:cubicBezTo>
                  <a:pt x="3113669" y="4181481"/>
                  <a:pt x="3114884" y="4180190"/>
                  <a:pt x="3114884" y="4178671"/>
                </a:cubicBezTo>
                <a:moveTo>
                  <a:pt x="3017900" y="4024272"/>
                </a:moveTo>
                <a:cubicBezTo>
                  <a:pt x="3017900" y="4022753"/>
                  <a:pt x="3016609" y="4021462"/>
                  <a:pt x="3015090" y="4021462"/>
                </a:cubicBezTo>
                <a:cubicBezTo>
                  <a:pt x="3013495" y="4021462"/>
                  <a:pt x="3012280" y="4022753"/>
                  <a:pt x="3012280" y="4024272"/>
                </a:cubicBezTo>
                <a:cubicBezTo>
                  <a:pt x="3012280" y="4025866"/>
                  <a:pt x="3013571" y="4027082"/>
                  <a:pt x="3015090" y="4027082"/>
                </a:cubicBezTo>
                <a:cubicBezTo>
                  <a:pt x="3016685" y="4027082"/>
                  <a:pt x="3017900" y="4025866"/>
                  <a:pt x="3017900" y="4024272"/>
                </a:cubicBezTo>
                <a:moveTo>
                  <a:pt x="2889018" y="3895390"/>
                </a:moveTo>
                <a:cubicBezTo>
                  <a:pt x="2889018" y="3893795"/>
                  <a:pt x="2887727" y="3892580"/>
                  <a:pt x="2886208" y="3892580"/>
                </a:cubicBezTo>
                <a:cubicBezTo>
                  <a:pt x="2884613" y="3892580"/>
                  <a:pt x="2883398" y="3893871"/>
                  <a:pt x="2883398" y="3895390"/>
                </a:cubicBezTo>
                <a:cubicBezTo>
                  <a:pt x="2883398" y="3896909"/>
                  <a:pt x="2884689" y="3898200"/>
                  <a:pt x="2886208" y="3898200"/>
                </a:cubicBezTo>
                <a:cubicBezTo>
                  <a:pt x="2887727" y="3898200"/>
                  <a:pt x="2889018" y="3896909"/>
                  <a:pt x="2889018" y="3895390"/>
                </a:cubicBezTo>
                <a:moveTo>
                  <a:pt x="2734694" y="3798406"/>
                </a:moveTo>
                <a:cubicBezTo>
                  <a:pt x="2734694" y="3796887"/>
                  <a:pt x="2733403" y="3795596"/>
                  <a:pt x="2731884" y="3795596"/>
                </a:cubicBezTo>
                <a:cubicBezTo>
                  <a:pt x="2730365" y="3795596"/>
                  <a:pt x="2729074" y="3796887"/>
                  <a:pt x="2729074" y="3798406"/>
                </a:cubicBezTo>
                <a:cubicBezTo>
                  <a:pt x="2729074" y="3800000"/>
                  <a:pt x="2730365" y="3801216"/>
                  <a:pt x="2731884" y="3801216"/>
                </a:cubicBezTo>
                <a:cubicBezTo>
                  <a:pt x="2733403" y="3801216"/>
                  <a:pt x="2734694" y="3799925"/>
                  <a:pt x="2734694" y="3798406"/>
                </a:cubicBezTo>
                <a:moveTo>
                  <a:pt x="2562067" y="3738180"/>
                </a:moveTo>
                <a:cubicBezTo>
                  <a:pt x="2562067" y="3736965"/>
                  <a:pt x="2561080" y="3735901"/>
                  <a:pt x="2559788" y="3735901"/>
                </a:cubicBezTo>
                <a:cubicBezTo>
                  <a:pt x="2558497" y="3735901"/>
                  <a:pt x="2557510" y="3736889"/>
                  <a:pt x="2557510" y="3738180"/>
                </a:cubicBezTo>
                <a:cubicBezTo>
                  <a:pt x="2557510" y="3739395"/>
                  <a:pt x="2558497" y="3740458"/>
                  <a:pt x="2559788" y="3740458"/>
                </a:cubicBezTo>
                <a:cubicBezTo>
                  <a:pt x="2561080" y="3740458"/>
                  <a:pt x="2562067" y="3739471"/>
                  <a:pt x="2562067" y="3738180"/>
                </a:cubicBezTo>
                <a:moveTo>
                  <a:pt x="2380326" y="3717750"/>
                </a:moveTo>
                <a:cubicBezTo>
                  <a:pt x="2380326" y="3716839"/>
                  <a:pt x="2379567" y="3716079"/>
                  <a:pt x="2378655" y="3716079"/>
                </a:cubicBezTo>
                <a:cubicBezTo>
                  <a:pt x="2377744" y="3716079"/>
                  <a:pt x="2376984" y="3716839"/>
                  <a:pt x="2376984" y="3717750"/>
                </a:cubicBezTo>
                <a:cubicBezTo>
                  <a:pt x="2376984" y="3718661"/>
                  <a:pt x="2377744" y="3719421"/>
                  <a:pt x="2378655" y="3719421"/>
                </a:cubicBezTo>
                <a:cubicBezTo>
                  <a:pt x="2379567" y="3719497"/>
                  <a:pt x="2380326" y="3718737"/>
                  <a:pt x="2380326" y="3717750"/>
                </a:cubicBezTo>
                <a:moveTo>
                  <a:pt x="2198585" y="3738180"/>
                </a:moveTo>
                <a:cubicBezTo>
                  <a:pt x="2198585" y="3737572"/>
                  <a:pt x="2198054" y="3737041"/>
                  <a:pt x="2197446" y="3737041"/>
                </a:cubicBezTo>
                <a:cubicBezTo>
                  <a:pt x="2196839" y="3737041"/>
                  <a:pt x="2196307" y="3737572"/>
                  <a:pt x="2196307" y="3738180"/>
                </a:cubicBezTo>
                <a:cubicBezTo>
                  <a:pt x="2196307" y="3738787"/>
                  <a:pt x="2196839" y="3739319"/>
                  <a:pt x="2197446" y="3739319"/>
                </a:cubicBezTo>
                <a:cubicBezTo>
                  <a:pt x="2198130" y="3739319"/>
                  <a:pt x="2198585" y="3738787"/>
                  <a:pt x="2198585" y="3738180"/>
                </a:cubicBezTo>
                <a:moveTo>
                  <a:pt x="2025958" y="3798406"/>
                </a:moveTo>
                <a:cubicBezTo>
                  <a:pt x="2025958" y="3798102"/>
                  <a:pt x="2025730" y="3797874"/>
                  <a:pt x="2025426" y="3797874"/>
                </a:cubicBezTo>
                <a:cubicBezTo>
                  <a:pt x="2025123" y="3797874"/>
                  <a:pt x="2024895" y="3798102"/>
                  <a:pt x="2024895" y="3798406"/>
                </a:cubicBezTo>
                <a:cubicBezTo>
                  <a:pt x="2024895" y="3798709"/>
                  <a:pt x="2025123" y="3798937"/>
                  <a:pt x="2025426" y="3798937"/>
                </a:cubicBezTo>
                <a:cubicBezTo>
                  <a:pt x="2025730" y="3798937"/>
                  <a:pt x="2025958" y="3798709"/>
                  <a:pt x="2025958" y="3798406"/>
                </a:cubicBezTo>
                <a:moveTo>
                  <a:pt x="1871634" y="3895390"/>
                </a:moveTo>
                <a:cubicBezTo>
                  <a:pt x="1871634" y="3895086"/>
                  <a:pt x="1871406" y="3894858"/>
                  <a:pt x="1871102" y="3894858"/>
                </a:cubicBezTo>
                <a:cubicBezTo>
                  <a:pt x="1870799" y="3894858"/>
                  <a:pt x="1870571" y="3895086"/>
                  <a:pt x="1870571" y="3895390"/>
                </a:cubicBezTo>
                <a:cubicBezTo>
                  <a:pt x="1870571" y="3895694"/>
                  <a:pt x="1870799" y="3895921"/>
                  <a:pt x="1871102" y="3895921"/>
                </a:cubicBezTo>
                <a:cubicBezTo>
                  <a:pt x="1871406" y="3895921"/>
                  <a:pt x="1871634" y="3895694"/>
                  <a:pt x="1871634" y="3895390"/>
                </a:cubicBezTo>
                <a:moveTo>
                  <a:pt x="3174806" y="5166284"/>
                </a:moveTo>
                <a:cubicBezTo>
                  <a:pt x="3174806" y="5165980"/>
                  <a:pt x="3174578" y="5165753"/>
                  <a:pt x="3174274" y="5165753"/>
                </a:cubicBezTo>
                <a:cubicBezTo>
                  <a:pt x="3173971" y="5165753"/>
                  <a:pt x="3173743" y="5165980"/>
                  <a:pt x="3173743" y="5166284"/>
                </a:cubicBezTo>
                <a:cubicBezTo>
                  <a:pt x="3173743" y="5166588"/>
                  <a:pt x="3173971" y="5166816"/>
                  <a:pt x="3174274" y="5166816"/>
                </a:cubicBezTo>
                <a:cubicBezTo>
                  <a:pt x="3174578" y="5166816"/>
                  <a:pt x="3174806" y="5166664"/>
                  <a:pt x="3174806" y="5166284"/>
                </a:cubicBezTo>
                <a:moveTo>
                  <a:pt x="3275815" y="5014087"/>
                </a:moveTo>
                <a:cubicBezTo>
                  <a:pt x="3275815" y="5013479"/>
                  <a:pt x="3275284" y="5012948"/>
                  <a:pt x="3274676" y="5012948"/>
                </a:cubicBezTo>
                <a:cubicBezTo>
                  <a:pt x="3274069" y="5012948"/>
                  <a:pt x="3273537" y="5013479"/>
                  <a:pt x="3273537" y="5014087"/>
                </a:cubicBezTo>
                <a:cubicBezTo>
                  <a:pt x="3273537" y="5014694"/>
                  <a:pt x="3274069" y="5015226"/>
                  <a:pt x="3274676" y="5015226"/>
                </a:cubicBezTo>
                <a:cubicBezTo>
                  <a:pt x="3275284" y="5015226"/>
                  <a:pt x="3275815" y="5014694"/>
                  <a:pt x="3275815" y="5014087"/>
                </a:cubicBezTo>
                <a:moveTo>
                  <a:pt x="3347585" y="4846320"/>
                </a:moveTo>
                <a:cubicBezTo>
                  <a:pt x="3347585" y="4845713"/>
                  <a:pt x="3347053" y="4845181"/>
                  <a:pt x="3346446" y="4845181"/>
                </a:cubicBezTo>
                <a:cubicBezTo>
                  <a:pt x="3345838" y="4845181"/>
                  <a:pt x="3345307" y="4845713"/>
                  <a:pt x="3345307" y="4846320"/>
                </a:cubicBezTo>
                <a:cubicBezTo>
                  <a:pt x="3345307" y="4846928"/>
                  <a:pt x="3345838" y="4847459"/>
                  <a:pt x="3346446" y="4847459"/>
                </a:cubicBezTo>
                <a:cubicBezTo>
                  <a:pt x="3347053" y="4847459"/>
                  <a:pt x="3347585" y="4846928"/>
                  <a:pt x="3347585" y="4846320"/>
                </a:cubicBezTo>
                <a:moveTo>
                  <a:pt x="3389280" y="4668453"/>
                </a:moveTo>
                <a:cubicBezTo>
                  <a:pt x="3389280" y="4667238"/>
                  <a:pt x="3388293" y="4666174"/>
                  <a:pt x="3387001" y="4666174"/>
                </a:cubicBezTo>
                <a:cubicBezTo>
                  <a:pt x="3385786" y="4666174"/>
                  <a:pt x="3384723" y="4667162"/>
                  <a:pt x="3384723" y="4668453"/>
                </a:cubicBezTo>
                <a:cubicBezTo>
                  <a:pt x="3384723" y="4669668"/>
                  <a:pt x="3385710" y="4670731"/>
                  <a:pt x="3387001" y="4670731"/>
                </a:cubicBezTo>
                <a:cubicBezTo>
                  <a:pt x="3388293" y="4670731"/>
                  <a:pt x="3389280" y="4669668"/>
                  <a:pt x="3389280" y="4668453"/>
                </a:cubicBezTo>
                <a:moveTo>
                  <a:pt x="3398014" y="4486181"/>
                </a:moveTo>
                <a:cubicBezTo>
                  <a:pt x="3398014" y="4484661"/>
                  <a:pt x="3396723" y="4483370"/>
                  <a:pt x="3395204" y="4483370"/>
                </a:cubicBezTo>
                <a:cubicBezTo>
                  <a:pt x="3393685" y="4483370"/>
                  <a:pt x="3392394" y="4484661"/>
                  <a:pt x="3392394" y="4486181"/>
                </a:cubicBezTo>
                <a:cubicBezTo>
                  <a:pt x="3392394" y="4487775"/>
                  <a:pt x="3393685" y="4488991"/>
                  <a:pt x="3395204" y="4488991"/>
                </a:cubicBezTo>
                <a:cubicBezTo>
                  <a:pt x="3396723" y="4488991"/>
                  <a:pt x="3398014" y="4487775"/>
                  <a:pt x="3398014" y="4486181"/>
                </a:cubicBezTo>
                <a:moveTo>
                  <a:pt x="3374090" y="4305427"/>
                </a:moveTo>
                <a:cubicBezTo>
                  <a:pt x="3374090" y="4303528"/>
                  <a:pt x="3372572" y="4302009"/>
                  <a:pt x="3370673" y="4302009"/>
                </a:cubicBezTo>
                <a:cubicBezTo>
                  <a:pt x="3368774" y="4302009"/>
                  <a:pt x="3367255" y="4303528"/>
                  <a:pt x="3367255" y="4305427"/>
                </a:cubicBezTo>
                <a:cubicBezTo>
                  <a:pt x="3367255" y="4307325"/>
                  <a:pt x="3368774" y="4308844"/>
                  <a:pt x="3370673" y="4308844"/>
                </a:cubicBezTo>
                <a:cubicBezTo>
                  <a:pt x="3372572" y="4308844"/>
                  <a:pt x="3374090" y="4307325"/>
                  <a:pt x="3374090" y="4305427"/>
                </a:cubicBezTo>
                <a:moveTo>
                  <a:pt x="3318270" y="4131888"/>
                </a:moveTo>
                <a:cubicBezTo>
                  <a:pt x="3318270" y="4129686"/>
                  <a:pt x="3316523" y="4127939"/>
                  <a:pt x="3314320" y="4127939"/>
                </a:cubicBezTo>
                <a:cubicBezTo>
                  <a:pt x="3312118" y="4127939"/>
                  <a:pt x="3310371" y="4129686"/>
                  <a:pt x="3310371" y="4131888"/>
                </a:cubicBezTo>
                <a:cubicBezTo>
                  <a:pt x="3310371" y="4134090"/>
                  <a:pt x="3312118" y="4135838"/>
                  <a:pt x="3314320" y="4135838"/>
                </a:cubicBezTo>
                <a:cubicBezTo>
                  <a:pt x="3316523" y="4135838"/>
                  <a:pt x="3318270" y="4134090"/>
                  <a:pt x="3318270" y="4131888"/>
                </a:cubicBezTo>
                <a:moveTo>
                  <a:pt x="3231842" y="3971260"/>
                </a:moveTo>
                <a:cubicBezTo>
                  <a:pt x="3231842" y="3969058"/>
                  <a:pt x="3230095" y="3967312"/>
                  <a:pt x="3227893" y="3967312"/>
                </a:cubicBezTo>
                <a:cubicBezTo>
                  <a:pt x="3225690" y="3967312"/>
                  <a:pt x="3223944" y="3969058"/>
                  <a:pt x="3223944" y="3971260"/>
                </a:cubicBezTo>
                <a:cubicBezTo>
                  <a:pt x="3223944" y="3973463"/>
                  <a:pt x="3225690" y="3975210"/>
                  <a:pt x="3227893" y="3975210"/>
                </a:cubicBezTo>
                <a:cubicBezTo>
                  <a:pt x="3230095" y="3975210"/>
                  <a:pt x="3231842" y="3973463"/>
                  <a:pt x="3231842" y="3971260"/>
                </a:cubicBezTo>
                <a:moveTo>
                  <a:pt x="3118681" y="3828632"/>
                </a:moveTo>
                <a:cubicBezTo>
                  <a:pt x="3118681" y="3826126"/>
                  <a:pt x="3116631" y="3824152"/>
                  <a:pt x="3114125" y="3824152"/>
                </a:cubicBezTo>
                <a:cubicBezTo>
                  <a:pt x="3111618" y="3824152"/>
                  <a:pt x="3109644" y="3826202"/>
                  <a:pt x="3109644" y="3828632"/>
                </a:cubicBezTo>
                <a:cubicBezTo>
                  <a:pt x="3109644" y="3831139"/>
                  <a:pt x="3111694" y="3833113"/>
                  <a:pt x="3114125" y="3833113"/>
                </a:cubicBezTo>
                <a:cubicBezTo>
                  <a:pt x="3116631" y="3833113"/>
                  <a:pt x="3118681" y="3831139"/>
                  <a:pt x="3118681" y="3828632"/>
                </a:cubicBezTo>
                <a:moveTo>
                  <a:pt x="2981293" y="3708636"/>
                </a:moveTo>
                <a:cubicBezTo>
                  <a:pt x="2981293" y="3706130"/>
                  <a:pt x="2979243" y="3704156"/>
                  <a:pt x="2976737" y="3704156"/>
                </a:cubicBezTo>
                <a:cubicBezTo>
                  <a:pt x="2974230" y="3704156"/>
                  <a:pt x="2972256" y="3706206"/>
                  <a:pt x="2972256" y="3708636"/>
                </a:cubicBezTo>
                <a:cubicBezTo>
                  <a:pt x="2972256" y="3711143"/>
                  <a:pt x="2974306" y="3713193"/>
                  <a:pt x="2976737" y="3713193"/>
                </a:cubicBezTo>
                <a:cubicBezTo>
                  <a:pt x="2979167" y="3713193"/>
                  <a:pt x="2981293" y="3711067"/>
                  <a:pt x="2981293" y="3708636"/>
                </a:cubicBezTo>
                <a:moveTo>
                  <a:pt x="2824084" y="3615070"/>
                </a:moveTo>
                <a:cubicBezTo>
                  <a:pt x="2824084" y="3612867"/>
                  <a:pt x="2822337" y="3611121"/>
                  <a:pt x="2820134" y="3611121"/>
                </a:cubicBezTo>
                <a:cubicBezTo>
                  <a:pt x="2817932" y="3611121"/>
                  <a:pt x="2816185" y="3612867"/>
                  <a:pt x="2816185" y="3615070"/>
                </a:cubicBezTo>
                <a:cubicBezTo>
                  <a:pt x="2816185" y="3617272"/>
                  <a:pt x="2817932" y="3619019"/>
                  <a:pt x="2820134" y="3619019"/>
                </a:cubicBezTo>
                <a:cubicBezTo>
                  <a:pt x="2822337" y="3619019"/>
                  <a:pt x="2824084" y="3617197"/>
                  <a:pt x="2824084" y="3615070"/>
                </a:cubicBezTo>
                <a:moveTo>
                  <a:pt x="2652747" y="3550895"/>
                </a:moveTo>
                <a:cubicBezTo>
                  <a:pt x="2652747" y="3548996"/>
                  <a:pt x="2651228" y="3547477"/>
                  <a:pt x="2649330" y="3547477"/>
                </a:cubicBezTo>
                <a:cubicBezTo>
                  <a:pt x="2647431" y="3547477"/>
                  <a:pt x="2645912" y="3548996"/>
                  <a:pt x="2645912" y="3550895"/>
                </a:cubicBezTo>
                <a:cubicBezTo>
                  <a:pt x="2645912" y="3552793"/>
                  <a:pt x="2647431" y="3554313"/>
                  <a:pt x="2649330" y="3554313"/>
                </a:cubicBezTo>
                <a:cubicBezTo>
                  <a:pt x="2651228" y="3554313"/>
                  <a:pt x="2652747" y="3552793"/>
                  <a:pt x="2652747" y="3550895"/>
                </a:cubicBezTo>
                <a:moveTo>
                  <a:pt x="2472677" y="3518390"/>
                </a:moveTo>
                <a:cubicBezTo>
                  <a:pt x="2472677" y="3516795"/>
                  <a:pt x="2471386" y="3515580"/>
                  <a:pt x="2469867" y="3515580"/>
                </a:cubicBezTo>
                <a:cubicBezTo>
                  <a:pt x="2468273" y="3515580"/>
                  <a:pt x="2467057" y="3516871"/>
                  <a:pt x="2467057" y="3518390"/>
                </a:cubicBezTo>
                <a:cubicBezTo>
                  <a:pt x="2467057" y="3519984"/>
                  <a:pt x="2468349" y="3521200"/>
                  <a:pt x="2469867" y="3521200"/>
                </a:cubicBezTo>
                <a:cubicBezTo>
                  <a:pt x="2471386" y="3521200"/>
                  <a:pt x="2472677" y="3519908"/>
                  <a:pt x="2472677" y="3518390"/>
                </a:cubicBezTo>
                <a:moveTo>
                  <a:pt x="2289646" y="3518390"/>
                </a:moveTo>
                <a:cubicBezTo>
                  <a:pt x="2289646" y="3517174"/>
                  <a:pt x="2288658" y="3516111"/>
                  <a:pt x="2287367" y="3516111"/>
                </a:cubicBezTo>
                <a:cubicBezTo>
                  <a:pt x="2286076" y="3516111"/>
                  <a:pt x="2285089" y="3517098"/>
                  <a:pt x="2285089" y="3518390"/>
                </a:cubicBezTo>
                <a:cubicBezTo>
                  <a:pt x="2285089" y="3519605"/>
                  <a:pt x="2286076" y="3520668"/>
                  <a:pt x="2287367" y="3520668"/>
                </a:cubicBezTo>
                <a:cubicBezTo>
                  <a:pt x="2288658" y="3520668"/>
                  <a:pt x="2289646" y="3519605"/>
                  <a:pt x="2289646" y="3518390"/>
                </a:cubicBezTo>
                <a:moveTo>
                  <a:pt x="2109575" y="3550895"/>
                </a:moveTo>
                <a:cubicBezTo>
                  <a:pt x="2109575" y="3549984"/>
                  <a:pt x="2108816" y="3549224"/>
                  <a:pt x="2107905" y="3549224"/>
                </a:cubicBezTo>
                <a:cubicBezTo>
                  <a:pt x="2106993" y="3549224"/>
                  <a:pt x="2106234" y="3549984"/>
                  <a:pt x="2106234" y="3550895"/>
                </a:cubicBezTo>
                <a:cubicBezTo>
                  <a:pt x="2106234" y="3551806"/>
                  <a:pt x="2106993" y="3552566"/>
                  <a:pt x="2107905" y="3552566"/>
                </a:cubicBezTo>
                <a:cubicBezTo>
                  <a:pt x="2108816" y="3552642"/>
                  <a:pt x="2109575" y="3551882"/>
                  <a:pt x="2109575" y="3550895"/>
                </a:cubicBezTo>
                <a:moveTo>
                  <a:pt x="1938239" y="3615070"/>
                </a:moveTo>
                <a:cubicBezTo>
                  <a:pt x="1938239" y="3614462"/>
                  <a:pt x="1937708" y="3613931"/>
                  <a:pt x="1937100" y="3613931"/>
                </a:cubicBezTo>
                <a:cubicBezTo>
                  <a:pt x="1936493" y="3613931"/>
                  <a:pt x="1935961" y="3614462"/>
                  <a:pt x="1935961" y="3615070"/>
                </a:cubicBezTo>
                <a:cubicBezTo>
                  <a:pt x="1935961" y="3615677"/>
                  <a:pt x="1936493" y="3616209"/>
                  <a:pt x="1937100" y="3616209"/>
                </a:cubicBezTo>
                <a:cubicBezTo>
                  <a:pt x="1937708" y="3616133"/>
                  <a:pt x="1938239" y="3615677"/>
                  <a:pt x="1938239" y="3615070"/>
                </a:cubicBezTo>
                <a:moveTo>
                  <a:pt x="1781029" y="3708636"/>
                </a:moveTo>
                <a:cubicBezTo>
                  <a:pt x="1781029" y="3708333"/>
                  <a:pt x="1780802" y="3708105"/>
                  <a:pt x="1780498" y="3708105"/>
                </a:cubicBezTo>
                <a:cubicBezTo>
                  <a:pt x="1780194" y="3708105"/>
                  <a:pt x="1779966" y="3708333"/>
                  <a:pt x="1779966" y="3708636"/>
                </a:cubicBezTo>
                <a:cubicBezTo>
                  <a:pt x="1779966" y="3708940"/>
                  <a:pt x="1780194" y="3709168"/>
                  <a:pt x="1780498" y="3709168"/>
                </a:cubicBezTo>
                <a:cubicBezTo>
                  <a:pt x="1780802" y="3709168"/>
                  <a:pt x="1781029" y="3708940"/>
                  <a:pt x="1781029" y="3708636"/>
                </a:cubicBezTo>
                <a:moveTo>
                  <a:pt x="3333915" y="5293191"/>
                </a:moveTo>
                <a:cubicBezTo>
                  <a:pt x="3333915" y="5292888"/>
                  <a:pt x="3333687" y="5292584"/>
                  <a:pt x="3333383" y="5292584"/>
                </a:cubicBezTo>
                <a:cubicBezTo>
                  <a:pt x="3333079" y="5292584"/>
                  <a:pt x="3332851" y="5292812"/>
                  <a:pt x="3332851" y="5293191"/>
                </a:cubicBezTo>
                <a:cubicBezTo>
                  <a:pt x="3332851" y="5293495"/>
                  <a:pt x="3333079" y="5293723"/>
                  <a:pt x="3333383" y="5293723"/>
                </a:cubicBezTo>
                <a:cubicBezTo>
                  <a:pt x="3333687" y="5293723"/>
                  <a:pt x="3333915" y="5293495"/>
                  <a:pt x="3333915" y="5293191"/>
                </a:cubicBezTo>
                <a:moveTo>
                  <a:pt x="3437278" y="5142437"/>
                </a:moveTo>
                <a:cubicBezTo>
                  <a:pt x="3437278" y="5141829"/>
                  <a:pt x="3436747" y="5141298"/>
                  <a:pt x="3436139" y="5141298"/>
                </a:cubicBezTo>
                <a:cubicBezTo>
                  <a:pt x="3435531" y="5141298"/>
                  <a:pt x="3435000" y="5141829"/>
                  <a:pt x="3435000" y="5142437"/>
                </a:cubicBezTo>
                <a:cubicBezTo>
                  <a:pt x="3435000" y="5143045"/>
                  <a:pt x="3435531" y="5143576"/>
                  <a:pt x="3436139" y="5143576"/>
                </a:cubicBezTo>
                <a:cubicBezTo>
                  <a:pt x="3436747" y="5143576"/>
                  <a:pt x="3437278" y="5143045"/>
                  <a:pt x="3437278" y="5142437"/>
                </a:cubicBezTo>
                <a:moveTo>
                  <a:pt x="3517022" y="4978012"/>
                </a:moveTo>
                <a:cubicBezTo>
                  <a:pt x="3517022" y="4977101"/>
                  <a:pt x="3516263" y="4976341"/>
                  <a:pt x="3515352" y="4976341"/>
                </a:cubicBezTo>
                <a:cubicBezTo>
                  <a:pt x="3514440" y="4976341"/>
                  <a:pt x="3513681" y="4977101"/>
                  <a:pt x="3513681" y="4978012"/>
                </a:cubicBezTo>
                <a:cubicBezTo>
                  <a:pt x="3513681" y="4978923"/>
                  <a:pt x="3514440" y="4979683"/>
                  <a:pt x="3515352" y="4979683"/>
                </a:cubicBezTo>
                <a:cubicBezTo>
                  <a:pt x="3516263" y="4979683"/>
                  <a:pt x="3517022" y="4978923"/>
                  <a:pt x="3517022" y="4978012"/>
                </a:cubicBezTo>
                <a:moveTo>
                  <a:pt x="3571400" y="4803562"/>
                </a:moveTo>
                <a:cubicBezTo>
                  <a:pt x="3571400" y="4802347"/>
                  <a:pt x="3570413" y="4801284"/>
                  <a:pt x="3569122" y="4801284"/>
                </a:cubicBezTo>
                <a:cubicBezTo>
                  <a:pt x="3567907" y="4801284"/>
                  <a:pt x="3566844" y="4802271"/>
                  <a:pt x="3566844" y="4803562"/>
                </a:cubicBezTo>
                <a:cubicBezTo>
                  <a:pt x="3566844" y="4804777"/>
                  <a:pt x="3567831" y="4805841"/>
                  <a:pt x="3569122" y="4805841"/>
                </a:cubicBezTo>
                <a:cubicBezTo>
                  <a:pt x="3570337" y="4805841"/>
                  <a:pt x="3571400" y="4804853"/>
                  <a:pt x="3571400" y="4803562"/>
                </a:cubicBezTo>
                <a:moveTo>
                  <a:pt x="3599121" y="4623112"/>
                </a:moveTo>
                <a:cubicBezTo>
                  <a:pt x="3599121" y="4621593"/>
                  <a:pt x="3597830" y="4620302"/>
                  <a:pt x="3596311" y="4620302"/>
                </a:cubicBezTo>
                <a:cubicBezTo>
                  <a:pt x="3594792" y="4620302"/>
                  <a:pt x="3593501" y="4621593"/>
                  <a:pt x="3593501" y="4623112"/>
                </a:cubicBezTo>
                <a:cubicBezTo>
                  <a:pt x="3593501" y="4624707"/>
                  <a:pt x="3594792" y="4625922"/>
                  <a:pt x="3596311" y="4625922"/>
                </a:cubicBezTo>
                <a:cubicBezTo>
                  <a:pt x="3597906" y="4625922"/>
                  <a:pt x="3599121" y="4624631"/>
                  <a:pt x="3599121" y="4623112"/>
                </a:cubicBezTo>
                <a:moveTo>
                  <a:pt x="3600260" y="4440612"/>
                </a:moveTo>
                <a:cubicBezTo>
                  <a:pt x="3600260" y="4438410"/>
                  <a:pt x="3598513" y="4436663"/>
                  <a:pt x="3596311" y="4436663"/>
                </a:cubicBezTo>
                <a:cubicBezTo>
                  <a:pt x="3594108" y="4436663"/>
                  <a:pt x="3592362" y="4438410"/>
                  <a:pt x="3592362" y="4440612"/>
                </a:cubicBezTo>
                <a:cubicBezTo>
                  <a:pt x="3592362" y="4442815"/>
                  <a:pt x="3594108" y="4444561"/>
                  <a:pt x="3596311" y="4444561"/>
                </a:cubicBezTo>
                <a:cubicBezTo>
                  <a:pt x="3598513" y="4444561"/>
                  <a:pt x="3600260" y="4442815"/>
                  <a:pt x="3600260" y="4440612"/>
                </a:cubicBezTo>
                <a:moveTo>
                  <a:pt x="3573679" y="4260163"/>
                </a:moveTo>
                <a:cubicBezTo>
                  <a:pt x="3573679" y="4257656"/>
                  <a:pt x="3571628" y="4255682"/>
                  <a:pt x="3569122" y="4255682"/>
                </a:cubicBezTo>
                <a:cubicBezTo>
                  <a:pt x="3566616" y="4255682"/>
                  <a:pt x="3564641" y="4257732"/>
                  <a:pt x="3564641" y="4260163"/>
                </a:cubicBezTo>
                <a:cubicBezTo>
                  <a:pt x="3564641" y="4262669"/>
                  <a:pt x="3566692" y="4264719"/>
                  <a:pt x="3569122" y="4264719"/>
                </a:cubicBezTo>
                <a:cubicBezTo>
                  <a:pt x="3571628" y="4264643"/>
                  <a:pt x="3573679" y="4262593"/>
                  <a:pt x="3573679" y="4260163"/>
                </a:cubicBezTo>
                <a:moveTo>
                  <a:pt x="3520440" y="4085712"/>
                </a:moveTo>
                <a:cubicBezTo>
                  <a:pt x="3520440" y="4082902"/>
                  <a:pt x="3518162" y="4080624"/>
                  <a:pt x="3515352" y="4080624"/>
                </a:cubicBezTo>
                <a:cubicBezTo>
                  <a:pt x="3512542" y="4080624"/>
                  <a:pt x="3510263" y="4082902"/>
                  <a:pt x="3510263" y="4085712"/>
                </a:cubicBezTo>
                <a:cubicBezTo>
                  <a:pt x="3510263" y="4088522"/>
                  <a:pt x="3512542" y="4090801"/>
                  <a:pt x="3515352" y="4090801"/>
                </a:cubicBezTo>
                <a:cubicBezTo>
                  <a:pt x="3518162" y="4090801"/>
                  <a:pt x="3520440" y="4088522"/>
                  <a:pt x="3520440" y="4085712"/>
                </a:cubicBezTo>
                <a:moveTo>
                  <a:pt x="3441759" y="3921288"/>
                </a:moveTo>
                <a:cubicBezTo>
                  <a:pt x="3441759" y="3918174"/>
                  <a:pt x="3439253" y="3915667"/>
                  <a:pt x="3436139" y="3915667"/>
                </a:cubicBezTo>
                <a:cubicBezTo>
                  <a:pt x="3433025" y="3915667"/>
                  <a:pt x="3430519" y="3918174"/>
                  <a:pt x="3430519" y="3921288"/>
                </a:cubicBezTo>
                <a:cubicBezTo>
                  <a:pt x="3430519" y="3924401"/>
                  <a:pt x="3433025" y="3926908"/>
                  <a:pt x="3436139" y="3926908"/>
                </a:cubicBezTo>
                <a:cubicBezTo>
                  <a:pt x="3439253" y="3926908"/>
                  <a:pt x="3441759" y="3924401"/>
                  <a:pt x="3441759" y="3921288"/>
                </a:cubicBezTo>
                <a:moveTo>
                  <a:pt x="3339003" y="3770533"/>
                </a:moveTo>
                <a:cubicBezTo>
                  <a:pt x="3339003" y="3767419"/>
                  <a:pt x="3336497" y="3764913"/>
                  <a:pt x="3333383" y="3764913"/>
                </a:cubicBezTo>
                <a:cubicBezTo>
                  <a:pt x="3330269" y="3764913"/>
                  <a:pt x="3327763" y="3767419"/>
                  <a:pt x="3327763" y="3770533"/>
                </a:cubicBezTo>
                <a:cubicBezTo>
                  <a:pt x="3327763" y="3773647"/>
                  <a:pt x="3330269" y="3776153"/>
                  <a:pt x="3333383" y="3776153"/>
                </a:cubicBezTo>
                <a:cubicBezTo>
                  <a:pt x="3336497" y="3776153"/>
                  <a:pt x="3339003" y="3773647"/>
                  <a:pt x="3339003" y="3770533"/>
                </a:cubicBezTo>
                <a:moveTo>
                  <a:pt x="3214830" y="3636715"/>
                </a:moveTo>
                <a:cubicBezTo>
                  <a:pt x="3214830" y="3633601"/>
                  <a:pt x="3212324" y="3631095"/>
                  <a:pt x="3209210" y="3631095"/>
                </a:cubicBezTo>
                <a:cubicBezTo>
                  <a:pt x="3206096" y="3631095"/>
                  <a:pt x="3203590" y="3633601"/>
                  <a:pt x="3203590" y="3636715"/>
                </a:cubicBezTo>
                <a:cubicBezTo>
                  <a:pt x="3203590" y="3639829"/>
                  <a:pt x="3206096" y="3642335"/>
                  <a:pt x="3209210" y="3642335"/>
                </a:cubicBezTo>
                <a:cubicBezTo>
                  <a:pt x="3212324" y="3642335"/>
                  <a:pt x="3214830" y="3639829"/>
                  <a:pt x="3214830" y="3636715"/>
                </a:cubicBezTo>
                <a:moveTo>
                  <a:pt x="3072126" y="3522946"/>
                </a:moveTo>
                <a:cubicBezTo>
                  <a:pt x="3072126" y="3519833"/>
                  <a:pt x="3069620" y="3517326"/>
                  <a:pt x="3066506" y="3517326"/>
                </a:cubicBezTo>
                <a:cubicBezTo>
                  <a:pt x="3063392" y="3517326"/>
                  <a:pt x="3060886" y="3519833"/>
                  <a:pt x="3060886" y="3522946"/>
                </a:cubicBezTo>
                <a:cubicBezTo>
                  <a:pt x="3060886" y="3526060"/>
                  <a:pt x="3063392" y="3528566"/>
                  <a:pt x="3066506" y="3528566"/>
                </a:cubicBezTo>
                <a:cubicBezTo>
                  <a:pt x="3069620" y="3528566"/>
                  <a:pt x="3072126" y="3526060"/>
                  <a:pt x="3072126" y="3522946"/>
                </a:cubicBezTo>
                <a:moveTo>
                  <a:pt x="2913549" y="3431658"/>
                </a:moveTo>
                <a:cubicBezTo>
                  <a:pt x="2913549" y="3428848"/>
                  <a:pt x="2911270" y="3426570"/>
                  <a:pt x="2908460" y="3426570"/>
                </a:cubicBezTo>
                <a:cubicBezTo>
                  <a:pt x="2905650" y="3426570"/>
                  <a:pt x="2903372" y="3428848"/>
                  <a:pt x="2903372" y="3431658"/>
                </a:cubicBezTo>
                <a:cubicBezTo>
                  <a:pt x="2903372" y="3434468"/>
                  <a:pt x="2905650" y="3436747"/>
                  <a:pt x="2908460" y="3436747"/>
                </a:cubicBezTo>
                <a:cubicBezTo>
                  <a:pt x="2911270" y="3436747"/>
                  <a:pt x="2913549" y="3434468"/>
                  <a:pt x="2913549" y="3431658"/>
                </a:cubicBezTo>
                <a:moveTo>
                  <a:pt x="2743048" y="3364977"/>
                </a:moveTo>
                <a:cubicBezTo>
                  <a:pt x="2743048" y="3362471"/>
                  <a:pt x="2740998" y="3360496"/>
                  <a:pt x="2738491" y="3360496"/>
                </a:cubicBezTo>
                <a:cubicBezTo>
                  <a:pt x="2735985" y="3360496"/>
                  <a:pt x="2734010" y="3362547"/>
                  <a:pt x="2734010" y="3364977"/>
                </a:cubicBezTo>
                <a:cubicBezTo>
                  <a:pt x="2734010" y="3367483"/>
                  <a:pt x="2736061" y="3369534"/>
                  <a:pt x="2738491" y="3369534"/>
                </a:cubicBezTo>
                <a:cubicBezTo>
                  <a:pt x="2741074" y="3369534"/>
                  <a:pt x="2743048" y="3367483"/>
                  <a:pt x="2743048" y="3364977"/>
                </a:cubicBezTo>
                <a:moveTo>
                  <a:pt x="2564573" y="3324345"/>
                </a:moveTo>
                <a:cubicBezTo>
                  <a:pt x="2564573" y="3322143"/>
                  <a:pt x="2562826" y="3320396"/>
                  <a:pt x="2560624" y="3320396"/>
                </a:cubicBezTo>
                <a:cubicBezTo>
                  <a:pt x="2558421" y="3320396"/>
                  <a:pt x="2556675" y="3322143"/>
                  <a:pt x="2556675" y="3324345"/>
                </a:cubicBezTo>
                <a:cubicBezTo>
                  <a:pt x="2556675" y="3326548"/>
                  <a:pt x="2558421" y="3328295"/>
                  <a:pt x="2560624" y="3328295"/>
                </a:cubicBezTo>
                <a:cubicBezTo>
                  <a:pt x="2562826" y="3328295"/>
                  <a:pt x="2564573" y="3326548"/>
                  <a:pt x="2564573" y="3324345"/>
                </a:cubicBezTo>
                <a:moveTo>
                  <a:pt x="2381997" y="3310751"/>
                </a:moveTo>
                <a:cubicBezTo>
                  <a:pt x="2381997" y="3308852"/>
                  <a:pt x="2380478" y="3307409"/>
                  <a:pt x="2378579" y="3307409"/>
                </a:cubicBezTo>
                <a:cubicBezTo>
                  <a:pt x="2376681" y="3307409"/>
                  <a:pt x="2375162" y="3308928"/>
                  <a:pt x="2375162" y="3310751"/>
                </a:cubicBezTo>
                <a:cubicBezTo>
                  <a:pt x="2375162" y="3312650"/>
                  <a:pt x="2376681" y="3314168"/>
                  <a:pt x="2378579" y="3314168"/>
                </a:cubicBezTo>
                <a:cubicBezTo>
                  <a:pt x="2380478" y="3314093"/>
                  <a:pt x="2381997" y="3312574"/>
                  <a:pt x="2381997" y="3310751"/>
                </a:cubicBezTo>
                <a:moveTo>
                  <a:pt x="2199421" y="3324345"/>
                </a:moveTo>
                <a:cubicBezTo>
                  <a:pt x="2199421" y="3322826"/>
                  <a:pt x="2198130" y="3321535"/>
                  <a:pt x="2196611" y="3321535"/>
                </a:cubicBezTo>
                <a:cubicBezTo>
                  <a:pt x="2195016" y="3321535"/>
                  <a:pt x="2193801" y="3322826"/>
                  <a:pt x="2193801" y="3324345"/>
                </a:cubicBezTo>
                <a:cubicBezTo>
                  <a:pt x="2193801" y="3325940"/>
                  <a:pt x="2195092" y="3327155"/>
                  <a:pt x="2196611" y="3327155"/>
                </a:cubicBezTo>
                <a:cubicBezTo>
                  <a:pt x="2198206" y="3327231"/>
                  <a:pt x="2199421" y="3325940"/>
                  <a:pt x="2199421" y="3324345"/>
                </a:cubicBezTo>
                <a:moveTo>
                  <a:pt x="2020414" y="3364977"/>
                </a:moveTo>
                <a:cubicBezTo>
                  <a:pt x="2020414" y="3364066"/>
                  <a:pt x="2019654" y="3363306"/>
                  <a:pt x="2018743" y="3363306"/>
                </a:cubicBezTo>
                <a:cubicBezTo>
                  <a:pt x="2017832" y="3363306"/>
                  <a:pt x="2017072" y="3364066"/>
                  <a:pt x="2017072" y="3364977"/>
                </a:cubicBezTo>
                <a:cubicBezTo>
                  <a:pt x="2017072" y="3365888"/>
                  <a:pt x="2017832" y="3366648"/>
                  <a:pt x="2018743" y="3366648"/>
                </a:cubicBezTo>
                <a:cubicBezTo>
                  <a:pt x="2019654" y="3366724"/>
                  <a:pt x="2020414" y="3365888"/>
                  <a:pt x="2020414" y="3364977"/>
                </a:cubicBezTo>
                <a:moveTo>
                  <a:pt x="1849913" y="3431658"/>
                </a:moveTo>
                <a:cubicBezTo>
                  <a:pt x="1849913" y="3431051"/>
                  <a:pt x="1849382" y="3430519"/>
                  <a:pt x="1848774" y="3430519"/>
                </a:cubicBezTo>
                <a:cubicBezTo>
                  <a:pt x="1848167" y="3430519"/>
                  <a:pt x="1847635" y="3431051"/>
                  <a:pt x="1847635" y="3431658"/>
                </a:cubicBezTo>
                <a:cubicBezTo>
                  <a:pt x="1847635" y="3432266"/>
                  <a:pt x="1848167" y="3432798"/>
                  <a:pt x="1848774" y="3432798"/>
                </a:cubicBezTo>
                <a:cubicBezTo>
                  <a:pt x="1849458" y="3432798"/>
                  <a:pt x="1849913" y="3432266"/>
                  <a:pt x="1849913" y="3431658"/>
                </a:cubicBezTo>
                <a:moveTo>
                  <a:pt x="1691336" y="3522946"/>
                </a:moveTo>
                <a:cubicBezTo>
                  <a:pt x="1691336" y="3522643"/>
                  <a:pt x="1691108" y="3522415"/>
                  <a:pt x="1690805" y="3522415"/>
                </a:cubicBezTo>
                <a:cubicBezTo>
                  <a:pt x="1690501" y="3522415"/>
                  <a:pt x="1690273" y="3522643"/>
                  <a:pt x="1690273" y="3522946"/>
                </a:cubicBezTo>
                <a:cubicBezTo>
                  <a:pt x="1690273" y="3523250"/>
                  <a:pt x="1690501" y="3523478"/>
                  <a:pt x="1690805" y="3523478"/>
                </a:cubicBezTo>
                <a:cubicBezTo>
                  <a:pt x="1691108" y="3523478"/>
                  <a:pt x="1691336" y="3523250"/>
                  <a:pt x="1691336" y="3522946"/>
                </a:cubicBezTo>
                <a:moveTo>
                  <a:pt x="1548632" y="3636715"/>
                </a:moveTo>
                <a:cubicBezTo>
                  <a:pt x="1548632" y="3636411"/>
                  <a:pt x="1548404" y="3636183"/>
                  <a:pt x="1548100" y="3636183"/>
                </a:cubicBezTo>
                <a:cubicBezTo>
                  <a:pt x="1547797" y="3636183"/>
                  <a:pt x="1547569" y="3636411"/>
                  <a:pt x="1547569" y="3636715"/>
                </a:cubicBezTo>
                <a:cubicBezTo>
                  <a:pt x="1547569" y="3637019"/>
                  <a:pt x="1547797" y="3637246"/>
                  <a:pt x="1548100" y="3637246"/>
                </a:cubicBezTo>
                <a:cubicBezTo>
                  <a:pt x="1548404" y="3637246"/>
                  <a:pt x="1548632" y="3637019"/>
                  <a:pt x="1548632" y="3636715"/>
                </a:cubicBezTo>
                <a:moveTo>
                  <a:pt x="3493023" y="5420099"/>
                </a:moveTo>
                <a:cubicBezTo>
                  <a:pt x="3493023" y="5419795"/>
                  <a:pt x="3492795" y="5419567"/>
                  <a:pt x="3492492" y="5419567"/>
                </a:cubicBezTo>
                <a:cubicBezTo>
                  <a:pt x="3492188" y="5419567"/>
                  <a:pt x="3491960" y="5419795"/>
                  <a:pt x="3491960" y="5420099"/>
                </a:cubicBezTo>
                <a:cubicBezTo>
                  <a:pt x="3491960" y="5420402"/>
                  <a:pt x="3492188" y="5420630"/>
                  <a:pt x="3492492" y="5420630"/>
                </a:cubicBezTo>
                <a:cubicBezTo>
                  <a:pt x="3492795" y="5420630"/>
                  <a:pt x="3493023" y="5420402"/>
                  <a:pt x="3493023" y="5420099"/>
                </a:cubicBezTo>
                <a:moveTo>
                  <a:pt x="3598058" y="5270407"/>
                </a:moveTo>
                <a:cubicBezTo>
                  <a:pt x="3598058" y="5269800"/>
                  <a:pt x="3597526" y="5269268"/>
                  <a:pt x="3596918" y="5269268"/>
                </a:cubicBezTo>
                <a:cubicBezTo>
                  <a:pt x="3596311" y="5269268"/>
                  <a:pt x="3595779" y="5269800"/>
                  <a:pt x="3595779" y="5270407"/>
                </a:cubicBezTo>
                <a:cubicBezTo>
                  <a:pt x="3595779" y="5271015"/>
                  <a:pt x="3596311" y="5271547"/>
                  <a:pt x="3596918" y="5271547"/>
                </a:cubicBezTo>
                <a:cubicBezTo>
                  <a:pt x="3597526" y="5271547"/>
                  <a:pt x="3598058" y="5271015"/>
                  <a:pt x="3598058" y="5270407"/>
                </a:cubicBezTo>
                <a:moveTo>
                  <a:pt x="3683042" y="5108565"/>
                </a:moveTo>
                <a:cubicBezTo>
                  <a:pt x="3683042" y="5107653"/>
                  <a:pt x="3682283" y="5106894"/>
                  <a:pt x="3681372" y="5106894"/>
                </a:cubicBezTo>
                <a:cubicBezTo>
                  <a:pt x="3680460" y="5106894"/>
                  <a:pt x="3679701" y="5107653"/>
                  <a:pt x="3679701" y="5108565"/>
                </a:cubicBezTo>
                <a:cubicBezTo>
                  <a:pt x="3679701" y="5109476"/>
                  <a:pt x="3680460" y="5110236"/>
                  <a:pt x="3681372" y="5110236"/>
                </a:cubicBezTo>
                <a:cubicBezTo>
                  <a:pt x="3682283" y="5110236"/>
                  <a:pt x="3683042" y="5109476"/>
                  <a:pt x="3683042" y="5108565"/>
                </a:cubicBezTo>
                <a:moveTo>
                  <a:pt x="3746610" y="4937228"/>
                </a:moveTo>
                <a:cubicBezTo>
                  <a:pt x="3746610" y="4936014"/>
                  <a:pt x="3745622" y="4934950"/>
                  <a:pt x="3744331" y="4934950"/>
                </a:cubicBezTo>
                <a:cubicBezTo>
                  <a:pt x="3743116" y="4934950"/>
                  <a:pt x="3742053" y="4935938"/>
                  <a:pt x="3742053" y="4937228"/>
                </a:cubicBezTo>
                <a:cubicBezTo>
                  <a:pt x="3742053" y="4938520"/>
                  <a:pt x="3743040" y="4939507"/>
                  <a:pt x="3744331" y="4939507"/>
                </a:cubicBezTo>
                <a:cubicBezTo>
                  <a:pt x="3745622" y="4939431"/>
                  <a:pt x="3746610" y="4938444"/>
                  <a:pt x="3746610" y="4937228"/>
                </a:cubicBezTo>
                <a:moveTo>
                  <a:pt x="3788381" y="4759209"/>
                </a:moveTo>
                <a:cubicBezTo>
                  <a:pt x="3788381" y="4757310"/>
                  <a:pt x="3786862" y="4755792"/>
                  <a:pt x="3784963" y="4755792"/>
                </a:cubicBezTo>
                <a:cubicBezTo>
                  <a:pt x="3783064" y="4755792"/>
                  <a:pt x="3781545" y="4757310"/>
                  <a:pt x="3781545" y="4759209"/>
                </a:cubicBezTo>
                <a:cubicBezTo>
                  <a:pt x="3781545" y="4761108"/>
                  <a:pt x="3783064" y="4762627"/>
                  <a:pt x="3784963" y="4762627"/>
                </a:cubicBezTo>
                <a:cubicBezTo>
                  <a:pt x="3786862" y="4762627"/>
                  <a:pt x="3788381" y="4761108"/>
                  <a:pt x="3788381" y="4759209"/>
                </a:cubicBezTo>
                <a:moveTo>
                  <a:pt x="3806456" y="4577544"/>
                </a:moveTo>
                <a:cubicBezTo>
                  <a:pt x="3806456" y="4575342"/>
                  <a:pt x="3804709" y="4573595"/>
                  <a:pt x="3802507" y="4573595"/>
                </a:cubicBezTo>
                <a:cubicBezTo>
                  <a:pt x="3800304" y="4573595"/>
                  <a:pt x="3798557" y="4575342"/>
                  <a:pt x="3798557" y="4577544"/>
                </a:cubicBezTo>
                <a:cubicBezTo>
                  <a:pt x="3798557" y="4579747"/>
                  <a:pt x="3800304" y="4581494"/>
                  <a:pt x="3802507" y="4581494"/>
                </a:cubicBezTo>
                <a:cubicBezTo>
                  <a:pt x="3804709" y="4581494"/>
                  <a:pt x="3806456" y="4579671"/>
                  <a:pt x="3806456" y="4577544"/>
                </a:cubicBezTo>
                <a:moveTo>
                  <a:pt x="3801747" y="4395044"/>
                </a:moveTo>
                <a:cubicBezTo>
                  <a:pt x="3801747" y="4392234"/>
                  <a:pt x="3799469" y="4389956"/>
                  <a:pt x="3796659" y="4389956"/>
                </a:cubicBezTo>
                <a:cubicBezTo>
                  <a:pt x="3793849" y="4389956"/>
                  <a:pt x="3791570" y="4392234"/>
                  <a:pt x="3791570" y="4395044"/>
                </a:cubicBezTo>
                <a:cubicBezTo>
                  <a:pt x="3791570" y="4397854"/>
                  <a:pt x="3793849" y="4400133"/>
                  <a:pt x="3796659" y="4400133"/>
                </a:cubicBezTo>
                <a:cubicBezTo>
                  <a:pt x="3799469" y="4400133"/>
                  <a:pt x="3801747" y="4397854"/>
                  <a:pt x="3801747" y="4395044"/>
                </a:cubicBezTo>
                <a:moveTo>
                  <a:pt x="3773191" y="4214822"/>
                </a:moveTo>
                <a:cubicBezTo>
                  <a:pt x="3773191" y="4211709"/>
                  <a:pt x="3770685" y="4209202"/>
                  <a:pt x="3767571" y="4209202"/>
                </a:cubicBezTo>
                <a:cubicBezTo>
                  <a:pt x="3764457" y="4209202"/>
                  <a:pt x="3761951" y="4211709"/>
                  <a:pt x="3761951" y="4214822"/>
                </a:cubicBezTo>
                <a:cubicBezTo>
                  <a:pt x="3761951" y="4217936"/>
                  <a:pt x="3764457" y="4220442"/>
                  <a:pt x="3767571" y="4220442"/>
                </a:cubicBezTo>
                <a:cubicBezTo>
                  <a:pt x="3770685" y="4220442"/>
                  <a:pt x="3773191" y="4217936"/>
                  <a:pt x="3773191" y="4214822"/>
                </a:cubicBezTo>
                <a:moveTo>
                  <a:pt x="3721851" y="4039841"/>
                </a:moveTo>
                <a:cubicBezTo>
                  <a:pt x="3721851" y="4036423"/>
                  <a:pt x="3719041" y="4033613"/>
                  <a:pt x="3715623" y="4033613"/>
                </a:cubicBezTo>
                <a:cubicBezTo>
                  <a:pt x="3712206" y="4033613"/>
                  <a:pt x="3709396" y="4036347"/>
                  <a:pt x="3709396" y="4039841"/>
                </a:cubicBezTo>
                <a:cubicBezTo>
                  <a:pt x="3709396" y="4043258"/>
                  <a:pt x="3712130" y="4046068"/>
                  <a:pt x="3715623" y="4046068"/>
                </a:cubicBezTo>
                <a:cubicBezTo>
                  <a:pt x="3719041" y="4046068"/>
                  <a:pt x="3721851" y="4043258"/>
                  <a:pt x="3721851" y="4039841"/>
                </a:cubicBezTo>
                <a:moveTo>
                  <a:pt x="3648486" y="3872909"/>
                </a:moveTo>
                <a:cubicBezTo>
                  <a:pt x="3648486" y="3869188"/>
                  <a:pt x="3645449" y="3866150"/>
                  <a:pt x="3641727" y="3866150"/>
                </a:cubicBezTo>
                <a:cubicBezTo>
                  <a:pt x="3638006" y="3866150"/>
                  <a:pt x="3634968" y="3869188"/>
                  <a:pt x="3634968" y="3872909"/>
                </a:cubicBezTo>
                <a:cubicBezTo>
                  <a:pt x="3634968" y="3876631"/>
                  <a:pt x="3638006" y="3879669"/>
                  <a:pt x="3641727" y="3879669"/>
                </a:cubicBezTo>
                <a:cubicBezTo>
                  <a:pt x="3645449" y="3879669"/>
                  <a:pt x="3648486" y="3876631"/>
                  <a:pt x="3648486" y="3872909"/>
                </a:cubicBezTo>
                <a:moveTo>
                  <a:pt x="3554388" y="3716763"/>
                </a:moveTo>
                <a:cubicBezTo>
                  <a:pt x="3554388" y="3712738"/>
                  <a:pt x="3551122" y="3709396"/>
                  <a:pt x="3547022" y="3709396"/>
                </a:cubicBezTo>
                <a:cubicBezTo>
                  <a:pt x="3542996" y="3709396"/>
                  <a:pt x="3539655" y="3712662"/>
                  <a:pt x="3539655" y="3716763"/>
                </a:cubicBezTo>
                <a:cubicBezTo>
                  <a:pt x="3539655" y="3720788"/>
                  <a:pt x="3542920" y="3724130"/>
                  <a:pt x="3547022" y="3724130"/>
                </a:cubicBezTo>
                <a:cubicBezTo>
                  <a:pt x="3551122" y="3724130"/>
                  <a:pt x="3554388" y="3720864"/>
                  <a:pt x="3554388" y="3716763"/>
                </a:cubicBezTo>
                <a:moveTo>
                  <a:pt x="3440620" y="3574059"/>
                </a:moveTo>
                <a:cubicBezTo>
                  <a:pt x="3440620" y="3570033"/>
                  <a:pt x="3437354" y="3566692"/>
                  <a:pt x="3433253" y="3566692"/>
                </a:cubicBezTo>
                <a:cubicBezTo>
                  <a:pt x="3429228" y="3566692"/>
                  <a:pt x="3425886" y="3569958"/>
                  <a:pt x="3425886" y="3574059"/>
                </a:cubicBezTo>
                <a:cubicBezTo>
                  <a:pt x="3425886" y="3578084"/>
                  <a:pt x="3429152" y="3581425"/>
                  <a:pt x="3433253" y="3581425"/>
                </a:cubicBezTo>
                <a:cubicBezTo>
                  <a:pt x="3437278" y="3581425"/>
                  <a:pt x="3440620" y="3578084"/>
                  <a:pt x="3440620" y="3574059"/>
                </a:cubicBezTo>
                <a:moveTo>
                  <a:pt x="3309460" y="3447075"/>
                </a:moveTo>
                <a:cubicBezTo>
                  <a:pt x="3309460" y="3443050"/>
                  <a:pt x="3306194" y="3439709"/>
                  <a:pt x="3302093" y="3439709"/>
                </a:cubicBezTo>
                <a:cubicBezTo>
                  <a:pt x="3298068" y="3439709"/>
                  <a:pt x="3294726" y="3442974"/>
                  <a:pt x="3294726" y="3447075"/>
                </a:cubicBezTo>
                <a:cubicBezTo>
                  <a:pt x="3294726" y="3451101"/>
                  <a:pt x="3297992" y="3454442"/>
                  <a:pt x="3302093" y="3454442"/>
                </a:cubicBezTo>
                <a:cubicBezTo>
                  <a:pt x="3306194" y="3454442"/>
                  <a:pt x="3309460" y="3451101"/>
                  <a:pt x="3309460" y="3447075"/>
                </a:cubicBezTo>
                <a:moveTo>
                  <a:pt x="3163186" y="3337864"/>
                </a:moveTo>
                <a:cubicBezTo>
                  <a:pt x="3163186" y="3333839"/>
                  <a:pt x="3159920" y="3330497"/>
                  <a:pt x="3155819" y="3330497"/>
                </a:cubicBezTo>
                <a:cubicBezTo>
                  <a:pt x="3151718" y="3330497"/>
                  <a:pt x="3148452" y="3333763"/>
                  <a:pt x="3148452" y="3337864"/>
                </a:cubicBezTo>
                <a:cubicBezTo>
                  <a:pt x="3148452" y="3341889"/>
                  <a:pt x="3151718" y="3345231"/>
                  <a:pt x="3155819" y="3345231"/>
                </a:cubicBezTo>
                <a:cubicBezTo>
                  <a:pt x="3159920" y="3345231"/>
                  <a:pt x="3163186" y="3341965"/>
                  <a:pt x="3163186" y="3337864"/>
                </a:cubicBezTo>
                <a:moveTo>
                  <a:pt x="3003546" y="3248323"/>
                </a:moveTo>
                <a:cubicBezTo>
                  <a:pt x="3003546" y="3244601"/>
                  <a:pt x="3000508" y="3241563"/>
                  <a:pt x="2996787" y="3241563"/>
                </a:cubicBezTo>
                <a:cubicBezTo>
                  <a:pt x="2993065" y="3241563"/>
                  <a:pt x="2990027" y="3244601"/>
                  <a:pt x="2990027" y="3248323"/>
                </a:cubicBezTo>
                <a:cubicBezTo>
                  <a:pt x="2990027" y="3252044"/>
                  <a:pt x="2993065" y="3255082"/>
                  <a:pt x="2996787" y="3255082"/>
                </a:cubicBezTo>
                <a:cubicBezTo>
                  <a:pt x="3000508" y="3255082"/>
                  <a:pt x="3003546" y="3252044"/>
                  <a:pt x="3003546" y="3248323"/>
                </a:cubicBezTo>
                <a:moveTo>
                  <a:pt x="2833729" y="3179818"/>
                </a:moveTo>
                <a:cubicBezTo>
                  <a:pt x="2833729" y="3176401"/>
                  <a:pt x="2830919" y="3173591"/>
                  <a:pt x="2827501" y="3173591"/>
                </a:cubicBezTo>
                <a:cubicBezTo>
                  <a:pt x="2824084" y="3173591"/>
                  <a:pt x="2821274" y="3176325"/>
                  <a:pt x="2821274" y="3179818"/>
                </a:cubicBezTo>
                <a:cubicBezTo>
                  <a:pt x="2821274" y="3183236"/>
                  <a:pt x="2824084" y="3186046"/>
                  <a:pt x="2827501" y="3186046"/>
                </a:cubicBezTo>
                <a:cubicBezTo>
                  <a:pt x="2830995" y="3185970"/>
                  <a:pt x="2833729" y="3183236"/>
                  <a:pt x="2833729" y="3179818"/>
                </a:cubicBezTo>
                <a:moveTo>
                  <a:pt x="2656621" y="3133491"/>
                </a:moveTo>
                <a:cubicBezTo>
                  <a:pt x="2656621" y="3130377"/>
                  <a:pt x="2654114" y="3127871"/>
                  <a:pt x="2651001" y="3127871"/>
                </a:cubicBezTo>
                <a:cubicBezTo>
                  <a:pt x="2647887" y="3127871"/>
                  <a:pt x="2645381" y="3130377"/>
                  <a:pt x="2645381" y="3133491"/>
                </a:cubicBezTo>
                <a:cubicBezTo>
                  <a:pt x="2645381" y="3136605"/>
                  <a:pt x="2647887" y="3139111"/>
                  <a:pt x="2651001" y="3139111"/>
                </a:cubicBezTo>
                <a:cubicBezTo>
                  <a:pt x="2654114" y="3139111"/>
                  <a:pt x="2656621" y="3136605"/>
                  <a:pt x="2656621" y="3133491"/>
                </a:cubicBezTo>
                <a:moveTo>
                  <a:pt x="2474424" y="3110175"/>
                </a:moveTo>
                <a:cubicBezTo>
                  <a:pt x="2474424" y="3107669"/>
                  <a:pt x="2472374" y="3105694"/>
                  <a:pt x="2469867" y="3105694"/>
                </a:cubicBezTo>
                <a:cubicBezTo>
                  <a:pt x="2467361" y="3105694"/>
                  <a:pt x="2465386" y="3107745"/>
                  <a:pt x="2465386" y="3110175"/>
                </a:cubicBezTo>
                <a:cubicBezTo>
                  <a:pt x="2465386" y="3112681"/>
                  <a:pt x="2467437" y="3114732"/>
                  <a:pt x="2469867" y="3114732"/>
                </a:cubicBezTo>
                <a:cubicBezTo>
                  <a:pt x="2472298" y="3114732"/>
                  <a:pt x="2474424" y="3112606"/>
                  <a:pt x="2474424" y="3110175"/>
                </a:cubicBezTo>
                <a:moveTo>
                  <a:pt x="2291316" y="3110175"/>
                </a:moveTo>
                <a:cubicBezTo>
                  <a:pt x="2291316" y="3107973"/>
                  <a:pt x="2289570" y="3106226"/>
                  <a:pt x="2287367" y="3106226"/>
                </a:cubicBezTo>
                <a:cubicBezTo>
                  <a:pt x="2285165" y="3106226"/>
                  <a:pt x="2283418" y="3107973"/>
                  <a:pt x="2283418" y="3110175"/>
                </a:cubicBezTo>
                <a:cubicBezTo>
                  <a:pt x="2283418" y="3112378"/>
                  <a:pt x="2285165" y="3114124"/>
                  <a:pt x="2287367" y="3114124"/>
                </a:cubicBezTo>
                <a:cubicBezTo>
                  <a:pt x="2289570" y="3114124"/>
                  <a:pt x="2291316" y="3112302"/>
                  <a:pt x="2291316" y="3110175"/>
                </a:cubicBezTo>
                <a:moveTo>
                  <a:pt x="2109120" y="3133491"/>
                </a:moveTo>
                <a:cubicBezTo>
                  <a:pt x="2109120" y="3131972"/>
                  <a:pt x="2107829" y="3130681"/>
                  <a:pt x="2106310" y="3130681"/>
                </a:cubicBezTo>
                <a:cubicBezTo>
                  <a:pt x="2104791" y="3130681"/>
                  <a:pt x="2103500" y="3131972"/>
                  <a:pt x="2103500" y="3133491"/>
                </a:cubicBezTo>
                <a:cubicBezTo>
                  <a:pt x="2103500" y="3135086"/>
                  <a:pt x="2104791" y="3136301"/>
                  <a:pt x="2106310" y="3136301"/>
                </a:cubicBezTo>
                <a:cubicBezTo>
                  <a:pt x="2107829" y="3136301"/>
                  <a:pt x="2109120" y="3135010"/>
                  <a:pt x="2109120" y="3133491"/>
                </a:cubicBezTo>
                <a:moveTo>
                  <a:pt x="1931936" y="3179818"/>
                </a:moveTo>
                <a:cubicBezTo>
                  <a:pt x="1931936" y="3178603"/>
                  <a:pt x="1930949" y="3177540"/>
                  <a:pt x="1929657" y="3177540"/>
                </a:cubicBezTo>
                <a:cubicBezTo>
                  <a:pt x="1928442" y="3177540"/>
                  <a:pt x="1927379" y="3178527"/>
                  <a:pt x="1927379" y="3179818"/>
                </a:cubicBezTo>
                <a:cubicBezTo>
                  <a:pt x="1927379" y="3181034"/>
                  <a:pt x="1928366" y="3182097"/>
                  <a:pt x="1929657" y="3182097"/>
                </a:cubicBezTo>
                <a:cubicBezTo>
                  <a:pt x="1930949" y="3182021"/>
                  <a:pt x="1931936" y="3181034"/>
                  <a:pt x="1931936" y="3179818"/>
                </a:cubicBezTo>
                <a:moveTo>
                  <a:pt x="1761663" y="3248323"/>
                </a:moveTo>
                <a:cubicBezTo>
                  <a:pt x="1761663" y="3247715"/>
                  <a:pt x="1761131" y="3247183"/>
                  <a:pt x="1760524" y="3247183"/>
                </a:cubicBezTo>
                <a:cubicBezTo>
                  <a:pt x="1759916" y="3247183"/>
                  <a:pt x="1759385" y="3247715"/>
                  <a:pt x="1759385" y="3248323"/>
                </a:cubicBezTo>
                <a:cubicBezTo>
                  <a:pt x="1759385" y="3248930"/>
                  <a:pt x="1759916" y="3249462"/>
                  <a:pt x="1760524" y="3249462"/>
                </a:cubicBezTo>
                <a:cubicBezTo>
                  <a:pt x="1761131" y="3249462"/>
                  <a:pt x="1761663" y="3248930"/>
                  <a:pt x="1761663" y="3248323"/>
                </a:cubicBezTo>
                <a:moveTo>
                  <a:pt x="1602554" y="3337864"/>
                </a:moveTo>
                <a:cubicBezTo>
                  <a:pt x="1602554" y="3337256"/>
                  <a:pt x="1602023" y="3336725"/>
                  <a:pt x="1601415" y="3336725"/>
                </a:cubicBezTo>
                <a:cubicBezTo>
                  <a:pt x="1600808" y="3336725"/>
                  <a:pt x="1600276" y="3337256"/>
                  <a:pt x="1600276" y="3337864"/>
                </a:cubicBezTo>
                <a:cubicBezTo>
                  <a:pt x="1600276" y="3338471"/>
                  <a:pt x="1600808" y="3339003"/>
                  <a:pt x="1601415" y="3339003"/>
                </a:cubicBezTo>
                <a:cubicBezTo>
                  <a:pt x="1602099" y="3339003"/>
                  <a:pt x="1602554" y="3338548"/>
                  <a:pt x="1602554" y="3337864"/>
                </a:cubicBezTo>
                <a:moveTo>
                  <a:pt x="1455673" y="3447075"/>
                </a:moveTo>
                <a:cubicBezTo>
                  <a:pt x="1455673" y="3446772"/>
                  <a:pt x="1455445" y="3446544"/>
                  <a:pt x="1455142" y="3446544"/>
                </a:cubicBezTo>
                <a:cubicBezTo>
                  <a:pt x="1454838" y="3446544"/>
                  <a:pt x="1454610" y="3446772"/>
                  <a:pt x="1454610" y="3447075"/>
                </a:cubicBezTo>
                <a:cubicBezTo>
                  <a:pt x="1454610" y="3447379"/>
                  <a:pt x="1454838" y="3447607"/>
                  <a:pt x="1455142" y="3447607"/>
                </a:cubicBezTo>
                <a:cubicBezTo>
                  <a:pt x="1455445" y="3447607"/>
                  <a:pt x="1455673" y="3447379"/>
                  <a:pt x="1455673" y="3447075"/>
                </a:cubicBezTo>
                <a:moveTo>
                  <a:pt x="3652132" y="5547006"/>
                </a:moveTo>
                <a:cubicBezTo>
                  <a:pt x="3652132" y="5546702"/>
                  <a:pt x="3651904" y="5546474"/>
                  <a:pt x="3651600" y="5546474"/>
                </a:cubicBezTo>
                <a:cubicBezTo>
                  <a:pt x="3651296" y="5546474"/>
                  <a:pt x="3651069" y="5546702"/>
                  <a:pt x="3651069" y="5547006"/>
                </a:cubicBezTo>
                <a:cubicBezTo>
                  <a:pt x="3651069" y="5547310"/>
                  <a:pt x="3651296" y="5547538"/>
                  <a:pt x="3651600" y="5547538"/>
                </a:cubicBezTo>
                <a:cubicBezTo>
                  <a:pt x="3651904" y="5547538"/>
                  <a:pt x="3652132" y="5547310"/>
                  <a:pt x="3652132" y="5547006"/>
                </a:cubicBezTo>
                <a:moveTo>
                  <a:pt x="3758381" y="5398074"/>
                </a:moveTo>
                <a:cubicBezTo>
                  <a:pt x="3758381" y="5397467"/>
                  <a:pt x="3757850" y="5396935"/>
                  <a:pt x="3757242" y="5396935"/>
                </a:cubicBezTo>
                <a:cubicBezTo>
                  <a:pt x="3756635" y="5396935"/>
                  <a:pt x="3756103" y="5397467"/>
                  <a:pt x="3756103" y="5398074"/>
                </a:cubicBezTo>
                <a:cubicBezTo>
                  <a:pt x="3756103" y="5398682"/>
                  <a:pt x="3756635" y="5399213"/>
                  <a:pt x="3757242" y="5399213"/>
                </a:cubicBezTo>
                <a:cubicBezTo>
                  <a:pt x="3757850" y="5399213"/>
                  <a:pt x="3758381" y="5398682"/>
                  <a:pt x="3758381" y="5398074"/>
                </a:cubicBezTo>
                <a:moveTo>
                  <a:pt x="3847239" y="5238282"/>
                </a:moveTo>
                <a:cubicBezTo>
                  <a:pt x="3847239" y="5237371"/>
                  <a:pt x="3846480" y="5236611"/>
                  <a:pt x="3845569" y="5236611"/>
                </a:cubicBezTo>
                <a:cubicBezTo>
                  <a:pt x="3844657" y="5236611"/>
                  <a:pt x="3843898" y="5237371"/>
                  <a:pt x="3843898" y="5238282"/>
                </a:cubicBezTo>
                <a:cubicBezTo>
                  <a:pt x="3843898" y="5239193"/>
                  <a:pt x="3844657" y="5239953"/>
                  <a:pt x="3845569" y="5239953"/>
                </a:cubicBezTo>
                <a:cubicBezTo>
                  <a:pt x="3846480" y="5239953"/>
                  <a:pt x="3847239" y="5239193"/>
                  <a:pt x="3847239" y="5238282"/>
                </a:cubicBezTo>
                <a:moveTo>
                  <a:pt x="3918250" y="5069604"/>
                </a:moveTo>
                <a:cubicBezTo>
                  <a:pt x="3918250" y="5068085"/>
                  <a:pt x="3916959" y="5066794"/>
                  <a:pt x="3915440" y="5066794"/>
                </a:cubicBezTo>
                <a:cubicBezTo>
                  <a:pt x="3913920" y="5066794"/>
                  <a:pt x="3912630" y="5068085"/>
                  <a:pt x="3912630" y="5069604"/>
                </a:cubicBezTo>
                <a:cubicBezTo>
                  <a:pt x="3912630" y="5071199"/>
                  <a:pt x="3913920" y="5072414"/>
                  <a:pt x="3915440" y="5072414"/>
                </a:cubicBezTo>
                <a:cubicBezTo>
                  <a:pt x="3916959" y="5072414"/>
                  <a:pt x="3918250" y="5071123"/>
                  <a:pt x="3918250" y="5069604"/>
                </a:cubicBezTo>
                <a:moveTo>
                  <a:pt x="3969362" y="4894167"/>
                </a:moveTo>
                <a:cubicBezTo>
                  <a:pt x="3969362" y="4892268"/>
                  <a:pt x="3967843" y="4890749"/>
                  <a:pt x="3965944" y="4890749"/>
                </a:cubicBezTo>
                <a:cubicBezTo>
                  <a:pt x="3964046" y="4890749"/>
                  <a:pt x="3962527" y="4892268"/>
                  <a:pt x="3962527" y="4894167"/>
                </a:cubicBezTo>
                <a:cubicBezTo>
                  <a:pt x="3962527" y="4896065"/>
                  <a:pt x="3964046" y="4897584"/>
                  <a:pt x="3965944" y="4897584"/>
                </a:cubicBezTo>
                <a:cubicBezTo>
                  <a:pt x="3967843" y="4897584"/>
                  <a:pt x="3969362" y="4896065"/>
                  <a:pt x="3969362" y="4894167"/>
                </a:cubicBezTo>
                <a:moveTo>
                  <a:pt x="4001032" y="4714173"/>
                </a:moveTo>
                <a:cubicBezTo>
                  <a:pt x="4001032" y="4711667"/>
                  <a:pt x="3998981" y="4709692"/>
                  <a:pt x="3996475" y="4709692"/>
                </a:cubicBezTo>
                <a:cubicBezTo>
                  <a:pt x="3993969" y="4709692"/>
                  <a:pt x="3991994" y="4711742"/>
                  <a:pt x="3991994" y="4714173"/>
                </a:cubicBezTo>
                <a:cubicBezTo>
                  <a:pt x="3991994" y="4716679"/>
                  <a:pt x="3994045" y="4718654"/>
                  <a:pt x="3996475" y="4718654"/>
                </a:cubicBezTo>
                <a:cubicBezTo>
                  <a:pt x="3999057" y="4718654"/>
                  <a:pt x="4001032" y="4716679"/>
                  <a:pt x="4001032" y="4714173"/>
                </a:cubicBezTo>
                <a:moveTo>
                  <a:pt x="4011892" y="4531824"/>
                </a:moveTo>
                <a:cubicBezTo>
                  <a:pt x="4011892" y="4529014"/>
                  <a:pt x="4009614" y="4526736"/>
                  <a:pt x="4006804" y="4526736"/>
                </a:cubicBezTo>
                <a:cubicBezTo>
                  <a:pt x="4003994" y="4526736"/>
                  <a:pt x="4001715" y="4529014"/>
                  <a:pt x="4001715" y="4531824"/>
                </a:cubicBezTo>
                <a:cubicBezTo>
                  <a:pt x="4001715" y="4534634"/>
                  <a:pt x="4003994" y="4536913"/>
                  <a:pt x="4006804" y="4536913"/>
                </a:cubicBezTo>
                <a:cubicBezTo>
                  <a:pt x="4009614" y="4536913"/>
                  <a:pt x="4011892" y="4534634"/>
                  <a:pt x="4011892" y="4531824"/>
                </a:cubicBezTo>
                <a:moveTo>
                  <a:pt x="4002778" y="4349552"/>
                </a:moveTo>
                <a:cubicBezTo>
                  <a:pt x="4002778" y="4346135"/>
                  <a:pt x="3999968" y="4343325"/>
                  <a:pt x="3996551" y="4343325"/>
                </a:cubicBezTo>
                <a:cubicBezTo>
                  <a:pt x="3993133" y="4343325"/>
                  <a:pt x="3990323" y="4346135"/>
                  <a:pt x="3990323" y="4349552"/>
                </a:cubicBezTo>
                <a:cubicBezTo>
                  <a:pt x="3990323" y="4352969"/>
                  <a:pt x="3993057" y="4355779"/>
                  <a:pt x="3996551" y="4355779"/>
                </a:cubicBezTo>
                <a:cubicBezTo>
                  <a:pt x="3999968" y="4355779"/>
                  <a:pt x="4002778" y="4352969"/>
                  <a:pt x="4002778" y="4349552"/>
                </a:cubicBezTo>
                <a:moveTo>
                  <a:pt x="3972704" y="4169558"/>
                </a:moveTo>
                <a:cubicBezTo>
                  <a:pt x="3972704" y="4165836"/>
                  <a:pt x="3969666" y="4162799"/>
                  <a:pt x="3965944" y="4162799"/>
                </a:cubicBezTo>
                <a:cubicBezTo>
                  <a:pt x="3962223" y="4162799"/>
                  <a:pt x="3959185" y="4165836"/>
                  <a:pt x="3959185" y="4169558"/>
                </a:cubicBezTo>
                <a:cubicBezTo>
                  <a:pt x="3959185" y="4173279"/>
                  <a:pt x="3962223" y="4176317"/>
                  <a:pt x="3965944" y="4176317"/>
                </a:cubicBezTo>
                <a:cubicBezTo>
                  <a:pt x="3969742" y="4176317"/>
                  <a:pt x="3972704" y="4173279"/>
                  <a:pt x="3972704" y="4169558"/>
                </a:cubicBezTo>
                <a:moveTo>
                  <a:pt x="3923338" y="3994120"/>
                </a:moveTo>
                <a:cubicBezTo>
                  <a:pt x="3923338" y="3989791"/>
                  <a:pt x="3919769" y="3986222"/>
                  <a:pt x="3915440" y="3986222"/>
                </a:cubicBezTo>
                <a:cubicBezTo>
                  <a:pt x="3911110" y="3986222"/>
                  <a:pt x="3907541" y="3989791"/>
                  <a:pt x="3907541" y="3994120"/>
                </a:cubicBezTo>
                <a:cubicBezTo>
                  <a:pt x="3907541" y="3998526"/>
                  <a:pt x="3911110" y="4002019"/>
                  <a:pt x="3915440" y="4002019"/>
                </a:cubicBezTo>
                <a:cubicBezTo>
                  <a:pt x="3919769" y="4002019"/>
                  <a:pt x="3923338" y="3998450"/>
                  <a:pt x="3923338" y="3994120"/>
                </a:cubicBezTo>
                <a:moveTo>
                  <a:pt x="3853999" y="3825443"/>
                </a:moveTo>
                <a:cubicBezTo>
                  <a:pt x="3853999" y="3820734"/>
                  <a:pt x="3850201" y="3817013"/>
                  <a:pt x="3845569" y="3817013"/>
                </a:cubicBezTo>
                <a:cubicBezTo>
                  <a:pt x="3840860" y="3817013"/>
                  <a:pt x="3837138" y="3820810"/>
                  <a:pt x="3837138" y="3825443"/>
                </a:cubicBezTo>
                <a:cubicBezTo>
                  <a:pt x="3837138" y="3830151"/>
                  <a:pt x="3840936" y="3833873"/>
                  <a:pt x="3845569" y="3833873"/>
                </a:cubicBezTo>
                <a:cubicBezTo>
                  <a:pt x="3850201" y="3833873"/>
                  <a:pt x="3853999" y="3830076"/>
                  <a:pt x="3853999" y="3825443"/>
                </a:cubicBezTo>
                <a:moveTo>
                  <a:pt x="3765672" y="3665650"/>
                </a:moveTo>
                <a:cubicBezTo>
                  <a:pt x="3765672" y="3661018"/>
                  <a:pt x="3761875" y="3657220"/>
                  <a:pt x="3757242" y="3657220"/>
                </a:cubicBezTo>
                <a:cubicBezTo>
                  <a:pt x="3752534" y="3657220"/>
                  <a:pt x="3748812" y="3661018"/>
                  <a:pt x="3748812" y="3665650"/>
                </a:cubicBezTo>
                <a:cubicBezTo>
                  <a:pt x="3748812" y="3670359"/>
                  <a:pt x="3752609" y="3674157"/>
                  <a:pt x="3757242" y="3674157"/>
                </a:cubicBezTo>
                <a:cubicBezTo>
                  <a:pt x="3761875" y="3674081"/>
                  <a:pt x="3765672" y="3670283"/>
                  <a:pt x="3765672" y="3665650"/>
                </a:cubicBezTo>
                <a:moveTo>
                  <a:pt x="3660638" y="3516719"/>
                </a:moveTo>
                <a:cubicBezTo>
                  <a:pt x="3660638" y="3511706"/>
                  <a:pt x="3656613" y="3507681"/>
                  <a:pt x="3651600" y="3507681"/>
                </a:cubicBezTo>
                <a:cubicBezTo>
                  <a:pt x="3646588" y="3507681"/>
                  <a:pt x="3642563" y="3511706"/>
                  <a:pt x="3642563" y="3516719"/>
                </a:cubicBezTo>
                <a:cubicBezTo>
                  <a:pt x="3642563" y="3521731"/>
                  <a:pt x="3646588" y="3525756"/>
                  <a:pt x="3651600" y="3525756"/>
                </a:cubicBezTo>
                <a:cubicBezTo>
                  <a:pt x="3656613" y="3525756"/>
                  <a:pt x="3660638" y="3521731"/>
                  <a:pt x="3660638" y="3516719"/>
                </a:cubicBezTo>
                <a:moveTo>
                  <a:pt x="3538971" y="3380546"/>
                </a:moveTo>
                <a:cubicBezTo>
                  <a:pt x="3538971" y="3375534"/>
                  <a:pt x="3534946" y="3371508"/>
                  <a:pt x="3529933" y="3371508"/>
                </a:cubicBezTo>
                <a:cubicBezTo>
                  <a:pt x="3524921" y="3371508"/>
                  <a:pt x="3520896" y="3375534"/>
                  <a:pt x="3520896" y="3380546"/>
                </a:cubicBezTo>
                <a:cubicBezTo>
                  <a:pt x="3520896" y="3385559"/>
                  <a:pt x="3524921" y="3389584"/>
                  <a:pt x="3529933" y="3389584"/>
                </a:cubicBezTo>
                <a:cubicBezTo>
                  <a:pt x="3534870" y="3389584"/>
                  <a:pt x="3538971" y="3385559"/>
                  <a:pt x="3538971" y="3380546"/>
                </a:cubicBezTo>
                <a:moveTo>
                  <a:pt x="3402798" y="3258879"/>
                </a:moveTo>
                <a:cubicBezTo>
                  <a:pt x="3402798" y="3253867"/>
                  <a:pt x="3398773" y="3249841"/>
                  <a:pt x="3393761" y="3249841"/>
                </a:cubicBezTo>
                <a:cubicBezTo>
                  <a:pt x="3388748" y="3249841"/>
                  <a:pt x="3384723" y="3253867"/>
                  <a:pt x="3384723" y="3258879"/>
                </a:cubicBezTo>
                <a:cubicBezTo>
                  <a:pt x="3384723" y="3263892"/>
                  <a:pt x="3388748" y="3267917"/>
                  <a:pt x="3393761" y="3267917"/>
                </a:cubicBezTo>
                <a:cubicBezTo>
                  <a:pt x="3398773" y="3267917"/>
                  <a:pt x="3402798" y="3263892"/>
                  <a:pt x="3402798" y="3258879"/>
                </a:cubicBezTo>
                <a:moveTo>
                  <a:pt x="3253335" y="3153237"/>
                </a:moveTo>
                <a:cubicBezTo>
                  <a:pt x="3253335" y="3148604"/>
                  <a:pt x="3249538" y="3144807"/>
                  <a:pt x="3244905" y="3144807"/>
                </a:cubicBezTo>
                <a:cubicBezTo>
                  <a:pt x="3240196" y="3144807"/>
                  <a:pt x="3236475" y="3148604"/>
                  <a:pt x="3236475" y="3153237"/>
                </a:cubicBezTo>
                <a:cubicBezTo>
                  <a:pt x="3236475" y="3157946"/>
                  <a:pt x="3240272" y="3161667"/>
                  <a:pt x="3244905" y="3161667"/>
                </a:cubicBezTo>
                <a:cubicBezTo>
                  <a:pt x="3249538" y="3161743"/>
                  <a:pt x="3253335" y="3157946"/>
                  <a:pt x="3253335" y="3153237"/>
                </a:cubicBezTo>
                <a:moveTo>
                  <a:pt x="3093543" y="3064911"/>
                </a:moveTo>
                <a:cubicBezTo>
                  <a:pt x="3093543" y="3060202"/>
                  <a:pt x="3089745" y="3056481"/>
                  <a:pt x="3085037" y="3056481"/>
                </a:cubicBezTo>
                <a:cubicBezTo>
                  <a:pt x="3080404" y="3056481"/>
                  <a:pt x="3076607" y="3060278"/>
                  <a:pt x="3076607" y="3064911"/>
                </a:cubicBezTo>
                <a:cubicBezTo>
                  <a:pt x="3076607" y="3069620"/>
                  <a:pt x="3080404" y="3073341"/>
                  <a:pt x="3085037" y="3073341"/>
                </a:cubicBezTo>
                <a:cubicBezTo>
                  <a:pt x="3089745" y="3073417"/>
                  <a:pt x="3093543" y="3069620"/>
                  <a:pt x="3093543" y="3064911"/>
                </a:cubicBezTo>
                <a:moveTo>
                  <a:pt x="2924257" y="2995040"/>
                </a:moveTo>
                <a:cubicBezTo>
                  <a:pt x="2924257" y="2990711"/>
                  <a:pt x="2920688" y="2987141"/>
                  <a:pt x="2916359" y="2987141"/>
                </a:cubicBezTo>
                <a:cubicBezTo>
                  <a:pt x="2912030" y="2987141"/>
                  <a:pt x="2908460" y="2990711"/>
                  <a:pt x="2908460" y="2995040"/>
                </a:cubicBezTo>
                <a:cubicBezTo>
                  <a:pt x="2908460" y="2999369"/>
                  <a:pt x="2912030" y="3002938"/>
                  <a:pt x="2916359" y="3002938"/>
                </a:cubicBezTo>
                <a:cubicBezTo>
                  <a:pt x="2920764" y="3002938"/>
                  <a:pt x="2924257" y="2999445"/>
                  <a:pt x="2924257" y="2995040"/>
                </a:cubicBezTo>
                <a:moveTo>
                  <a:pt x="2747681" y="2944535"/>
                </a:moveTo>
                <a:cubicBezTo>
                  <a:pt x="2747681" y="2940814"/>
                  <a:pt x="2744643" y="2937776"/>
                  <a:pt x="2740922" y="2937776"/>
                </a:cubicBezTo>
                <a:cubicBezTo>
                  <a:pt x="2737200" y="2937776"/>
                  <a:pt x="2734162" y="2940814"/>
                  <a:pt x="2734162" y="2944535"/>
                </a:cubicBezTo>
                <a:cubicBezTo>
                  <a:pt x="2734162" y="2948257"/>
                  <a:pt x="2737200" y="2951294"/>
                  <a:pt x="2740922" y="2951294"/>
                </a:cubicBezTo>
                <a:cubicBezTo>
                  <a:pt x="2744643" y="2951294"/>
                  <a:pt x="2747681" y="2948257"/>
                  <a:pt x="2747681" y="2944535"/>
                </a:cubicBezTo>
                <a:moveTo>
                  <a:pt x="2567155" y="2913929"/>
                </a:moveTo>
                <a:cubicBezTo>
                  <a:pt x="2567155" y="2910511"/>
                  <a:pt x="2564345" y="2907701"/>
                  <a:pt x="2560928" y="2907701"/>
                </a:cubicBezTo>
                <a:cubicBezTo>
                  <a:pt x="2557510" y="2907701"/>
                  <a:pt x="2554700" y="2910511"/>
                  <a:pt x="2554700" y="2913929"/>
                </a:cubicBezTo>
                <a:cubicBezTo>
                  <a:pt x="2554700" y="2917346"/>
                  <a:pt x="2557434" y="2920156"/>
                  <a:pt x="2560928" y="2920156"/>
                </a:cubicBezTo>
                <a:cubicBezTo>
                  <a:pt x="2564345" y="2920156"/>
                  <a:pt x="2567155" y="2917346"/>
                  <a:pt x="2567155" y="2913929"/>
                </a:cubicBezTo>
                <a:moveTo>
                  <a:pt x="2383744" y="2903676"/>
                </a:moveTo>
                <a:cubicBezTo>
                  <a:pt x="2383744" y="2900866"/>
                  <a:pt x="2381465" y="2898587"/>
                  <a:pt x="2378655" y="2898587"/>
                </a:cubicBezTo>
                <a:cubicBezTo>
                  <a:pt x="2375845" y="2898587"/>
                  <a:pt x="2373567" y="2900866"/>
                  <a:pt x="2373567" y="2903676"/>
                </a:cubicBezTo>
                <a:cubicBezTo>
                  <a:pt x="2373567" y="2906486"/>
                  <a:pt x="2375845" y="2908764"/>
                  <a:pt x="2378655" y="2908764"/>
                </a:cubicBezTo>
                <a:cubicBezTo>
                  <a:pt x="2381465" y="2908764"/>
                  <a:pt x="2383744" y="2906486"/>
                  <a:pt x="2383744" y="2903676"/>
                </a:cubicBezTo>
                <a:moveTo>
                  <a:pt x="2200864" y="2913929"/>
                </a:moveTo>
                <a:cubicBezTo>
                  <a:pt x="2200864" y="2911422"/>
                  <a:pt x="2198813" y="2909448"/>
                  <a:pt x="2196307" y="2909448"/>
                </a:cubicBezTo>
                <a:cubicBezTo>
                  <a:pt x="2193801" y="2909448"/>
                  <a:pt x="2191826" y="2911498"/>
                  <a:pt x="2191826" y="2913929"/>
                </a:cubicBezTo>
                <a:cubicBezTo>
                  <a:pt x="2191826" y="2916435"/>
                  <a:pt x="2193877" y="2918486"/>
                  <a:pt x="2196307" y="2918486"/>
                </a:cubicBezTo>
                <a:cubicBezTo>
                  <a:pt x="2198737" y="2918486"/>
                  <a:pt x="2200864" y="2916435"/>
                  <a:pt x="2200864" y="2913929"/>
                </a:cubicBezTo>
                <a:moveTo>
                  <a:pt x="2019730" y="2944535"/>
                </a:moveTo>
                <a:cubicBezTo>
                  <a:pt x="2019730" y="2942637"/>
                  <a:pt x="2018211" y="2941118"/>
                  <a:pt x="2016313" y="2941118"/>
                </a:cubicBezTo>
                <a:cubicBezTo>
                  <a:pt x="2014414" y="2941118"/>
                  <a:pt x="2012895" y="2942637"/>
                  <a:pt x="2012895" y="2944535"/>
                </a:cubicBezTo>
                <a:cubicBezTo>
                  <a:pt x="2012895" y="2946434"/>
                  <a:pt x="2014414" y="2947953"/>
                  <a:pt x="2016313" y="2947953"/>
                </a:cubicBezTo>
                <a:cubicBezTo>
                  <a:pt x="2018211" y="2947877"/>
                  <a:pt x="2019730" y="2946358"/>
                  <a:pt x="2019730" y="2944535"/>
                </a:cubicBezTo>
                <a:moveTo>
                  <a:pt x="1843686" y="2995040"/>
                </a:moveTo>
                <a:cubicBezTo>
                  <a:pt x="1843686" y="2993521"/>
                  <a:pt x="1842394" y="2992230"/>
                  <a:pt x="1840876" y="2992230"/>
                </a:cubicBezTo>
                <a:cubicBezTo>
                  <a:pt x="1839281" y="2992230"/>
                  <a:pt x="1838066" y="2993521"/>
                  <a:pt x="1838066" y="2995040"/>
                </a:cubicBezTo>
                <a:cubicBezTo>
                  <a:pt x="1838066" y="2996635"/>
                  <a:pt x="1839357" y="2997850"/>
                  <a:pt x="1840876" y="2997850"/>
                </a:cubicBezTo>
                <a:cubicBezTo>
                  <a:pt x="1842471" y="2997850"/>
                  <a:pt x="1843686" y="2996635"/>
                  <a:pt x="1843686" y="2995040"/>
                </a:cubicBezTo>
                <a:moveTo>
                  <a:pt x="1673868" y="3064911"/>
                </a:moveTo>
                <a:cubicBezTo>
                  <a:pt x="1673868" y="3063999"/>
                  <a:pt x="1673109" y="3063240"/>
                  <a:pt x="1672198" y="3063240"/>
                </a:cubicBezTo>
                <a:cubicBezTo>
                  <a:pt x="1671286" y="3063240"/>
                  <a:pt x="1670527" y="3063999"/>
                  <a:pt x="1670527" y="3064911"/>
                </a:cubicBezTo>
                <a:cubicBezTo>
                  <a:pt x="1670527" y="3065822"/>
                  <a:pt x="1671286" y="3066582"/>
                  <a:pt x="1672198" y="3066582"/>
                </a:cubicBezTo>
                <a:cubicBezTo>
                  <a:pt x="1673109" y="3066658"/>
                  <a:pt x="1673868" y="3065898"/>
                  <a:pt x="1673868" y="3064911"/>
                </a:cubicBezTo>
                <a:moveTo>
                  <a:pt x="1513545" y="3153237"/>
                </a:moveTo>
                <a:cubicBezTo>
                  <a:pt x="1513545" y="3152630"/>
                  <a:pt x="1513013" y="3152098"/>
                  <a:pt x="1512405" y="3152098"/>
                </a:cubicBezTo>
                <a:cubicBezTo>
                  <a:pt x="1511798" y="3152098"/>
                  <a:pt x="1511266" y="3152630"/>
                  <a:pt x="1511266" y="3153237"/>
                </a:cubicBezTo>
                <a:cubicBezTo>
                  <a:pt x="1511266" y="3153845"/>
                  <a:pt x="1511798" y="3154376"/>
                  <a:pt x="1512405" y="3154376"/>
                </a:cubicBezTo>
                <a:cubicBezTo>
                  <a:pt x="1513013" y="3154376"/>
                  <a:pt x="1513545" y="3153845"/>
                  <a:pt x="1513545" y="3153237"/>
                </a:cubicBezTo>
                <a:moveTo>
                  <a:pt x="1364081" y="3258879"/>
                </a:moveTo>
                <a:cubicBezTo>
                  <a:pt x="1364081" y="3258576"/>
                  <a:pt x="1363853" y="3258348"/>
                  <a:pt x="1363550" y="3258348"/>
                </a:cubicBezTo>
                <a:cubicBezTo>
                  <a:pt x="1363246" y="3258348"/>
                  <a:pt x="1363018" y="3258576"/>
                  <a:pt x="1363018" y="3258879"/>
                </a:cubicBezTo>
                <a:cubicBezTo>
                  <a:pt x="1363018" y="3259183"/>
                  <a:pt x="1363246" y="3259411"/>
                  <a:pt x="1363550" y="3259411"/>
                </a:cubicBezTo>
                <a:cubicBezTo>
                  <a:pt x="1363853" y="3259411"/>
                  <a:pt x="1364081" y="3259259"/>
                  <a:pt x="1364081" y="3258879"/>
                </a:cubicBezTo>
                <a:moveTo>
                  <a:pt x="3690409" y="5810769"/>
                </a:moveTo>
                <a:cubicBezTo>
                  <a:pt x="3690409" y="5810466"/>
                  <a:pt x="3690181" y="5810238"/>
                  <a:pt x="3689878" y="5810238"/>
                </a:cubicBezTo>
                <a:cubicBezTo>
                  <a:pt x="3689574" y="5810238"/>
                  <a:pt x="3689346" y="5810466"/>
                  <a:pt x="3689346" y="5810769"/>
                </a:cubicBezTo>
                <a:cubicBezTo>
                  <a:pt x="3689346" y="5811073"/>
                  <a:pt x="3689574" y="5811301"/>
                  <a:pt x="3689878" y="5811301"/>
                </a:cubicBezTo>
                <a:cubicBezTo>
                  <a:pt x="3690181" y="5811301"/>
                  <a:pt x="3690409" y="5811149"/>
                  <a:pt x="3690409" y="5810769"/>
                </a:cubicBezTo>
                <a:moveTo>
                  <a:pt x="3811240" y="5673913"/>
                </a:moveTo>
                <a:cubicBezTo>
                  <a:pt x="3811240" y="5673609"/>
                  <a:pt x="3811013" y="5673381"/>
                  <a:pt x="3810709" y="5673381"/>
                </a:cubicBezTo>
                <a:cubicBezTo>
                  <a:pt x="3810405" y="5673381"/>
                  <a:pt x="3810177" y="5673609"/>
                  <a:pt x="3810177" y="5673913"/>
                </a:cubicBezTo>
                <a:cubicBezTo>
                  <a:pt x="3810177" y="5674217"/>
                  <a:pt x="3810405" y="5674445"/>
                  <a:pt x="3810709" y="5674445"/>
                </a:cubicBezTo>
                <a:cubicBezTo>
                  <a:pt x="3811013" y="5674445"/>
                  <a:pt x="3811240" y="5674217"/>
                  <a:pt x="3811240" y="5673913"/>
                </a:cubicBezTo>
                <a:moveTo>
                  <a:pt x="3918402" y="5525589"/>
                </a:moveTo>
                <a:cubicBezTo>
                  <a:pt x="3918402" y="5524981"/>
                  <a:pt x="3917870" y="5524450"/>
                  <a:pt x="3917262" y="5524450"/>
                </a:cubicBezTo>
                <a:cubicBezTo>
                  <a:pt x="3916655" y="5524450"/>
                  <a:pt x="3916123" y="5524981"/>
                  <a:pt x="3916123" y="5525589"/>
                </a:cubicBezTo>
                <a:cubicBezTo>
                  <a:pt x="3916123" y="5526197"/>
                  <a:pt x="3916655" y="5526728"/>
                  <a:pt x="3917262" y="5526728"/>
                </a:cubicBezTo>
                <a:cubicBezTo>
                  <a:pt x="3917870" y="5526728"/>
                  <a:pt x="3918402" y="5526272"/>
                  <a:pt x="3918402" y="5525589"/>
                </a:cubicBezTo>
                <a:moveTo>
                  <a:pt x="4010297" y="5367468"/>
                </a:moveTo>
                <a:cubicBezTo>
                  <a:pt x="4010297" y="5366556"/>
                  <a:pt x="4009538" y="5365796"/>
                  <a:pt x="4008626" y="5365796"/>
                </a:cubicBezTo>
                <a:cubicBezTo>
                  <a:pt x="4007715" y="5365796"/>
                  <a:pt x="4006955" y="5366556"/>
                  <a:pt x="4006955" y="5367468"/>
                </a:cubicBezTo>
                <a:cubicBezTo>
                  <a:pt x="4006955" y="5368379"/>
                  <a:pt x="4007715" y="5369138"/>
                  <a:pt x="4008626" y="5369138"/>
                </a:cubicBezTo>
                <a:cubicBezTo>
                  <a:pt x="4009538" y="5369214"/>
                  <a:pt x="4010297" y="5368455"/>
                  <a:pt x="4010297" y="5367468"/>
                </a:cubicBezTo>
                <a:moveTo>
                  <a:pt x="4086548" y="5201068"/>
                </a:moveTo>
                <a:cubicBezTo>
                  <a:pt x="4086548" y="5199473"/>
                  <a:pt x="4085257" y="5198258"/>
                  <a:pt x="4083738" y="5198258"/>
                </a:cubicBezTo>
                <a:cubicBezTo>
                  <a:pt x="4082219" y="5198258"/>
                  <a:pt x="4080928" y="5199549"/>
                  <a:pt x="4080928" y="5201068"/>
                </a:cubicBezTo>
                <a:cubicBezTo>
                  <a:pt x="4080928" y="5202587"/>
                  <a:pt x="4082219" y="5203878"/>
                  <a:pt x="4083738" y="5203878"/>
                </a:cubicBezTo>
                <a:cubicBezTo>
                  <a:pt x="4085257" y="5203878"/>
                  <a:pt x="4086548" y="5202587"/>
                  <a:pt x="4086548" y="5201068"/>
                </a:cubicBezTo>
                <a:moveTo>
                  <a:pt x="4145255" y="5027985"/>
                </a:moveTo>
                <a:cubicBezTo>
                  <a:pt x="4145255" y="5026086"/>
                  <a:pt x="4143736" y="5024567"/>
                  <a:pt x="4141837" y="5024567"/>
                </a:cubicBezTo>
                <a:cubicBezTo>
                  <a:pt x="4139938" y="5024567"/>
                  <a:pt x="4138419" y="5026086"/>
                  <a:pt x="4138419" y="5027985"/>
                </a:cubicBezTo>
                <a:cubicBezTo>
                  <a:pt x="4138419" y="5029884"/>
                  <a:pt x="4139938" y="5031403"/>
                  <a:pt x="4141837" y="5031403"/>
                </a:cubicBezTo>
                <a:cubicBezTo>
                  <a:pt x="4143736" y="5031403"/>
                  <a:pt x="4145255" y="5029808"/>
                  <a:pt x="4145255" y="5027985"/>
                </a:cubicBezTo>
                <a:moveTo>
                  <a:pt x="4187025" y="4849890"/>
                </a:moveTo>
                <a:cubicBezTo>
                  <a:pt x="4187025" y="4847384"/>
                  <a:pt x="4184975" y="4845409"/>
                  <a:pt x="4182469" y="4845409"/>
                </a:cubicBezTo>
                <a:cubicBezTo>
                  <a:pt x="4179962" y="4845409"/>
                  <a:pt x="4177988" y="4847459"/>
                  <a:pt x="4177988" y="4849890"/>
                </a:cubicBezTo>
                <a:cubicBezTo>
                  <a:pt x="4177988" y="4852396"/>
                  <a:pt x="4180039" y="4854371"/>
                  <a:pt x="4182469" y="4854371"/>
                </a:cubicBezTo>
                <a:cubicBezTo>
                  <a:pt x="4184975" y="4854447"/>
                  <a:pt x="4187025" y="4852396"/>
                  <a:pt x="4187025" y="4849890"/>
                </a:cubicBezTo>
                <a:moveTo>
                  <a:pt x="4210797" y="4668757"/>
                </a:moveTo>
                <a:cubicBezTo>
                  <a:pt x="4210797" y="4665642"/>
                  <a:pt x="4208291" y="4663137"/>
                  <a:pt x="4205177" y="4663137"/>
                </a:cubicBezTo>
                <a:cubicBezTo>
                  <a:pt x="4202063" y="4663137"/>
                  <a:pt x="4199557" y="4665642"/>
                  <a:pt x="4199557" y="4668757"/>
                </a:cubicBezTo>
                <a:cubicBezTo>
                  <a:pt x="4199557" y="4671870"/>
                  <a:pt x="4202063" y="4674377"/>
                  <a:pt x="4205177" y="4674377"/>
                </a:cubicBezTo>
                <a:cubicBezTo>
                  <a:pt x="4208291" y="4674377"/>
                  <a:pt x="4210797" y="4671870"/>
                  <a:pt x="4210797" y="4668757"/>
                </a:cubicBezTo>
                <a:moveTo>
                  <a:pt x="4216493" y="4486181"/>
                </a:moveTo>
                <a:cubicBezTo>
                  <a:pt x="4216493" y="4482459"/>
                  <a:pt x="4213455" y="4479421"/>
                  <a:pt x="4209734" y="4479421"/>
                </a:cubicBezTo>
                <a:cubicBezTo>
                  <a:pt x="4206012" y="4479421"/>
                  <a:pt x="4202974" y="4482459"/>
                  <a:pt x="4202974" y="4486181"/>
                </a:cubicBezTo>
                <a:cubicBezTo>
                  <a:pt x="4202974" y="4489902"/>
                  <a:pt x="4206012" y="4492939"/>
                  <a:pt x="4209734" y="4492939"/>
                </a:cubicBezTo>
                <a:cubicBezTo>
                  <a:pt x="4213455" y="4492939"/>
                  <a:pt x="4216493" y="4489902"/>
                  <a:pt x="4216493" y="4486181"/>
                </a:cubicBezTo>
                <a:moveTo>
                  <a:pt x="4203430" y="4304136"/>
                </a:moveTo>
                <a:cubicBezTo>
                  <a:pt x="4203430" y="4300111"/>
                  <a:pt x="4200164" y="4296769"/>
                  <a:pt x="4196063" y="4296769"/>
                </a:cubicBezTo>
                <a:cubicBezTo>
                  <a:pt x="4191962" y="4296769"/>
                  <a:pt x="4188697" y="4300035"/>
                  <a:pt x="4188697" y="4304136"/>
                </a:cubicBezTo>
                <a:cubicBezTo>
                  <a:pt x="4188697" y="4308161"/>
                  <a:pt x="4191962" y="4311503"/>
                  <a:pt x="4196063" y="4311503"/>
                </a:cubicBezTo>
                <a:cubicBezTo>
                  <a:pt x="4200164" y="4311503"/>
                  <a:pt x="4203430" y="4308161"/>
                  <a:pt x="4203430" y="4304136"/>
                </a:cubicBezTo>
                <a:moveTo>
                  <a:pt x="4172823" y="4124293"/>
                </a:moveTo>
                <a:cubicBezTo>
                  <a:pt x="4172823" y="4119661"/>
                  <a:pt x="4169026" y="4115864"/>
                  <a:pt x="4164317" y="4115864"/>
                </a:cubicBezTo>
                <a:cubicBezTo>
                  <a:pt x="4159685" y="4115864"/>
                  <a:pt x="4155887" y="4119661"/>
                  <a:pt x="4155887" y="4124293"/>
                </a:cubicBezTo>
                <a:cubicBezTo>
                  <a:pt x="4155887" y="4128926"/>
                  <a:pt x="4159685" y="4132723"/>
                  <a:pt x="4164317" y="4132723"/>
                </a:cubicBezTo>
                <a:cubicBezTo>
                  <a:pt x="4169026" y="4132723"/>
                  <a:pt x="4172823" y="4128926"/>
                  <a:pt x="4172823" y="4124293"/>
                </a:cubicBezTo>
                <a:moveTo>
                  <a:pt x="4123990" y="3948476"/>
                </a:moveTo>
                <a:cubicBezTo>
                  <a:pt x="4123990" y="3943464"/>
                  <a:pt x="4119964" y="3939439"/>
                  <a:pt x="4114952" y="3939439"/>
                </a:cubicBezTo>
                <a:cubicBezTo>
                  <a:pt x="4109939" y="3939439"/>
                  <a:pt x="4105914" y="3943464"/>
                  <a:pt x="4105914" y="3948476"/>
                </a:cubicBezTo>
                <a:cubicBezTo>
                  <a:pt x="4105914" y="3953489"/>
                  <a:pt x="4109939" y="3957514"/>
                  <a:pt x="4114952" y="3957514"/>
                </a:cubicBezTo>
                <a:cubicBezTo>
                  <a:pt x="4119964" y="3957514"/>
                  <a:pt x="4123990" y="3953489"/>
                  <a:pt x="4123990" y="3948476"/>
                </a:cubicBezTo>
                <a:moveTo>
                  <a:pt x="4058372" y="3778508"/>
                </a:moveTo>
                <a:cubicBezTo>
                  <a:pt x="4058372" y="3772888"/>
                  <a:pt x="4053815" y="3768331"/>
                  <a:pt x="4048195" y="3768331"/>
                </a:cubicBezTo>
                <a:cubicBezTo>
                  <a:pt x="4042574" y="3768331"/>
                  <a:pt x="4038018" y="3772888"/>
                  <a:pt x="4038018" y="3778508"/>
                </a:cubicBezTo>
                <a:cubicBezTo>
                  <a:pt x="4038018" y="3784128"/>
                  <a:pt x="4042574" y="3788684"/>
                  <a:pt x="4048195" y="3788684"/>
                </a:cubicBezTo>
                <a:cubicBezTo>
                  <a:pt x="4053815" y="3788684"/>
                  <a:pt x="4058372" y="3784128"/>
                  <a:pt x="4058372" y="3778508"/>
                </a:cubicBezTo>
                <a:moveTo>
                  <a:pt x="3975665" y="3616057"/>
                </a:moveTo>
                <a:cubicBezTo>
                  <a:pt x="3975665" y="3610133"/>
                  <a:pt x="3970881" y="3605349"/>
                  <a:pt x="3964957" y="3605349"/>
                </a:cubicBezTo>
                <a:cubicBezTo>
                  <a:pt x="3959033" y="3605349"/>
                  <a:pt x="3954248" y="3610133"/>
                  <a:pt x="3954248" y="3616057"/>
                </a:cubicBezTo>
                <a:cubicBezTo>
                  <a:pt x="3954248" y="3621981"/>
                  <a:pt x="3959033" y="3626766"/>
                  <a:pt x="3964957" y="3626766"/>
                </a:cubicBezTo>
                <a:cubicBezTo>
                  <a:pt x="3970805" y="3626766"/>
                  <a:pt x="3975665" y="3621905"/>
                  <a:pt x="3975665" y="3616057"/>
                </a:cubicBezTo>
                <a:moveTo>
                  <a:pt x="3877086" y="3462645"/>
                </a:moveTo>
                <a:cubicBezTo>
                  <a:pt x="3877086" y="3456417"/>
                  <a:pt x="3871998" y="3451328"/>
                  <a:pt x="3865770" y="3451328"/>
                </a:cubicBezTo>
                <a:cubicBezTo>
                  <a:pt x="3859543" y="3451328"/>
                  <a:pt x="3854454" y="3456417"/>
                  <a:pt x="3854454" y="3462645"/>
                </a:cubicBezTo>
                <a:cubicBezTo>
                  <a:pt x="3854454" y="3468872"/>
                  <a:pt x="3859543" y="3473961"/>
                  <a:pt x="3865770" y="3473961"/>
                </a:cubicBezTo>
                <a:cubicBezTo>
                  <a:pt x="3872074" y="3473885"/>
                  <a:pt x="3877086" y="3468872"/>
                  <a:pt x="3877086" y="3462645"/>
                </a:cubicBezTo>
                <a:moveTo>
                  <a:pt x="3763242" y="3319864"/>
                </a:moveTo>
                <a:cubicBezTo>
                  <a:pt x="3763242" y="3313637"/>
                  <a:pt x="3758154" y="3308548"/>
                  <a:pt x="3751926" y="3308548"/>
                </a:cubicBezTo>
                <a:cubicBezTo>
                  <a:pt x="3745698" y="3308548"/>
                  <a:pt x="3740610" y="3313637"/>
                  <a:pt x="3740610" y="3319864"/>
                </a:cubicBezTo>
                <a:cubicBezTo>
                  <a:pt x="3740610" y="3326092"/>
                  <a:pt x="3745698" y="3331181"/>
                  <a:pt x="3751926" y="3331181"/>
                </a:cubicBezTo>
                <a:cubicBezTo>
                  <a:pt x="3758230" y="3331105"/>
                  <a:pt x="3763242" y="3326092"/>
                  <a:pt x="3763242" y="3319864"/>
                </a:cubicBezTo>
                <a:moveTo>
                  <a:pt x="3635803" y="3189160"/>
                </a:moveTo>
                <a:cubicBezTo>
                  <a:pt x="3635803" y="3182932"/>
                  <a:pt x="3630715" y="3177844"/>
                  <a:pt x="3624487" y="3177844"/>
                </a:cubicBezTo>
                <a:cubicBezTo>
                  <a:pt x="3618260" y="3177844"/>
                  <a:pt x="3613171" y="3182932"/>
                  <a:pt x="3613171" y="3189160"/>
                </a:cubicBezTo>
                <a:cubicBezTo>
                  <a:pt x="3613171" y="3195388"/>
                  <a:pt x="3618184" y="3200476"/>
                  <a:pt x="3624487" y="3200476"/>
                </a:cubicBezTo>
                <a:cubicBezTo>
                  <a:pt x="3630715" y="3200400"/>
                  <a:pt x="3635803" y="3195388"/>
                  <a:pt x="3635803" y="3189160"/>
                </a:cubicBezTo>
                <a:moveTo>
                  <a:pt x="3495909" y="3071746"/>
                </a:moveTo>
                <a:cubicBezTo>
                  <a:pt x="3495909" y="3065519"/>
                  <a:pt x="3490821" y="3060430"/>
                  <a:pt x="3484593" y="3060430"/>
                </a:cubicBezTo>
                <a:cubicBezTo>
                  <a:pt x="3478366" y="3060430"/>
                  <a:pt x="3473277" y="3065519"/>
                  <a:pt x="3473277" y="3071746"/>
                </a:cubicBezTo>
                <a:cubicBezTo>
                  <a:pt x="3473277" y="3077974"/>
                  <a:pt x="3478366" y="3083062"/>
                  <a:pt x="3484593" y="3083062"/>
                </a:cubicBezTo>
                <a:cubicBezTo>
                  <a:pt x="3490821" y="3083062"/>
                  <a:pt x="3495909" y="3077974"/>
                  <a:pt x="3495909" y="3071746"/>
                </a:cubicBezTo>
                <a:moveTo>
                  <a:pt x="3344471" y="2968914"/>
                </a:moveTo>
                <a:cubicBezTo>
                  <a:pt x="3344471" y="2962990"/>
                  <a:pt x="3339687" y="2958206"/>
                  <a:pt x="3333763" y="2958206"/>
                </a:cubicBezTo>
                <a:cubicBezTo>
                  <a:pt x="3327839" y="2958206"/>
                  <a:pt x="3323054" y="2962990"/>
                  <a:pt x="3323054" y="2968914"/>
                </a:cubicBezTo>
                <a:cubicBezTo>
                  <a:pt x="3323054" y="2974838"/>
                  <a:pt x="3327839" y="2979623"/>
                  <a:pt x="3333763" y="2979623"/>
                </a:cubicBezTo>
                <a:cubicBezTo>
                  <a:pt x="3339687" y="2979623"/>
                  <a:pt x="3344471" y="2974838"/>
                  <a:pt x="3344471" y="2968914"/>
                </a:cubicBezTo>
                <a:moveTo>
                  <a:pt x="3183540" y="2881575"/>
                </a:moveTo>
                <a:cubicBezTo>
                  <a:pt x="3183540" y="2875955"/>
                  <a:pt x="3178983" y="2871398"/>
                  <a:pt x="3173363" y="2871398"/>
                </a:cubicBezTo>
                <a:cubicBezTo>
                  <a:pt x="3167743" y="2871398"/>
                  <a:pt x="3163186" y="2875955"/>
                  <a:pt x="3163186" y="2881575"/>
                </a:cubicBezTo>
                <a:cubicBezTo>
                  <a:pt x="3163186" y="2887195"/>
                  <a:pt x="3167743" y="2891752"/>
                  <a:pt x="3173363" y="2891752"/>
                </a:cubicBezTo>
                <a:cubicBezTo>
                  <a:pt x="3178983" y="2891752"/>
                  <a:pt x="3183540" y="2887195"/>
                  <a:pt x="3183540" y="2881575"/>
                </a:cubicBezTo>
                <a:moveTo>
                  <a:pt x="3014710" y="2810641"/>
                </a:moveTo>
                <a:cubicBezTo>
                  <a:pt x="3014710" y="2805325"/>
                  <a:pt x="3010381" y="2801072"/>
                  <a:pt x="3005141" y="2801072"/>
                </a:cubicBezTo>
                <a:cubicBezTo>
                  <a:pt x="2999824" y="2801072"/>
                  <a:pt x="2995571" y="2805401"/>
                  <a:pt x="2995571" y="2810641"/>
                </a:cubicBezTo>
                <a:cubicBezTo>
                  <a:pt x="2995571" y="2815957"/>
                  <a:pt x="2999824" y="2820210"/>
                  <a:pt x="3005141" y="2820210"/>
                </a:cubicBezTo>
                <a:cubicBezTo>
                  <a:pt x="3010381" y="2820210"/>
                  <a:pt x="3014710" y="2815957"/>
                  <a:pt x="3014710" y="2810641"/>
                </a:cubicBezTo>
                <a:moveTo>
                  <a:pt x="2839045" y="2756795"/>
                </a:moveTo>
                <a:cubicBezTo>
                  <a:pt x="2839045" y="2752162"/>
                  <a:pt x="2835248" y="2748364"/>
                  <a:pt x="2830615" y="2748364"/>
                </a:cubicBezTo>
                <a:cubicBezTo>
                  <a:pt x="2825906" y="2748364"/>
                  <a:pt x="2822185" y="2752162"/>
                  <a:pt x="2822185" y="2756795"/>
                </a:cubicBezTo>
                <a:cubicBezTo>
                  <a:pt x="2822185" y="2761503"/>
                  <a:pt x="2825982" y="2765225"/>
                  <a:pt x="2830615" y="2765225"/>
                </a:cubicBezTo>
                <a:cubicBezTo>
                  <a:pt x="2835324" y="2765301"/>
                  <a:pt x="2839045" y="2761503"/>
                  <a:pt x="2839045" y="2756795"/>
                </a:cubicBezTo>
                <a:moveTo>
                  <a:pt x="2659507" y="2720644"/>
                </a:moveTo>
                <a:cubicBezTo>
                  <a:pt x="2659507" y="2716315"/>
                  <a:pt x="2655937" y="2712745"/>
                  <a:pt x="2651608" y="2712745"/>
                </a:cubicBezTo>
                <a:cubicBezTo>
                  <a:pt x="2647279" y="2712745"/>
                  <a:pt x="2643710" y="2716315"/>
                  <a:pt x="2643710" y="2720644"/>
                </a:cubicBezTo>
                <a:cubicBezTo>
                  <a:pt x="2643710" y="2724973"/>
                  <a:pt x="2647279" y="2728542"/>
                  <a:pt x="2651608" y="2728542"/>
                </a:cubicBezTo>
                <a:cubicBezTo>
                  <a:pt x="2655937" y="2728542"/>
                  <a:pt x="2659507" y="2724973"/>
                  <a:pt x="2659507" y="2720644"/>
                </a:cubicBezTo>
                <a:moveTo>
                  <a:pt x="2476703" y="2702493"/>
                </a:moveTo>
                <a:cubicBezTo>
                  <a:pt x="2476703" y="2698771"/>
                  <a:pt x="2473665" y="2695733"/>
                  <a:pt x="2469943" y="2695733"/>
                </a:cubicBezTo>
                <a:cubicBezTo>
                  <a:pt x="2466222" y="2695733"/>
                  <a:pt x="2463184" y="2698771"/>
                  <a:pt x="2463184" y="2702493"/>
                </a:cubicBezTo>
                <a:cubicBezTo>
                  <a:pt x="2463184" y="2706214"/>
                  <a:pt x="2466222" y="2709252"/>
                  <a:pt x="2469943" y="2709252"/>
                </a:cubicBezTo>
                <a:cubicBezTo>
                  <a:pt x="2473665" y="2709252"/>
                  <a:pt x="2476703" y="2706214"/>
                  <a:pt x="2476703" y="2702493"/>
                </a:cubicBezTo>
                <a:moveTo>
                  <a:pt x="2292987" y="2702493"/>
                </a:moveTo>
                <a:cubicBezTo>
                  <a:pt x="2292987" y="2699379"/>
                  <a:pt x="2290481" y="2696872"/>
                  <a:pt x="2287367" y="2696872"/>
                </a:cubicBezTo>
                <a:cubicBezTo>
                  <a:pt x="2284253" y="2696872"/>
                  <a:pt x="2281747" y="2699379"/>
                  <a:pt x="2281747" y="2702493"/>
                </a:cubicBezTo>
                <a:cubicBezTo>
                  <a:pt x="2281747" y="2705607"/>
                  <a:pt x="2284253" y="2708113"/>
                  <a:pt x="2287367" y="2708113"/>
                </a:cubicBezTo>
                <a:cubicBezTo>
                  <a:pt x="2290405" y="2708113"/>
                  <a:pt x="2292987" y="2705607"/>
                  <a:pt x="2292987" y="2702493"/>
                </a:cubicBezTo>
                <a:moveTo>
                  <a:pt x="2110107" y="2720644"/>
                </a:moveTo>
                <a:cubicBezTo>
                  <a:pt x="2110107" y="2718138"/>
                  <a:pt x="2108057" y="2716163"/>
                  <a:pt x="2105626" y="2716163"/>
                </a:cubicBezTo>
                <a:cubicBezTo>
                  <a:pt x="2103196" y="2716163"/>
                  <a:pt x="2101146" y="2718214"/>
                  <a:pt x="2101146" y="2720644"/>
                </a:cubicBezTo>
                <a:cubicBezTo>
                  <a:pt x="2101146" y="2723150"/>
                  <a:pt x="2103196" y="2725125"/>
                  <a:pt x="2105626" y="2725125"/>
                </a:cubicBezTo>
                <a:cubicBezTo>
                  <a:pt x="2108057" y="2725125"/>
                  <a:pt x="2110107" y="2723150"/>
                  <a:pt x="2110107" y="2720644"/>
                </a:cubicBezTo>
                <a:moveTo>
                  <a:pt x="1930569" y="2756795"/>
                </a:moveTo>
                <a:cubicBezTo>
                  <a:pt x="1930569" y="2754592"/>
                  <a:pt x="1928822" y="2752845"/>
                  <a:pt x="1926620" y="2752845"/>
                </a:cubicBezTo>
                <a:cubicBezTo>
                  <a:pt x="1924417" y="2752845"/>
                  <a:pt x="1922670" y="2754592"/>
                  <a:pt x="1922670" y="2756795"/>
                </a:cubicBezTo>
                <a:cubicBezTo>
                  <a:pt x="1922670" y="2758997"/>
                  <a:pt x="1924417" y="2760744"/>
                  <a:pt x="1926620" y="2760744"/>
                </a:cubicBezTo>
                <a:cubicBezTo>
                  <a:pt x="1928822" y="2760744"/>
                  <a:pt x="1930569" y="2758997"/>
                  <a:pt x="1930569" y="2756795"/>
                </a:cubicBezTo>
                <a:moveTo>
                  <a:pt x="1754980" y="2810641"/>
                </a:moveTo>
                <a:cubicBezTo>
                  <a:pt x="1754980" y="2809122"/>
                  <a:pt x="1753689" y="2807831"/>
                  <a:pt x="1752170" y="2807831"/>
                </a:cubicBezTo>
                <a:cubicBezTo>
                  <a:pt x="1750575" y="2807831"/>
                  <a:pt x="1749360" y="2809122"/>
                  <a:pt x="1749360" y="2810641"/>
                </a:cubicBezTo>
                <a:cubicBezTo>
                  <a:pt x="1749360" y="2812236"/>
                  <a:pt x="1750651" y="2813451"/>
                  <a:pt x="1752170" y="2813451"/>
                </a:cubicBezTo>
                <a:cubicBezTo>
                  <a:pt x="1753689" y="2813451"/>
                  <a:pt x="1754980" y="2812236"/>
                  <a:pt x="1754980" y="2810641"/>
                </a:cubicBezTo>
                <a:moveTo>
                  <a:pt x="1586150" y="2881575"/>
                </a:moveTo>
                <a:cubicBezTo>
                  <a:pt x="1586150" y="2880360"/>
                  <a:pt x="1585163" y="2879297"/>
                  <a:pt x="1583871" y="2879297"/>
                </a:cubicBezTo>
                <a:cubicBezTo>
                  <a:pt x="1582580" y="2879297"/>
                  <a:pt x="1581593" y="2880284"/>
                  <a:pt x="1581593" y="2881575"/>
                </a:cubicBezTo>
                <a:cubicBezTo>
                  <a:pt x="1581593" y="2882790"/>
                  <a:pt x="1582580" y="2883854"/>
                  <a:pt x="1583871" y="2883854"/>
                </a:cubicBezTo>
                <a:cubicBezTo>
                  <a:pt x="1585163" y="2883854"/>
                  <a:pt x="1586150" y="2882790"/>
                  <a:pt x="1586150" y="2881575"/>
                </a:cubicBezTo>
                <a:moveTo>
                  <a:pt x="1424687" y="2968914"/>
                </a:moveTo>
                <a:cubicBezTo>
                  <a:pt x="1424687" y="2968307"/>
                  <a:pt x="1424155" y="2967775"/>
                  <a:pt x="1423548" y="2967775"/>
                </a:cubicBezTo>
                <a:cubicBezTo>
                  <a:pt x="1422940" y="2967775"/>
                  <a:pt x="1422408" y="2968307"/>
                  <a:pt x="1422408" y="2968914"/>
                </a:cubicBezTo>
                <a:cubicBezTo>
                  <a:pt x="1422408" y="2969522"/>
                  <a:pt x="1422940" y="2970053"/>
                  <a:pt x="1423548" y="2970053"/>
                </a:cubicBezTo>
                <a:cubicBezTo>
                  <a:pt x="1424155" y="2970053"/>
                  <a:pt x="1424687" y="2969522"/>
                  <a:pt x="1424687" y="2968914"/>
                </a:cubicBezTo>
                <a:moveTo>
                  <a:pt x="1273249" y="3071746"/>
                </a:moveTo>
                <a:cubicBezTo>
                  <a:pt x="1273249" y="3071442"/>
                  <a:pt x="1273021" y="3071215"/>
                  <a:pt x="1272641" y="3071215"/>
                </a:cubicBezTo>
                <a:cubicBezTo>
                  <a:pt x="1272338" y="3071215"/>
                  <a:pt x="1272110" y="3071442"/>
                  <a:pt x="1272110" y="3071746"/>
                </a:cubicBezTo>
                <a:cubicBezTo>
                  <a:pt x="1272110" y="3072050"/>
                  <a:pt x="1272338" y="3072278"/>
                  <a:pt x="1272641" y="3072278"/>
                </a:cubicBezTo>
                <a:cubicBezTo>
                  <a:pt x="1272945" y="3072354"/>
                  <a:pt x="1273249" y="3072050"/>
                  <a:pt x="1273249" y="3071746"/>
                </a:cubicBezTo>
                <a:moveTo>
                  <a:pt x="1133355" y="3189160"/>
                </a:moveTo>
                <a:cubicBezTo>
                  <a:pt x="1133355" y="3188856"/>
                  <a:pt x="1133127" y="3188628"/>
                  <a:pt x="1132823" y="3188628"/>
                </a:cubicBezTo>
                <a:cubicBezTo>
                  <a:pt x="1132519" y="3188628"/>
                  <a:pt x="1132292" y="3188856"/>
                  <a:pt x="1132292" y="3189160"/>
                </a:cubicBezTo>
                <a:cubicBezTo>
                  <a:pt x="1132292" y="3189464"/>
                  <a:pt x="1132519" y="3189692"/>
                  <a:pt x="1132823" y="3189692"/>
                </a:cubicBezTo>
                <a:cubicBezTo>
                  <a:pt x="1133127" y="3189692"/>
                  <a:pt x="1133355" y="3189464"/>
                  <a:pt x="1133355" y="3189160"/>
                </a:cubicBezTo>
                <a:moveTo>
                  <a:pt x="3850201" y="5938284"/>
                </a:moveTo>
                <a:cubicBezTo>
                  <a:pt x="3850201" y="5937980"/>
                  <a:pt x="3849973" y="5937677"/>
                  <a:pt x="3849670" y="5937677"/>
                </a:cubicBezTo>
                <a:cubicBezTo>
                  <a:pt x="3849366" y="5937677"/>
                  <a:pt x="3849138" y="5937904"/>
                  <a:pt x="3849138" y="5938284"/>
                </a:cubicBezTo>
                <a:cubicBezTo>
                  <a:pt x="3849138" y="5938664"/>
                  <a:pt x="3849366" y="5938815"/>
                  <a:pt x="3849670" y="5938815"/>
                </a:cubicBezTo>
                <a:cubicBezTo>
                  <a:pt x="3849973" y="5938815"/>
                  <a:pt x="3850201" y="5938588"/>
                  <a:pt x="3850201" y="5938284"/>
                </a:cubicBezTo>
                <a:moveTo>
                  <a:pt x="3970349" y="5800744"/>
                </a:moveTo>
                <a:cubicBezTo>
                  <a:pt x="3970349" y="5800441"/>
                  <a:pt x="3970121" y="5800212"/>
                  <a:pt x="3969818" y="5800212"/>
                </a:cubicBezTo>
                <a:cubicBezTo>
                  <a:pt x="3969514" y="5800212"/>
                  <a:pt x="3969286" y="5800441"/>
                  <a:pt x="3969286" y="5800744"/>
                </a:cubicBezTo>
                <a:cubicBezTo>
                  <a:pt x="3969286" y="5801048"/>
                  <a:pt x="3969514" y="5801276"/>
                  <a:pt x="3969818" y="5801276"/>
                </a:cubicBezTo>
                <a:cubicBezTo>
                  <a:pt x="3970121" y="5801276"/>
                  <a:pt x="3970349" y="5801124"/>
                  <a:pt x="3970349" y="5800744"/>
                </a:cubicBezTo>
                <a:moveTo>
                  <a:pt x="4078270" y="5653027"/>
                </a:moveTo>
                <a:cubicBezTo>
                  <a:pt x="4078270" y="5652420"/>
                  <a:pt x="4077738" y="5651889"/>
                  <a:pt x="4077131" y="5651889"/>
                </a:cubicBezTo>
                <a:cubicBezTo>
                  <a:pt x="4076523" y="5651889"/>
                  <a:pt x="4075991" y="5652420"/>
                  <a:pt x="4075991" y="5653027"/>
                </a:cubicBezTo>
                <a:cubicBezTo>
                  <a:pt x="4075991" y="5653635"/>
                  <a:pt x="4076523" y="5654167"/>
                  <a:pt x="4077131" y="5654167"/>
                </a:cubicBezTo>
                <a:cubicBezTo>
                  <a:pt x="4077738" y="5654167"/>
                  <a:pt x="4078270" y="5653635"/>
                  <a:pt x="4078270" y="5653027"/>
                </a:cubicBezTo>
                <a:moveTo>
                  <a:pt x="4172520" y="5496274"/>
                </a:moveTo>
                <a:cubicBezTo>
                  <a:pt x="4172520" y="5495362"/>
                  <a:pt x="4171760" y="5494602"/>
                  <a:pt x="4170849" y="5494602"/>
                </a:cubicBezTo>
                <a:cubicBezTo>
                  <a:pt x="4169937" y="5494602"/>
                  <a:pt x="4169178" y="5495362"/>
                  <a:pt x="4169178" y="5496274"/>
                </a:cubicBezTo>
                <a:cubicBezTo>
                  <a:pt x="4169178" y="5497185"/>
                  <a:pt x="4169937" y="5497944"/>
                  <a:pt x="4170849" y="5497944"/>
                </a:cubicBezTo>
                <a:cubicBezTo>
                  <a:pt x="4171760" y="5497944"/>
                  <a:pt x="4172520" y="5497185"/>
                  <a:pt x="4172520" y="5496274"/>
                </a:cubicBezTo>
                <a:moveTo>
                  <a:pt x="4252871" y="5331772"/>
                </a:moveTo>
                <a:cubicBezTo>
                  <a:pt x="4252871" y="5330253"/>
                  <a:pt x="4251580" y="5328962"/>
                  <a:pt x="4250061" y="5328962"/>
                </a:cubicBezTo>
                <a:cubicBezTo>
                  <a:pt x="4248542" y="5328962"/>
                  <a:pt x="4247251" y="5330253"/>
                  <a:pt x="4247251" y="5331772"/>
                </a:cubicBezTo>
                <a:cubicBezTo>
                  <a:pt x="4247251" y="5333367"/>
                  <a:pt x="4248542" y="5334582"/>
                  <a:pt x="4250061" y="5334582"/>
                </a:cubicBezTo>
                <a:cubicBezTo>
                  <a:pt x="4251580" y="5334582"/>
                  <a:pt x="4252871" y="5333291"/>
                  <a:pt x="4252871" y="5331772"/>
                </a:cubicBezTo>
                <a:moveTo>
                  <a:pt x="4318186" y="5160740"/>
                </a:moveTo>
                <a:cubicBezTo>
                  <a:pt x="4318186" y="5158538"/>
                  <a:pt x="4316439" y="5156791"/>
                  <a:pt x="4314237" y="5156791"/>
                </a:cubicBezTo>
                <a:cubicBezTo>
                  <a:pt x="4312034" y="5156791"/>
                  <a:pt x="4310287" y="5158538"/>
                  <a:pt x="4310287" y="5160740"/>
                </a:cubicBezTo>
                <a:cubicBezTo>
                  <a:pt x="4310287" y="5162943"/>
                  <a:pt x="4312034" y="5164689"/>
                  <a:pt x="4314237" y="5164689"/>
                </a:cubicBezTo>
                <a:cubicBezTo>
                  <a:pt x="4316439" y="5164689"/>
                  <a:pt x="4318186" y="5162943"/>
                  <a:pt x="4318186" y="5160740"/>
                </a:cubicBezTo>
                <a:moveTo>
                  <a:pt x="4367323" y="4984695"/>
                </a:moveTo>
                <a:cubicBezTo>
                  <a:pt x="4367323" y="4982189"/>
                  <a:pt x="4365273" y="4980139"/>
                  <a:pt x="4362843" y="4980139"/>
                </a:cubicBezTo>
                <a:cubicBezTo>
                  <a:pt x="4360336" y="4980139"/>
                  <a:pt x="4358362" y="4982189"/>
                  <a:pt x="4358362" y="4984695"/>
                </a:cubicBezTo>
                <a:cubicBezTo>
                  <a:pt x="4358362" y="4987202"/>
                  <a:pt x="4360412" y="4989176"/>
                  <a:pt x="4362843" y="4989176"/>
                </a:cubicBezTo>
                <a:cubicBezTo>
                  <a:pt x="4365273" y="4989252"/>
                  <a:pt x="4367323" y="4987202"/>
                  <a:pt x="4367323" y="4984695"/>
                </a:cubicBezTo>
                <a:moveTo>
                  <a:pt x="4401044" y="4805081"/>
                </a:moveTo>
                <a:cubicBezTo>
                  <a:pt x="4401044" y="4801967"/>
                  <a:pt x="4398537" y="4799461"/>
                  <a:pt x="4395424" y="4799461"/>
                </a:cubicBezTo>
                <a:cubicBezTo>
                  <a:pt x="4392310" y="4799461"/>
                  <a:pt x="4389804" y="4801967"/>
                  <a:pt x="4389804" y="4805081"/>
                </a:cubicBezTo>
                <a:cubicBezTo>
                  <a:pt x="4389804" y="4808195"/>
                  <a:pt x="4392310" y="4810701"/>
                  <a:pt x="4395424" y="4810701"/>
                </a:cubicBezTo>
                <a:cubicBezTo>
                  <a:pt x="4398537" y="4810701"/>
                  <a:pt x="4401044" y="4808195"/>
                  <a:pt x="4401044" y="4805081"/>
                </a:cubicBezTo>
                <a:moveTo>
                  <a:pt x="4418511" y="4623188"/>
                </a:moveTo>
                <a:cubicBezTo>
                  <a:pt x="4418511" y="4619467"/>
                  <a:pt x="4415474" y="4616429"/>
                  <a:pt x="4411753" y="4616429"/>
                </a:cubicBezTo>
                <a:cubicBezTo>
                  <a:pt x="4408031" y="4616429"/>
                  <a:pt x="4404993" y="4619467"/>
                  <a:pt x="4404993" y="4623188"/>
                </a:cubicBezTo>
                <a:cubicBezTo>
                  <a:pt x="4404993" y="4626910"/>
                  <a:pt x="4408031" y="4629948"/>
                  <a:pt x="4411753" y="4629948"/>
                </a:cubicBezTo>
                <a:cubicBezTo>
                  <a:pt x="4415550" y="4629948"/>
                  <a:pt x="4418511" y="4626910"/>
                  <a:pt x="4418511" y="4623188"/>
                </a:cubicBezTo>
                <a:moveTo>
                  <a:pt x="4419651" y="4440536"/>
                </a:moveTo>
                <a:cubicBezTo>
                  <a:pt x="4419651" y="4436207"/>
                  <a:pt x="4416081" y="4432638"/>
                  <a:pt x="4411753" y="4432638"/>
                </a:cubicBezTo>
                <a:cubicBezTo>
                  <a:pt x="4407424" y="4432638"/>
                  <a:pt x="4403854" y="4436207"/>
                  <a:pt x="4403854" y="4440536"/>
                </a:cubicBezTo>
                <a:cubicBezTo>
                  <a:pt x="4403854" y="4444941"/>
                  <a:pt x="4407424" y="4448435"/>
                  <a:pt x="4411753" y="4448435"/>
                </a:cubicBezTo>
                <a:cubicBezTo>
                  <a:pt x="4416157" y="4448435"/>
                  <a:pt x="4419651" y="4444941"/>
                  <a:pt x="4419651" y="4440536"/>
                </a:cubicBezTo>
                <a:moveTo>
                  <a:pt x="4404461" y="4258644"/>
                </a:moveTo>
                <a:cubicBezTo>
                  <a:pt x="4404461" y="4253631"/>
                  <a:pt x="4400436" y="4249606"/>
                  <a:pt x="4395424" y="4249606"/>
                </a:cubicBezTo>
                <a:cubicBezTo>
                  <a:pt x="4390411" y="4249606"/>
                  <a:pt x="4386386" y="4253631"/>
                  <a:pt x="4386386" y="4258644"/>
                </a:cubicBezTo>
                <a:cubicBezTo>
                  <a:pt x="4386386" y="4263656"/>
                  <a:pt x="4390411" y="4267681"/>
                  <a:pt x="4395424" y="4267681"/>
                </a:cubicBezTo>
                <a:cubicBezTo>
                  <a:pt x="4400361" y="4267681"/>
                  <a:pt x="4404461" y="4263656"/>
                  <a:pt x="4404461" y="4258644"/>
                </a:cubicBezTo>
                <a:moveTo>
                  <a:pt x="4372943" y="4078953"/>
                </a:moveTo>
                <a:cubicBezTo>
                  <a:pt x="4372943" y="4073333"/>
                  <a:pt x="4368387" y="4068776"/>
                  <a:pt x="4362767" y="4068776"/>
                </a:cubicBezTo>
                <a:cubicBezTo>
                  <a:pt x="4357147" y="4068776"/>
                  <a:pt x="4352590" y="4073333"/>
                  <a:pt x="4352590" y="4078953"/>
                </a:cubicBezTo>
                <a:cubicBezTo>
                  <a:pt x="4352590" y="4084573"/>
                  <a:pt x="4357147" y="4089130"/>
                  <a:pt x="4362767" y="4089130"/>
                </a:cubicBezTo>
                <a:cubicBezTo>
                  <a:pt x="4368387" y="4089130"/>
                  <a:pt x="4372943" y="4084573"/>
                  <a:pt x="4372943" y="4078953"/>
                </a:cubicBezTo>
                <a:moveTo>
                  <a:pt x="4325477" y="3902984"/>
                </a:moveTo>
                <a:cubicBezTo>
                  <a:pt x="4325477" y="3896757"/>
                  <a:pt x="4320388" y="3891668"/>
                  <a:pt x="4314161" y="3891668"/>
                </a:cubicBezTo>
                <a:cubicBezTo>
                  <a:pt x="4307933" y="3891668"/>
                  <a:pt x="4302845" y="3896757"/>
                  <a:pt x="4302845" y="3902984"/>
                </a:cubicBezTo>
                <a:cubicBezTo>
                  <a:pt x="4302845" y="3909212"/>
                  <a:pt x="4307857" y="3914225"/>
                  <a:pt x="4314161" y="3914225"/>
                </a:cubicBezTo>
                <a:cubicBezTo>
                  <a:pt x="4320464" y="3914225"/>
                  <a:pt x="4325477" y="3909212"/>
                  <a:pt x="4325477" y="3902984"/>
                </a:cubicBezTo>
                <a:moveTo>
                  <a:pt x="4261909" y="3731952"/>
                </a:moveTo>
                <a:cubicBezTo>
                  <a:pt x="4261909" y="3725421"/>
                  <a:pt x="4256593" y="3720104"/>
                  <a:pt x="4250061" y="3720104"/>
                </a:cubicBezTo>
                <a:cubicBezTo>
                  <a:pt x="4243530" y="3720104"/>
                  <a:pt x="4238214" y="3725421"/>
                  <a:pt x="4238214" y="3731952"/>
                </a:cubicBezTo>
                <a:cubicBezTo>
                  <a:pt x="4238214" y="3738484"/>
                  <a:pt x="4243530" y="3743800"/>
                  <a:pt x="4250061" y="3743800"/>
                </a:cubicBezTo>
                <a:cubicBezTo>
                  <a:pt x="4256593" y="3743800"/>
                  <a:pt x="4261909" y="3738484"/>
                  <a:pt x="4261909" y="3731952"/>
                </a:cubicBezTo>
                <a:moveTo>
                  <a:pt x="4183228" y="3567451"/>
                </a:moveTo>
                <a:cubicBezTo>
                  <a:pt x="4183228" y="3560616"/>
                  <a:pt x="4177684" y="3555072"/>
                  <a:pt x="4170773" y="3555072"/>
                </a:cubicBezTo>
                <a:cubicBezTo>
                  <a:pt x="4163938" y="3555072"/>
                  <a:pt x="4158318" y="3560616"/>
                  <a:pt x="4158318" y="3567451"/>
                </a:cubicBezTo>
                <a:cubicBezTo>
                  <a:pt x="4158318" y="3574286"/>
                  <a:pt x="4163862" y="3579907"/>
                  <a:pt x="4170773" y="3579907"/>
                </a:cubicBezTo>
                <a:cubicBezTo>
                  <a:pt x="4177684" y="3579831"/>
                  <a:pt x="4183228" y="3574286"/>
                  <a:pt x="4183228" y="3567451"/>
                </a:cubicBezTo>
                <a:moveTo>
                  <a:pt x="4090117" y="3410697"/>
                </a:moveTo>
                <a:cubicBezTo>
                  <a:pt x="4090117" y="3403558"/>
                  <a:pt x="4084270" y="3397710"/>
                  <a:pt x="4077131" y="3397710"/>
                </a:cubicBezTo>
                <a:cubicBezTo>
                  <a:pt x="4069992" y="3397710"/>
                  <a:pt x="4064144" y="3403558"/>
                  <a:pt x="4064144" y="3410697"/>
                </a:cubicBezTo>
                <a:cubicBezTo>
                  <a:pt x="4064144" y="3417836"/>
                  <a:pt x="4069992" y="3423684"/>
                  <a:pt x="4077131" y="3423684"/>
                </a:cubicBezTo>
                <a:cubicBezTo>
                  <a:pt x="4084345" y="3423684"/>
                  <a:pt x="4090117" y="3417836"/>
                  <a:pt x="4090117" y="3410697"/>
                </a:cubicBezTo>
                <a:moveTo>
                  <a:pt x="3983336" y="3262904"/>
                </a:moveTo>
                <a:cubicBezTo>
                  <a:pt x="3983336" y="3255462"/>
                  <a:pt x="3977260" y="3249386"/>
                  <a:pt x="3969818" y="3249386"/>
                </a:cubicBezTo>
                <a:cubicBezTo>
                  <a:pt x="3962375" y="3249386"/>
                  <a:pt x="3956299" y="3255462"/>
                  <a:pt x="3956299" y="3262904"/>
                </a:cubicBezTo>
                <a:cubicBezTo>
                  <a:pt x="3956299" y="3270347"/>
                  <a:pt x="3962375" y="3276423"/>
                  <a:pt x="3969818" y="3276423"/>
                </a:cubicBezTo>
                <a:cubicBezTo>
                  <a:pt x="3977260" y="3276423"/>
                  <a:pt x="3983336" y="3270423"/>
                  <a:pt x="3983336" y="3262904"/>
                </a:cubicBezTo>
                <a:moveTo>
                  <a:pt x="3863188" y="3125441"/>
                </a:moveTo>
                <a:cubicBezTo>
                  <a:pt x="3863188" y="3117998"/>
                  <a:pt x="3857112" y="3111922"/>
                  <a:pt x="3849670" y="3111922"/>
                </a:cubicBezTo>
                <a:cubicBezTo>
                  <a:pt x="3842151" y="3111922"/>
                  <a:pt x="3836151" y="3117998"/>
                  <a:pt x="3836151" y="3125441"/>
                </a:cubicBezTo>
                <a:cubicBezTo>
                  <a:pt x="3836151" y="3132959"/>
                  <a:pt x="3842227" y="3138959"/>
                  <a:pt x="3849670" y="3138959"/>
                </a:cubicBezTo>
                <a:cubicBezTo>
                  <a:pt x="3857112" y="3138959"/>
                  <a:pt x="3863188" y="3132883"/>
                  <a:pt x="3863188" y="3125441"/>
                </a:cubicBezTo>
                <a:moveTo>
                  <a:pt x="3731193" y="2999217"/>
                </a:moveTo>
                <a:cubicBezTo>
                  <a:pt x="3731193" y="2991774"/>
                  <a:pt x="3725117" y="2985698"/>
                  <a:pt x="3717674" y="2985698"/>
                </a:cubicBezTo>
                <a:cubicBezTo>
                  <a:pt x="3710155" y="2985698"/>
                  <a:pt x="3704156" y="2991774"/>
                  <a:pt x="3704156" y="2999217"/>
                </a:cubicBezTo>
                <a:cubicBezTo>
                  <a:pt x="3704156" y="3006660"/>
                  <a:pt x="3710231" y="3012735"/>
                  <a:pt x="3717674" y="3012735"/>
                </a:cubicBezTo>
                <a:cubicBezTo>
                  <a:pt x="3725117" y="3012735"/>
                  <a:pt x="3731193" y="3006660"/>
                  <a:pt x="3731193" y="2999217"/>
                </a:cubicBezTo>
                <a:moveTo>
                  <a:pt x="3588412" y="2885373"/>
                </a:moveTo>
                <a:cubicBezTo>
                  <a:pt x="3588412" y="2877930"/>
                  <a:pt x="3582337" y="2871854"/>
                  <a:pt x="3574894" y="2871854"/>
                </a:cubicBezTo>
                <a:cubicBezTo>
                  <a:pt x="3567451" y="2871854"/>
                  <a:pt x="3561375" y="2877930"/>
                  <a:pt x="3561375" y="2885373"/>
                </a:cubicBezTo>
                <a:cubicBezTo>
                  <a:pt x="3561375" y="2892815"/>
                  <a:pt x="3567451" y="2898891"/>
                  <a:pt x="3574894" y="2898891"/>
                </a:cubicBezTo>
                <a:cubicBezTo>
                  <a:pt x="3582337" y="2898891"/>
                  <a:pt x="3588412" y="2892815"/>
                  <a:pt x="3588412" y="2885373"/>
                </a:cubicBezTo>
                <a:moveTo>
                  <a:pt x="3435456" y="2784743"/>
                </a:moveTo>
                <a:cubicBezTo>
                  <a:pt x="3435456" y="2777604"/>
                  <a:pt x="3429608" y="2771756"/>
                  <a:pt x="3422469" y="2771756"/>
                </a:cubicBezTo>
                <a:cubicBezTo>
                  <a:pt x="3415330" y="2771756"/>
                  <a:pt x="3409482" y="2777604"/>
                  <a:pt x="3409482" y="2784743"/>
                </a:cubicBezTo>
                <a:cubicBezTo>
                  <a:pt x="3409482" y="2791882"/>
                  <a:pt x="3415330" y="2797730"/>
                  <a:pt x="3422469" y="2797730"/>
                </a:cubicBezTo>
                <a:cubicBezTo>
                  <a:pt x="3429608" y="2797730"/>
                  <a:pt x="3435456" y="2791882"/>
                  <a:pt x="3435456" y="2784743"/>
                </a:cubicBezTo>
                <a:moveTo>
                  <a:pt x="3274069" y="2698240"/>
                </a:moveTo>
                <a:cubicBezTo>
                  <a:pt x="3274069" y="2691404"/>
                  <a:pt x="3268524" y="2685860"/>
                  <a:pt x="3261613" y="2685860"/>
                </a:cubicBezTo>
                <a:cubicBezTo>
                  <a:pt x="3254778" y="2685860"/>
                  <a:pt x="3249234" y="2691404"/>
                  <a:pt x="3249234" y="2698240"/>
                </a:cubicBezTo>
                <a:cubicBezTo>
                  <a:pt x="3249234" y="2705075"/>
                  <a:pt x="3254778" y="2710695"/>
                  <a:pt x="3261613" y="2710695"/>
                </a:cubicBezTo>
                <a:cubicBezTo>
                  <a:pt x="3268524" y="2710619"/>
                  <a:pt x="3274069" y="2705075"/>
                  <a:pt x="3274069" y="2698240"/>
                </a:cubicBezTo>
                <a:moveTo>
                  <a:pt x="3105011" y="2626470"/>
                </a:moveTo>
                <a:cubicBezTo>
                  <a:pt x="3105011" y="2620242"/>
                  <a:pt x="3099923" y="2615154"/>
                  <a:pt x="3093695" y="2615154"/>
                </a:cubicBezTo>
                <a:cubicBezTo>
                  <a:pt x="3087467" y="2615154"/>
                  <a:pt x="3082379" y="2620166"/>
                  <a:pt x="3082379" y="2626470"/>
                </a:cubicBezTo>
                <a:cubicBezTo>
                  <a:pt x="3082379" y="2632698"/>
                  <a:pt x="3087467" y="2637786"/>
                  <a:pt x="3093695" y="2637786"/>
                </a:cubicBezTo>
                <a:cubicBezTo>
                  <a:pt x="3099998" y="2637710"/>
                  <a:pt x="3105011" y="2632698"/>
                  <a:pt x="3105011" y="2626470"/>
                </a:cubicBezTo>
                <a:moveTo>
                  <a:pt x="2930789" y="2569965"/>
                </a:moveTo>
                <a:cubicBezTo>
                  <a:pt x="2930789" y="2564042"/>
                  <a:pt x="2926004" y="2559257"/>
                  <a:pt x="2920080" y="2559257"/>
                </a:cubicBezTo>
                <a:cubicBezTo>
                  <a:pt x="2914156" y="2559257"/>
                  <a:pt x="2909372" y="2564042"/>
                  <a:pt x="2909372" y="2569965"/>
                </a:cubicBezTo>
                <a:cubicBezTo>
                  <a:pt x="2909372" y="2575889"/>
                  <a:pt x="2914156" y="2580674"/>
                  <a:pt x="2920080" y="2580674"/>
                </a:cubicBezTo>
                <a:cubicBezTo>
                  <a:pt x="2926004" y="2580750"/>
                  <a:pt x="2930789" y="2575889"/>
                  <a:pt x="2930789" y="2569965"/>
                </a:cubicBezTo>
                <a:moveTo>
                  <a:pt x="2751630" y="2529334"/>
                </a:moveTo>
                <a:cubicBezTo>
                  <a:pt x="2751630" y="2524018"/>
                  <a:pt x="2747301" y="2519765"/>
                  <a:pt x="2742061" y="2519765"/>
                </a:cubicBezTo>
                <a:cubicBezTo>
                  <a:pt x="2736820" y="2519765"/>
                  <a:pt x="2732492" y="2524093"/>
                  <a:pt x="2732492" y="2529334"/>
                </a:cubicBezTo>
                <a:cubicBezTo>
                  <a:pt x="2732492" y="2534650"/>
                  <a:pt x="2736745" y="2538903"/>
                  <a:pt x="2742061" y="2538903"/>
                </a:cubicBezTo>
                <a:cubicBezTo>
                  <a:pt x="2747377" y="2538903"/>
                  <a:pt x="2751630" y="2534650"/>
                  <a:pt x="2751630" y="2529334"/>
                </a:cubicBezTo>
                <a:moveTo>
                  <a:pt x="2569510" y="2504879"/>
                </a:moveTo>
                <a:cubicBezTo>
                  <a:pt x="2569510" y="2500170"/>
                  <a:pt x="2565712" y="2496449"/>
                  <a:pt x="2561004" y="2496449"/>
                </a:cubicBezTo>
                <a:cubicBezTo>
                  <a:pt x="2556371" y="2496449"/>
                  <a:pt x="2552574" y="2500246"/>
                  <a:pt x="2552574" y="2504879"/>
                </a:cubicBezTo>
                <a:cubicBezTo>
                  <a:pt x="2552574" y="2509588"/>
                  <a:pt x="2556371" y="2513309"/>
                  <a:pt x="2561004" y="2513309"/>
                </a:cubicBezTo>
                <a:cubicBezTo>
                  <a:pt x="2565712" y="2513309"/>
                  <a:pt x="2569510" y="2509512"/>
                  <a:pt x="2569510" y="2504879"/>
                </a:cubicBezTo>
                <a:moveTo>
                  <a:pt x="2385946" y="2496677"/>
                </a:moveTo>
                <a:cubicBezTo>
                  <a:pt x="2385946" y="2492652"/>
                  <a:pt x="2382681" y="2489310"/>
                  <a:pt x="2378579" y="2489310"/>
                </a:cubicBezTo>
                <a:cubicBezTo>
                  <a:pt x="2374554" y="2489310"/>
                  <a:pt x="2371212" y="2492576"/>
                  <a:pt x="2371212" y="2496677"/>
                </a:cubicBezTo>
                <a:cubicBezTo>
                  <a:pt x="2371212" y="2500702"/>
                  <a:pt x="2374478" y="2504044"/>
                  <a:pt x="2378579" y="2504044"/>
                </a:cubicBezTo>
                <a:cubicBezTo>
                  <a:pt x="2382681" y="2503968"/>
                  <a:pt x="2385946" y="2500702"/>
                  <a:pt x="2385946" y="2496677"/>
                </a:cubicBezTo>
                <a:moveTo>
                  <a:pt x="2202383" y="2504879"/>
                </a:moveTo>
                <a:cubicBezTo>
                  <a:pt x="2202383" y="2501461"/>
                  <a:pt x="2199573" y="2498651"/>
                  <a:pt x="2196155" y="2498651"/>
                </a:cubicBezTo>
                <a:cubicBezTo>
                  <a:pt x="2192737" y="2498651"/>
                  <a:pt x="2189927" y="2501461"/>
                  <a:pt x="2189927" y="2504879"/>
                </a:cubicBezTo>
                <a:cubicBezTo>
                  <a:pt x="2189927" y="2508297"/>
                  <a:pt x="2192661" y="2511107"/>
                  <a:pt x="2196155" y="2511107"/>
                </a:cubicBezTo>
                <a:cubicBezTo>
                  <a:pt x="2199649" y="2511031"/>
                  <a:pt x="2202383" y="2508297"/>
                  <a:pt x="2202383" y="2504879"/>
                </a:cubicBezTo>
                <a:moveTo>
                  <a:pt x="2020338" y="2529334"/>
                </a:moveTo>
                <a:cubicBezTo>
                  <a:pt x="2020338" y="2526524"/>
                  <a:pt x="2018060" y="2524245"/>
                  <a:pt x="2015250" y="2524245"/>
                </a:cubicBezTo>
                <a:cubicBezTo>
                  <a:pt x="2012440" y="2524245"/>
                  <a:pt x="2010161" y="2526524"/>
                  <a:pt x="2010161" y="2529334"/>
                </a:cubicBezTo>
                <a:cubicBezTo>
                  <a:pt x="2010161" y="2532144"/>
                  <a:pt x="2012440" y="2534422"/>
                  <a:pt x="2015250" y="2534422"/>
                </a:cubicBezTo>
                <a:cubicBezTo>
                  <a:pt x="2018060" y="2534422"/>
                  <a:pt x="2020338" y="2532144"/>
                  <a:pt x="2020338" y="2529334"/>
                </a:cubicBezTo>
                <a:moveTo>
                  <a:pt x="1841711" y="2569965"/>
                </a:moveTo>
                <a:cubicBezTo>
                  <a:pt x="1841711" y="2567459"/>
                  <a:pt x="1839660" y="2565485"/>
                  <a:pt x="1837230" y="2565485"/>
                </a:cubicBezTo>
                <a:cubicBezTo>
                  <a:pt x="1834800" y="2565485"/>
                  <a:pt x="1832749" y="2567535"/>
                  <a:pt x="1832749" y="2569965"/>
                </a:cubicBezTo>
                <a:cubicBezTo>
                  <a:pt x="1832749" y="2572472"/>
                  <a:pt x="1834800" y="2574522"/>
                  <a:pt x="1837230" y="2574522"/>
                </a:cubicBezTo>
                <a:cubicBezTo>
                  <a:pt x="1839660" y="2574522"/>
                  <a:pt x="1841711" y="2572472"/>
                  <a:pt x="1841711" y="2569965"/>
                </a:cubicBezTo>
                <a:moveTo>
                  <a:pt x="1666881" y="2626470"/>
                </a:moveTo>
                <a:cubicBezTo>
                  <a:pt x="1666881" y="2624571"/>
                  <a:pt x="1665362" y="2623052"/>
                  <a:pt x="1663464" y="2623052"/>
                </a:cubicBezTo>
                <a:cubicBezTo>
                  <a:pt x="1661565" y="2623052"/>
                  <a:pt x="1660046" y="2624571"/>
                  <a:pt x="1660046" y="2626470"/>
                </a:cubicBezTo>
                <a:cubicBezTo>
                  <a:pt x="1660046" y="2628369"/>
                  <a:pt x="1661565" y="2629888"/>
                  <a:pt x="1663464" y="2629888"/>
                </a:cubicBezTo>
                <a:cubicBezTo>
                  <a:pt x="1665362" y="2629812"/>
                  <a:pt x="1666881" y="2628292"/>
                  <a:pt x="1666881" y="2626470"/>
                </a:cubicBezTo>
                <a:moveTo>
                  <a:pt x="1497824" y="2698240"/>
                </a:moveTo>
                <a:cubicBezTo>
                  <a:pt x="1497824" y="2697025"/>
                  <a:pt x="1496836" y="2695961"/>
                  <a:pt x="1495545" y="2695961"/>
                </a:cubicBezTo>
                <a:cubicBezTo>
                  <a:pt x="1494254" y="2695961"/>
                  <a:pt x="1493267" y="2696948"/>
                  <a:pt x="1493267" y="2698240"/>
                </a:cubicBezTo>
                <a:cubicBezTo>
                  <a:pt x="1493267" y="2699531"/>
                  <a:pt x="1494254" y="2700518"/>
                  <a:pt x="1495545" y="2700518"/>
                </a:cubicBezTo>
                <a:cubicBezTo>
                  <a:pt x="1496836" y="2700518"/>
                  <a:pt x="1497824" y="2699455"/>
                  <a:pt x="1497824" y="2698240"/>
                </a:cubicBezTo>
                <a:moveTo>
                  <a:pt x="1336437" y="2784743"/>
                </a:moveTo>
                <a:cubicBezTo>
                  <a:pt x="1336437" y="2783832"/>
                  <a:pt x="1335677" y="2783072"/>
                  <a:pt x="1334766" y="2783072"/>
                </a:cubicBezTo>
                <a:cubicBezTo>
                  <a:pt x="1333854" y="2783072"/>
                  <a:pt x="1333095" y="2783832"/>
                  <a:pt x="1333095" y="2784743"/>
                </a:cubicBezTo>
                <a:cubicBezTo>
                  <a:pt x="1333095" y="2785654"/>
                  <a:pt x="1333854" y="2786414"/>
                  <a:pt x="1334766" y="2786414"/>
                </a:cubicBezTo>
                <a:cubicBezTo>
                  <a:pt x="1335677" y="2786414"/>
                  <a:pt x="1336437" y="2785654"/>
                  <a:pt x="1336437" y="2784743"/>
                </a:cubicBezTo>
                <a:moveTo>
                  <a:pt x="1183480" y="2885373"/>
                </a:moveTo>
                <a:cubicBezTo>
                  <a:pt x="1183480" y="2884765"/>
                  <a:pt x="1182948" y="2884233"/>
                  <a:pt x="1182340" y="2884233"/>
                </a:cubicBezTo>
                <a:cubicBezTo>
                  <a:pt x="1181733" y="2884233"/>
                  <a:pt x="1181201" y="2884765"/>
                  <a:pt x="1181201" y="2885373"/>
                </a:cubicBezTo>
                <a:cubicBezTo>
                  <a:pt x="1181201" y="2885980"/>
                  <a:pt x="1181733" y="2886512"/>
                  <a:pt x="1182340" y="2886512"/>
                </a:cubicBezTo>
                <a:cubicBezTo>
                  <a:pt x="1183024" y="2886512"/>
                  <a:pt x="1183480" y="2885980"/>
                  <a:pt x="1183480" y="2885373"/>
                </a:cubicBezTo>
                <a:moveTo>
                  <a:pt x="1040168" y="2999217"/>
                </a:moveTo>
                <a:cubicBezTo>
                  <a:pt x="1040168" y="2998913"/>
                  <a:pt x="1039940" y="2998685"/>
                  <a:pt x="1039636" y="2998685"/>
                </a:cubicBezTo>
                <a:cubicBezTo>
                  <a:pt x="1039333" y="2998685"/>
                  <a:pt x="1039105" y="2998913"/>
                  <a:pt x="1039105" y="2999217"/>
                </a:cubicBezTo>
                <a:cubicBezTo>
                  <a:pt x="1039105" y="2999521"/>
                  <a:pt x="1039333" y="2999749"/>
                  <a:pt x="1039636" y="2999749"/>
                </a:cubicBezTo>
                <a:cubicBezTo>
                  <a:pt x="1039940" y="2999749"/>
                  <a:pt x="1040168" y="2999521"/>
                  <a:pt x="1040168" y="2999217"/>
                </a:cubicBezTo>
                <a:moveTo>
                  <a:pt x="4009917" y="6065723"/>
                </a:moveTo>
                <a:cubicBezTo>
                  <a:pt x="4009917" y="6065419"/>
                  <a:pt x="4009690" y="6065191"/>
                  <a:pt x="4009386" y="6065191"/>
                </a:cubicBezTo>
                <a:cubicBezTo>
                  <a:pt x="4009082" y="6065191"/>
                  <a:pt x="4008854" y="6065419"/>
                  <a:pt x="4008854" y="6065723"/>
                </a:cubicBezTo>
                <a:cubicBezTo>
                  <a:pt x="4008854" y="6066026"/>
                  <a:pt x="4009082" y="6066331"/>
                  <a:pt x="4009386" y="6066331"/>
                </a:cubicBezTo>
                <a:cubicBezTo>
                  <a:pt x="4009690" y="6066331"/>
                  <a:pt x="4009917" y="6066026"/>
                  <a:pt x="4009917" y="6065723"/>
                </a:cubicBezTo>
                <a:moveTo>
                  <a:pt x="4129458" y="5927652"/>
                </a:moveTo>
                <a:cubicBezTo>
                  <a:pt x="4129458" y="5927347"/>
                  <a:pt x="4129230" y="5927120"/>
                  <a:pt x="4128926" y="5927120"/>
                </a:cubicBezTo>
                <a:cubicBezTo>
                  <a:pt x="4128622" y="5927120"/>
                  <a:pt x="4128395" y="5927347"/>
                  <a:pt x="4128395" y="5927652"/>
                </a:cubicBezTo>
                <a:cubicBezTo>
                  <a:pt x="4128395" y="5927955"/>
                  <a:pt x="4128622" y="5928183"/>
                  <a:pt x="4128926" y="5928183"/>
                </a:cubicBezTo>
                <a:cubicBezTo>
                  <a:pt x="4129230" y="5928183"/>
                  <a:pt x="4129458" y="5927955"/>
                  <a:pt x="4129458" y="5927652"/>
                </a:cubicBezTo>
                <a:moveTo>
                  <a:pt x="4237986" y="5780390"/>
                </a:moveTo>
                <a:cubicBezTo>
                  <a:pt x="4237986" y="5779783"/>
                  <a:pt x="4237454" y="5779251"/>
                  <a:pt x="4236847" y="5779251"/>
                </a:cubicBezTo>
                <a:cubicBezTo>
                  <a:pt x="4236239" y="5779251"/>
                  <a:pt x="4235707" y="5779783"/>
                  <a:pt x="4235707" y="5780390"/>
                </a:cubicBezTo>
                <a:cubicBezTo>
                  <a:pt x="4235707" y="5780998"/>
                  <a:pt x="4236239" y="5781530"/>
                  <a:pt x="4236847" y="5781530"/>
                </a:cubicBezTo>
                <a:cubicBezTo>
                  <a:pt x="4237454" y="5781530"/>
                  <a:pt x="4237986" y="5780998"/>
                  <a:pt x="4237986" y="5780390"/>
                </a:cubicBezTo>
                <a:moveTo>
                  <a:pt x="4334742" y="5624775"/>
                </a:moveTo>
                <a:cubicBezTo>
                  <a:pt x="4334742" y="5623560"/>
                  <a:pt x="4333755" y="5622497"/>
                  <a:pt x="4332464" y="5622497"/>
                </a:cubicBezTo>
                <a:cubicBezTo>
                  <a:pt x="4331249" y="5622497"/>
                  <a:pt x="4330185" y="5623485"/>
                  <a:pt x="4330185" y="5624775"/>
                </a:cubicBezTo>
                <a:cubicBezTo>
                  <a:pt x="4330185" y="5626066"/>
                  <a:pt x="4331173" y="5627054"/>
                  <a:pt x="4332464" y="5627054"/>
                </a:cubicBezTo>
                <a:cubicBezTo>
                  <a:pt x="4333679" y="5626978"/>
                  <a:pt x="4334742" y="5625990"/>
                  <a:pt x="4334742" y="5624775"/>
                </a:cubicBezTo>
                <a:moveTo>
                  <a:pt x="4417828" y="5461869"/>
                </a:moveTo>
                <a:cubicBezTo>
                  <a:pt x="4417828" y="5460274"/>
                  <a:pt x="4416537" y="5459059"/>
                  <a:pt x="4415018" y="5459059"/>
                </a:cubicBezTo>
                <a:cubicBezTo>
                  <a:pt x="4413499" y="5459059"/>
                  <a:pt x="4412208" y="5460350"/>
                  <a:pt x="4412208" y="5461869"/>
                </a:cubicBezTo>
                <a:cubicBezTo>
                  <a:pt x="4412208" y="5463388"/>
                  <a:pt x="4413499" y="5464679"/>
                  <a:pt x="4415018" y="5464679"/>
                </a:cubicBezTo>
                <a:cubicBezTo>
                  <a:pt x="4416613" y="5464679"/>
                  <a:pt x="4417828" y="5463388"/>
                  <a:pt x="4417828" y="5461869"/>
                </a:cubicBezTo>
                <a:moveTo>
                  <a:pt x="4488003" y="5292812"/>
                </a:moveTo>
                <a:cubicBezTo>
                  <a:pt x="4488003" y="5290609"/>
                  <a:pt x="4486256" y="5288863"/>
                  <a:pt x="4484054" y="5288863"/>
                </a:cubicBezTo>
                <a:cubicBezTo>
                  <a:pt x="4481851" y="5288863"/>
                  <a:pt x="4480105" y="5290609"/>
                  <a:pt x="4480105" y="5292812"/>
                </a:cubicBezTo>
                <a:cubicBezTo>
                  <a:pt x="4480105" y="5295014"/>
                  <a:pt x="4481851" y="5296761"/>
                  <a:pt x="4484054" y="5296761"/>
                </a:cubicBezTo>
                <a:cubicBezTo>
                  <a:pt x="4486256" y="5296761"/>
                  <a:pt x="4488003" y="5294938"/>
                  <a:pt x="4488003" y="5292812"/>
                </a:cubicBezTo>
                <a:moveTo>
                  <a:pt x="4544128" y="5118590"/>
                </a:moveTo>
                <a:cubicBezTo>
                  <a:pt x="4544128" y="5115780"/>
                  <a:pt x="4541850" y="5113501"/>
                  <a:pt x="4539039" y="5113501"/>
                </a:cubicBezTo>
                <a:cubicBezTo>
                  <a:pt x="4536229" y="5113501"/>
                  <a:pt x="4533951" y="5115780"/>
                  <a:pt x="4533951" y="5118590"/>
                </a:cubicBezTo>
                <a:cubicBezTo>
                  <a:pt x="4533951" y="5121400"/>
                  <a:pt x="4536229" y="5123678"/>
                  <a:pt x="4539039" y="5123678"/>
                </a:cubicBezTo>
                <a:cubicBezTo>
                  <a:pt x="4541850" y="5123678"/>
                  <a:pt x="4544128" y="5121400"/>
                  <a:pt x="4544128" y="5118590"/>
                </a:cubicBezTo>
                <a:moveTo>
                  <a:pt x="4585899" y="4940570"/>
                </a:moveTo>
                <a:cubicBezTo>
                  <a:pt x="4585899" y="4937152"/>
                  <a:pt x="4583089" y="4934342"/>
                  <a:pt x="4579671" y="4934342"/>
                </a:cubicBezTo>
                <a:cubicBezTo>
                  <a:pt x="4576253" y="4934342"/>
                  <a:pt x="4573443" y="4937152"/>
                  <a:pt x="4573443" y="4940570"/>
                </a:cubicBezTo>
                <a:cubicBezTo>
                  <a:pt x="4573443" y="4943988"/>
                  <a:pt x="4576253" y="4946798"/>
                  <a:pt x="4579671" y="4946798"/>
                </a:cubicBezTo>
                <a:cubicBezTo>
                  <a:pt x="4583164" y="4946798"/>
                  <a:pt x="4585899" y="4943988"/>
                  <a:pt x="4585899" y="4940570"/>
                </a:cubicBezTo>
                <a:moveTo>
                  <a:pt x="4613087" y="4759817"/>
                </a:moveTo>
                <a:cubicBezTo>
                  <a:pt x="4613087" y="4755792"/>
                  <a:pt x="4609822" y="4752450"/>
                  <a:pt x="4605721" y="4752450"/>
                </a:cubicBezTo>
                <a:cubicBezTo>
                  <a:pt x="4601695" y="4752450"/>
                  <a:pt x="4598354" y="4755716"/>
                  <a:pt x="4598354" y="4759817"/>
                </a:cubicBezTo>
                <a:cubicBezTo>
                  <a:pt x="4598354" y="4763842"/>
                  <a:pt x="4601620" y="4767184"/>
                  <a:pt x="4605721" y="4767184"/>
                </a:cubicBezTo>
                <a:cubicBezTo>
                  <a:pt x="4609746" y="4767184"/>
                  <a:pt x="4613087" y="4763842"/>
                  <a:pt x="4613087" y="4759817"/>
                </a:cubicBezTo>
                <a:moveTo>
                  <a:pt x="4625315" y="4577544"/>
                </a:moveTo>
                <a:cubicBezTo>
                  <a:pt x="4625315" y="4572912"/>
                  <a:pt x="4621518" y="4569114"/>
                  <a:pt x="4616809" y="4569114"/>
                </a:cubicBezTo>
                <a:cubicBezTo>
                  <a:pt x="4612176" y="4569114"/>
                  <a:pt x="4608379" y="4572912"/>
                  <a:pt x="4608379" y="4577544"/>
                </a:cubicBezTo>
                <a:cubicBezTo>
                  <a:pt x="4608379" y="4582253"/>
                  <a:pt x="4612176" y="4585974"/>
                  <a:pt x="4616809" y="4585974"/>
                </a:cubicBezTo>
                <a:cubicBezTo>
                  <a:pt x="4621594" y="4585974"/>
                  <a:pt x="4625315" y="4582177"/>
                  <a:pt x="4625315" y="4577544"/>
                </a:cubicBezTo>
                <a:moveTo>
                  <a:pt x="4622733" y="4394968"/>
                </a:moveTo>
                <a:cubicBezTo>
                  <a:pt x="4622733" y="4389652"/>
                  <a:pt x="4618404" y="4385399"/>
                  <a:pt x="4613163" y="4385399"/>
                </a:cubicBezTo>
                <a:cubicBezTo>
                  <a:pt x="4607847" y="4385399"/>
                  <a:pt x="4603594" y="4389728"/>
                  <a:pt x="4603594" y="4394968"/>
                </a:cubicBezTo>
                <a:cubicBezTo>
                  <a:pt x="4603594" y="4400285"/>
                  <a:pt x="4607923" y="4404538"/>
                  <a:pt x="4613163" y="4404538"/>
                </a:cubicBezTo>
                <a:cubicBezTo>
                  <a:pt x="4618480" y="4404538"/>
                  <a:pt x="4622733" y="4400209"/>
                  <a:pt x="4622733" y="4394968"/>
                </a:cubicBezTo>
                <a:moveTo>
                  <a:pt x="4605265" y="4213228"/>
                </a:moveTo>
                <a:cubicBezTo>
                  <a:pt x="4605265" y="4207303"/>
                  <a:pt x="4600480" y="4202519"/>
                  <a:pt x="4594556" y="4202519"/>
                </a:cubicBezTo>
                <a:cubicBezTo>
                  <a:pt x="4588633" y="4202519"/>
                  <a:pt x="4583848" y="4207303"/>
                  <a:pt x="4583848" y="4213228"/>
                </a:cubicBezTo>
                <a:cubicBezTo>
                  <a:pt x="4583848" y="4219151"/>
                  <a:pt x="4588633" y="4223936"/>
                  <a:pt x="4594556" y="4223936"/>
                </a:cubicBezTo>
                <a:cubicBezTo>
                  <a:pt x="4600480" y="4224012"/>
                  <a:pt x="4605265" y="4219151"/>
                  <a:pt x="4605265" y="4213228"/>
                </a:cubicBezTo>
                <a:moveTo>
                  <a:pt x="4573064" y="4033689"/>
                </a:moveTo>
                <a:cubicBezTo>
                  <a:pt x="4573064" y="4027158"/>
                  <a:pt x="4567747" y="4021841"/>
                  <a:pt x="4561216" y="4021841"/>
                </a:cubicBezTo>
                <a:cubicBezTo>
                  <a:pt x="4554684" y="4021841"/>
                  <a:pt x="4549368" y="4027158"/>
                  <a:pt x="4549368" y="4033689"/>
                </a:cubicBezTo>
                <a:cubicBezTo>
                  <a:pt x="4549368" y="4040220"/>
                  <a:pt x="4554684" y="4045537"/>
                  <a:pt x="4561216" y="4045537"/>
                </a:cubicBezTo>
                <a:cubicBezTo>
                  <a:pt x="4567747" y="4045537"/>
                  <a:pt x="4573064" y="4040220"/>
                  <a:pt x="4573064" y="4033689"/>
                </a:cubicBezTo>
                <a:moveTo>
                  <a:pt x="4526356" y="3857416"/>
                </a:moveTo>
                <a:cubicBezTo>
                  <a:pt x="4526356" y="3850277"/>
                  <a:pt x="4520508" y="3844429"/>
                  <a:pt x="4513369" y="3844429"/>
                </a:cubicBezTo>
                <a:cubicBezTo>
                  <a:pt x="4506230" y="3844429"/>
                  <a:pt x="4500382" y="3850277"/>
                  <a:pt x="4500382" y="3857416"/>
                </a:cubicBezTo>
                <a:cubicBezTo>
                  <a:pt x="4500382" y="3864555"/>
                  <a:pt x="4506230" y="3870403"/>
                  <a:pt x="4513369" y="3870403"/>
                </a:cubicBezTo>
                <a:cubicBezTo>
                  <a:pt x="4520508" y="3870403"/>
                  <a:pt x="4526356" y="3864631"/>
                  <a:pt x="4526356" y="3857416"/>
                </a:cubicBezTo>
                <a:moveTo>
                  <a:pt x="4465371" y="3685700"/>
                </a:moveTo>
                <a:cubicBezTo>
                  <a:pt x="4465371" y="3677878"/>
                  <a:pt x="4459067" y="3671574"/>
                  <a:pt x="4451245" y="3671574"/>
                </a:cubicBezTo>
                <a:cubicBezTo>
                  <a:pt x="4443422" y="3671574"/>
                  <a:pt x="4437119" y="3677878"/>
                  <a:pt x="4437119" y="3685700"/>
                </a:cubicBezTo>
                <a:cubicBezTo>
                  <a:pt x="4437119" y="3693523"/>
                  <a:pt x="4443422" y="3699826"/>
                  <a:pt x="4451245" y="3699826"/>
                </a:cubicBezTo>
                <a:cubicBezTo>
                  <a:pt x="4459067" y="3699826"/>
                  <a:pt x="4465371" y="3693447"/>
                  <a:pt x="4465371" y="3685700"/>
                </a:cubicBezTo>
                <a:moveTo>
                  <a:pt x="4390107" y="3519605"/>
                </a:moveTo>
                <a:cubicBezTo>
                  <a:pt x="4390107" y="3511478"/>
                  <a:pt x="4383500" y="3504947"/>
                  <a:pt x="4375450" y="3504947"/>
                </a:cubicBezTo>
                <a:cubicBezTo>
                  <a:pt x="4367323" y="3504947"/>
                  <a:pt x="4360792" y="3511554"/>
                  <a:pt x="4360792" y="3519605"/>
                </a:cubicBezTo>
                <a:cubicBezTo>
                  <a:pt x="4360792" y="3527731"/>
                  <a:pt x="4367323" y="3534262"/>
                  <a:pt x="4375450" y="3534262"/>
                </a:cubicBezTo>
                <a:cubicBezTo>
                  <a:pt x="4383500" y="3534262"/>
                  <a:pt x="4390107" y="3527655"/>
                  <a:pt x="4390107" y="3519605"/>
                </a:cubicBezTo>
                <a:moveTo>
                  <a:pt x="4301478" y="3360192"/>
                </a:moveTo>
                <a:cubicBezTo>
                  <a:pt x="4301478" y="3351762"/>
                  <a:pt x="4294642" y="3344927"/>
                  <a:pt x="4286212" y="3344927"/>
                </a:cubicBezTo>
                <a:cubicBezTo>
                  <a:pt x="4277782" y="3344927"/>
                  <a:pt x="4270947" y="3351762"/>
                  <a:pt x="4270947" y="3360192"/>
                </a:cubicBezTo>
                <a:cubicBezTo>
                  <a:pt x="4270947" y="3368622"/>
                  <a:pt x="4277782" y="3375458"/>
                  <a:pt x="4286212" y="3375458"/>
                </a:cubicBezTo>
                <a:cubicBezTo>
                  <a:pt x="4294642" y="3375458"/>
                  <a:pt x="4301478" y="3368622"/>
                  <a:pt x="4301478" y="3360192"/>
                </a:cubicBezTo>
                <a:moveTo>
                  <a:pt x="4200240" y="3208602"/>
                </a:moveTo>
                <a:cubicBezTo>
                  <a:pt x="4200240" y="3199869"/>
                  <a:pt x="4193177" y="3192806"/>
                  <a:pt x="4184443" y="3192806"/>
                </a:cubicBezTo>
                <a:cubicBezTo>
                  <a:pt x="4175709" y="3192806"/>
                  <a:pt x="4168646" y="3199869"/>
                  <a:pt x="4168646" y="3208602"/>
                </a:cubicBezTo>
                <a:cubicBezTo>
                  <a:pt x="4168646" y="3217336"/>
                  <a:pt x="4175709" y="3224399"/>
                  <a:pt x="4184443" y="3224399"/>
                </a:cubicBezTo>
                <a:cubicBezTo>
                  <a:pt x="4193101" y="3224399"/>
                  <a:pt x="4200240" y="3217336"/>
                  <a:pt x="4200240" y="3208602"/>
                </a:cubicBezTo>
                <a:moveTo>
                  <a:pt x="4086320" y="3065822"/>
                </a:moveTo>
                <a:cubicBezTo>
                  <a:pt x="4086320" y="3057089"/>
                  <a:pt x="4079257" y="3050025"/>
                  <a:pt x="4070523" y="3050025"/>
                </a:cubicBezTo>
                <a:cubicBezTo>
                  <a:pt x="4061789" y="3050025"/>
                  <a:pt x="4054726" y="3057089"/>
                  <a:pt x="4054726" y="3065822"/>
                </a:cubicBezTo>
                <a:cubicBezTo>
                  <a:pt x="4054726" y="3074556"/>
                  <a:pt x="4061789" y="3081619"/>
                  <a:pt x="4070523" y="3081619"/>
                </a:cubicBezTo>
                <a:cubicBezTo>
                  <a:pt x="4079257" y="3081619"/>
                  <a:pt x="4086320" y="3074556"/>
                  <a:pt x="4086320" y="3065822"/>
                </a:cubicBezTo>
                <a:moveTo>
                  <a:pt x="3961767" y="2932763"/>
                </a:moveTo>
                <a:cubicBezTo>
                  <a:pt x="3961767" y="2923726"/>
                  <a:pt x="3954400" y="2916435"/>
                  <a:pt x="3945363" y="2916435"/>
                </a:cubicBezTo>
                <a:cubicBezTo>
                  <a:pt x="3936325" y="2916435"/>
                  <a:pt x="3928958" y="2923802"/>
                  <a:pt x="3928958" y="2932763"/>
                </a:cubicBezTo>
                <a:cubicBezTo>
                  <a:pt x="3928958" y="2941801"/>
                  <a:pt x="3936249" y="2949168"/>
                  <a:pt x="3945363" y="2949168"/>
                </a:cubicBezTo>
                <a:cubicBezTo>
                  <a:pt x="3954476" y="2949168"/>
                  <a:pt x="3961767" y="2941801"/>
                  <a:pt x="3961767" y="2932763"/>
                </a:cubicBezTo>
                <a:moveTo>
                  <a:pt x="3825671" y="2810413"/>
                </a:moveTo>
                <a:cubicBezTo>
                  <a:pt x="3825671" y="2801679"/>
                  <a:pt x="3818607" y="2794616"/>
                  <a:pt x="3809873" y="2794616"/>
                </a:cubicBezTo>
                <a:cubicBezTo>
                  <a:pt x="3801140" y="2794616"/>
                  <a:pt x="3794077" y="2801679"/>
                  <a:pt x="3794077" y="2810413"/>
                </a:cubicBezTo>
                <a:cubicBezTo>
                  <a:pt x="3794077" y="2819147"/>
                  <a:pt x="3801140" y="2826210"/>
                  <a:pt x="3809873" y="2826210"/>
                </a:cubicBezTo>
                <a:cubicBezTo>
                  <a:pt x="3818607" y="2826210"/>
                  <a:pt x="3825671" y="2819147"/>
                  <a:pt x="3825671" y="2810413"/>
                </a:cubicBezTo>
                <a:moveTo>
                  <a:pt x="3680612" y="2699455"/>
                </a:moveTo>
                <a:cubicBezTo>
                  <a:pt x="3680612" y="2690721"/>
                  <a:pt x="3673549" y="2683658"/>
                  <a:pt x="3664815" y="2683658"/>
                </a:cubicBezTo>
                <a:cubicBezTo>
                  <a:pt x="3656081" y="2683658"/>
                  <a:pt x="3649018" y="2690721"/>
                  <a:pt x="3649018" y="2699455"/>
                </a:cubicBezTo>
                <a:cubicBezTo>
                  <a:pt x="3649018" y="2708189"/>
                  <a:pt x="3656081" y="2715252"/>
                  <a:pt x="3664815" y="2715252"/>
                </a:cubicBezTo>
                <a:cubicBezTo>
                  <a:pt x="3673549" y="2715252"/>
                  <a:pt x="3680612" y="2708189"/>
                  <a:pt x="3680612" y="2699455"/>
                </a:cubicBezTo>
                <a:moveTo>
                  <a:pt x="3526364" y="2600724"/>
                </a:moveTo>
                <a:cubicBezTo>
                  <a:pt x="3526364" y="2592294"/>
                  <a:pt x="3519529" y="2585459"/>
                  <a:pt x="3511099" y="2585459"/>
                </a:cubicBezTo>
                <a:cubicBezTo>
                  <a:pt x="3502669" y="2585459"/>
                  <a:pt x="3495833" y="2592294"/>
                  <a:pt x="3495833" y="2600724"/>
                </a:cubicBezTo>
                <a:cubicBezTo>
                  <a:pt x="3495833" y="2609154"/>
                  <a:pt x="3502669" y="2615989"/>
                  <a:pt x="3511099" y="2615989"/>
                </a:cubicBezTo>
                <a:cubicBezTo>
                  <a:pt x="3519605" y="2615989"/>
                  <a:pt x="3526364" y="2609154"/>
                  <a:pt x="3526364" y="2600724"/>
                </a:cubicBezTo>
                <a:moveTo>
                  <a:pt x="3364673" y="2514828"/>
                </a:moveTo>
                <a:cubicBezTo>
                  <a:pt x="3364673" y="2506702"/>
                  <a:pt x="3358066" y="2500170"/>
                  <a:pt x="3350015" y="2500170"/>
                </a:cubicBezTo>
                <a:cubicBezTo>
                  <a:pt x="3341889" y="2500170"/>
                  <a:pt x="3335358" y="2506702"/>
                  <a:pt x="3335358" y="2514828"/>
                </a:cubicBezTo>
                <a:cubicBezTo>
                  <a:pt x="3335358" y="2522954"/>
                  <a:pt x="3341889" y="2529486"/>
                  <a:pt x="3350015" y="2529486"/>
                </a:cubicBezTo>
                <a:cubicBezTo>
                  <a:pt x="3358066" y="2529486"/>
                  <a:pt x="3364673" y="2522954"/>
                  <a:pt x="3364673" y="2514828"/>
                </a:cubicBezTo>
                <a:moveTo>
                  <a:pt x="3196451" y="2442375"/>
                </a:moveTo>
                <a:cubicBezTo>
                  <a:pt x="3196451" y="2434552"/>
                  <a:pt x="3190147" y="2428249"/>
                  <a:pt x="3182325" y="2428249"/>
                </a:cubicBezTo>
                <a:cubicBezTo>
                  <a:pt x="3174502" y="2428249"/>
                  <a:pt x="3168199" y="2434552"/>
                  <a:pt x="3168199" y="2442375"/>
                </a:cubicBezTo>
                <a:cubicBezTo>
                  <a:pt x="3168199" y="2450197"/>
                  <a:pt x="3174502" y="2456501"/>
                  <a:pt x="3182325" y="2456501"/>
                </a:cubicBezTo>
                <a:cubicBezTo>
                  <a:pt x="3190147" y="2456501"/>
                  <a:pt x="3196451" y="2450197"/>
                  <a:pt x="3196451" y="2442375"/>
                </a:cubicBezTo>
                <a:moveTo>
                  <a:pt x="3022305" y="2383820"/>
                </a:moveTo>
                <a:cubicBezTo>
                  <a:pt x="3022305" y="2376681"/>
                  <a:pt x="3016457" y="2370833"/>
                  <a:pt x="3009318" y="2370833"/>
                </a:cubicBezTo>
                <a:cubicBezTo>
                  <a:pt x="3002179" y="2370833"/>
                  <a:pt x="2996331" y="2376681"/>
                  <a:pt x="2996331" y="2383820"/>
                </a:cubicBezTo>
                <a:cubicBezTo>
                  <a:pt x="2996331" y="2390959"/>
                  <a:pt x="3002179" y="2396807"/>
                  <a:pt x="3009318" y="2396807"/>
                </a:cubicBezTo>
                <a:cubicBezTo>
                  <a:pt x="3016533" y="2396807"/>
                  <a:pt x="3022305" y="2390959"/>
                  <a:pt x="3022305" y="2383820"/>
                </a:cubicBezTo>
                <a:moveTo>
                  <a:pt x="2843982" y="2339543"/>
                </a:moveTo>
                <a:cubicBezTo>
                  <a:pt x="2843982" y="2333011"/>
                  <a:pt x="2838665" y="2327695"/>
                  <a:pt x="2832134" y="2327695"/>
                </a:cubicBezTo>
                <a:cubicBezTo>
                  <a:pt x="2825602" y="2327695"/>
                  <a:pt x="2820286" y="2333011"/>
                  <a:pt x="2820286" y="2339543"/>
                </a:cubicBezTo>
                <a:cubicBezTo>
                  <a:pt x="2820286" y="2346074"/>
                  <a:pt x="2825602" y="2351390"/>
                  <a:pt x="2832134" y="2351390"/>
                </a:cubicBezTo>
                <a:cubicBezTo>
                  <a:pt x="2838741" y="2351390"/>
                  <a:pt x="2843982" y="2346074"/>
                  <a:pt x="2843982" y="2339543"/>
                </a:cubicBezTo>
                <a:moveTo>
                  <a:pt x="2662696" y="2309923"/>
                </a:moveTo>
                <a:cubicBezTo>
                  <a:pt x="2662696" y="2304000"/>
                  <a:pt x="2657912" y="2299215"/>
                  <a:pt x="2651988" y="2299215"/>
                </a:cubicBezTo>
                <a:cubicBezTo>
                  <a:pt x="2646064" y="2299215"/>
                  <a:pt x="2641279" y="2304000"/>
                  <a:pt x="2641279" y="2309923"/>
                </a:cubicBezTo>
                <a:cubicBezTo>
                  <a:pt x="2641279" y="2315847"/>
                  <a:pt x="2646064" y="2320632"/>
                  <a:pt x="2651988" y="2320632"/>
                </a:cubicBezTo>
                <a:cubicBezTo>
                  <a:pt x="2657912" y="2320632"/>
                  <a:pt x="2662696" y="2315771"/>
                  <a:pt x="2662696" y="2309923"/>
                </a:cubicBezTo>
                <a:moveTo>
                  <a:pt x="2478981" y="2295038"/>
                </a:moveTo>
                <a:cubicBezTo>
                  <a:pt x="2478981" y="2290025"/>
                  <a:pt x="2474956" y="2286000"/>
                  <a:pt x="2469943" y="2286000"/>
                </a:cubicBezTo>
                <a:cubicBezTo>
                  <a:pt x="2464931" y="2286000"/>
                  <a:pt x="2460906" y="2290025"/>
                  <a:pt x="2460906" y="2295038"/>
                </a:cubicBezTo>
                <a:cubicBezTo>
                  <a:pt x="2460906" y="2300050"/>
                  <a:pt x="2464931" y="2304075"/>
                  <a:pt x="2469943" y="2304075"/>
                </a:cubicBezTo>
                <a:cubicBezTo>
                  <a:pt x="2474956" y="2304075"/>
                  <a:pt x="2478981" y="2299974"/>
                  <a:pt x="2478981" y="2295038"/>
                </a:cubicBezTo>
                <a:moveTo>
                  <a:pt x="2295190" y="2295038"/>
                </a:moveTo>
                <a:cubicBezTo>
                  <a:pt x="2295190" y="2290709"/>
                  <a:pt x="2291620" y="2287139"/>
                  <a:pt x="2287291" y="2287139"/>
                </a:cubicBezTo>
                <a:cubicBezTo>
                  <a:pt x="2282962" y="2287139"/>
                  <a:pt x="2279393" y="2290709"/>
                  <a:pt x="2279393" y="2295038"/>
                </a:cubicBezTo>
                <a:cubicBezTo>
                  <a:pt x="2279393" y="2299367"/>
                  <a:pt x="2282962" y="2302936"/>
                  <a:pt x="2287291" y="2302936"/>
                </a:cubicBezTo>
                <a:cubicBezTo>
                  <a:pt x="2291696" y="2302936"/>
                  <a:pt x="2295190" y="2299367"/>
                  <a:pt x="2295190" y="2295038"/>
                </a:cubicBezTo>
                <a:moveTo>
                  <a:pt x="2112082" y="2309923"/>
                </a:moveTo>
                <a:cubicBezTo>
                  <a:pt x="2112082" y="2306202"/>
                  <a:pt x="2109044" y="2303164"/>
                  <a:pt x="2105322" y="2303164"/>
                </a:cubicBezTo>
                <a:cubicBezTo>
                  <a:pt x="2101601" y="2303164"/>
                  <a:pt x="2098563" y="2306202"/>
                  <a:pt x="2098563" y="2309923"/>
                </a:cubicBezTo>
                <a:cubicBezTo>
                  <a:pt x="2098563" y="2313645"/>
                  <a:pt x="2101601" y="2316683"/>
                  <a:pt x="2105322" y="2316683"/>
                </a:cubicBezTo>
                <a:cubicBezTo>
                  <a:pt x="2109044" y="2316683"/>
                  <a:pt x="2112082" y="2313645"/>
                  <a:pt x="2112082" y="2309923"/>
                </a:cubicBezTo>
                <a:moveTo>
                  <a:pt x="1930721" y="2339543"/>
                </a:moveTo>
                <a:cubicBezTo>
                  <a:pt x="1930721" y="2336429"/>
                  <a:pt x="1928214" y="2333923"/>
                  <a:pt x="1925101" y="2333923"/>
                </a:cubicBezTo>
                <a:cubicBezTo>
                  <a:pt x="1921987" y="2333923"/>
                  <a:pt x="1919481" y="2336429"/>
                  <a:pt x="1919481" y="2339543"/>
                </a:cubicBezTo>
                <a:cubicBezTo>
                  <a:pt x="1919481" y="2342657"/>
                  <a:pt x="1921987" y="2345163"/>
                  <a:pt x="1925101" y="2345163"/>
                </a:cubicBezTo>
                <a:cubicBezTo>
                  <a:pt x="1928214" y="2345239"/>
                  <a:pt x="1930721" y="2342657"/>
                  <a:pt x="1930721" y="2339543"/>
                </a:cubicBezTo>
                <a:moveTo>
                  <a:pt x="1752398" y="2383820"/>
                </a:moveTo>
                <a:cubicBezTo>
                  <a:pt x="1752398" y="2381313"/>
                  <a:pt x="1750347" y="2379339"/>
                  <a:pt x="1747917" y="2379339"/>
                </a:cubicBezTo>
                <a:cubicBezTo>
                  <a:pt x="1745486" y="2379339"/>
                  <a:pt x="1743436" y="2381389"/>
                  <a:pt x="1743436" y="2383820"/>
                </a:cubicBezTo>
                <a:cubicBezTo>
                  <a:pt x="1743436" y="2386326"/>
                  <a:pt x="1745486" y="2388300"/>
                  <a:pt x="1747917" y="2388300"/>
                </a:cubicBezTo>
                <a:cubicBezTo>
                  <a:pt x="1750347" y="2388300"/>
                  <a:pt x="1752398" y="2386326"/>
                  <a:pt x="1752398" y="2383820"/>
                </a:cubicBezTo>
                <a:moveTo>
                  <a:pt x="1578327" y="2442375"/>
                </a:moveTo>
                <a:cubicBezTo>
                  <a:pt x="1578327" y="2440476"/>
                  <a:pt x="1576808" y="2438957"/>
                  <a:pt x="1574910" y="2438957"/>
                </a:cubicBezTo>
                <a:cubicBezTo>
                  <a:pt x="1573011" y="2438957"/>
                  <a:pt x="1571492" y="2440476"/>
                  <a:pt x="1571492" y="2442375"/>
                </a:cubicBezTo>
                <a:cubicBezTo>
                  <a:pt x="1571492" y="2444273"/>
                  <a:pt x="1573011" y="2445792"/>
                  <a:pt x="1574910" y="2445792"/>
                </a:cubicBezTo>
                <a:cubicBezTo>
                  <a:pt x="1576808" y="2445792"/>
                  <a:pt x="1578327" y="2444273"/>
                  <a:pt x="1578327" y="2442375"/>
                </a:cubicBezTo>
                <a:moveTo>
                  <a:pt x="1410105" y="2514828"/>
                </a:moveTo>
                <a:cubicBezTo>
                  <a:pt x="1410105" y="2513309"/>
                  <a:pt x="1408814" y="2512018"/>
                  <a:pt x="1407295" y="2512018"/>
                </a:cubicBezTo>
                <a:cubicBezTo>
                  <a:pt x="1405776" y="2512018"/>
                  <a:pt x="1404485" y="2513309"/>
                  <a:pt x="1404485" y="2514828"/>
                </a:cubicBezTo>
                <a:cubicBezTo>
                  <a:pt x="1404485" y="2516423"/>
                  <a:pt x="1405776" y="2517638"/>
                  <a:pt x="1407295" y="2517638"/>
                </a:cubicBezTo>
                <a:cubicBezTo>
                  <a:pt x="1408814" y="2517638"/>
                  <a:pt x="1410105" y="2516423"/>
                  <a:pt x="1410105" y="2514828"/>
                </a:cubicBezTo>
                <a:moveTo>
                  <a:pt x="1247807" y="2600724"/>
                </a:moveTo>
                <a:cubicBezTo>
                  <a:pt x="1247807" y="2599812"/>
                  <a:pt x="1247047" y="2599053"/>
                  <a:pt x="1246136" y="2599053"/>
                </a:cubicBezTo>
                <a:cubicBezTo>
                  <a:pt x="1245225" y="2599053"/>
                  <a:pt x="1244465" y="2599812"/>
                  <a:pt x="1244465" y="2600724"/>
                </a:cubicBezTo>
                <a:cubicBezTo>
                  <a:pt x="1244465" y="2601635"/>
                  <a:pt x="1245225" y="2602395"/>
                  <a:pt x="1246136" y="2602395"/>
                </a:cubicBezTo>
                <a:cubicBezTo>
                  <a:pt x="1247047" y="2602395"/>
                  <a:pt x="1247807" y="2601635"/>
                  <a:pt x="1247807" y="2600724"/>
                </a:cubicBezTo>
                <a:moveTo>
                  <a:pt x="1093635" y="2699455"/>
                </a:moveTo>
                <a:cubicBezTo>
                  <a:pt x="1093635" y="2698847"/>
                  <a:pt x="1093103" y="2698315"/>
                  <a:pt x="1092495" y="2698315"/>
                </a:cubicBezTo>
                <a:cubicBezTo>
                  <a:pt x="1091888" y="2698315"/>
                  <a:pt x="1091356" y="2698847"/>
                  <a:pt x="1091356" y="2699455"/>
                </a:cubicBezTo>
                <a:cubicBezTo>
                  <a:pt x="1091356" y="2700062"/>
                  <a:pt x="1091888" y="2700594"/>
                  <a:pt x="1092495" y="2700594"/>
                </a:cubicBezTo>
                <a:cubicBezTo>
                  <a:pt x="1093103" y="2700594"/>
                  <a:pt x="1093635" y="2700062"/>
                  <a:pt x="1093635" y="2699455"/>
                </a:cubicBezTo>
                <a:moveTo>
                  <a:pt x="947969" y="2810413"/>
                </a:moveTo>
                <a:cubicBezTo>
                  <a:pt x="947969" y="2810109"/>
                  <a:pt x="947741" y="2809881"/>
                  <a:pt x="947437" y="2809881"/>
                </a:cubicBezTo>
                <a:cubicBezTo>
                  <a:pt x="947133" y="2809881"/>
                  <a:pt x="946905" y="2810109"/>
                  <a:pt x="946905" y="2810413"/>
                </a:cubicBezTo>
                <a:cubicBezTo>
                  <a:pt x="946905" y="2810717"/>
                  <a:pt x="947133" y="2810945"/>
                  <a:pt x="947437" y="2810945"/>
                </a:cubicBezTo>
                <a:cubicBezTo>
                  <a:pt x="947741" y="2810945"/>
                  <a:pt x="947969" y="2810717"/>
                  <a:pt x="947969" y="2810413"/>
                </a:cubicBezTo>
                <a:moveTo>
                  <a:pt x="812403" y="2932763"/>
                </a:moveTo>
                <a:cubicBezTo>
                  <a:pt x="812403" y="2932460"/>
                  <a:pt x="812176" y="2932232"/>
                  <a:pt x="811872" y="2932232"/>
                </a:cubicBezTo>
                <a:cubicBezTo>
                  <a:pt x="811568" y="2932232"/>
                  <a:pt x="811340" y="2932460"/>
                  <a:pt x="811340" y="2932763"/>
                </a:cubicBezTo>
                <a:cubicBezTo>
                  <a:pt x="811340" y="2933067"/>
                  <a:pt x="811568" y="2933295"/>
                  <a:pt x="811872" y="2933295"/>
                </a:cubicBezTo>
                <a:cubicBezTo>
                  <a:pt x="812176" y="2933295"/>
                  <a:pt x="812403" y="2933067"/>
                  <a:pt x="812403" y="2932763"/>
                </a:cubicBezTo>
                <a:moveTo>
                  <a:pt x="4169482" y="6193010"/>
                </a:moveTo>
                <a:cubicBezTo>
                  <a:pt x="4169482" y="6192706"/>
                  <a:pt x="4169254" y="6192478"/>
                  <a:pt x="4168950" y="6192478"/>
                </a:cubicBezTo>
                <a:cubicBezTo>
                  <a:pt x="4168646" y="6192478"/>
                  <a:pt x="4168418" y="6192706"/>
                  <a:pt x="4168418" y="6193010"/>
                </a:cubicBezTo>
                <a:cubicBezTo>
                  <a:pt x="4168418" y="6193313"/>
                  <a:pt x="4168646" y="6193541"/>
                  <a:pt x="4168950" y="6193541"/>
                </a:cubicBezTo>
                <a:cubicBezTo>
                  <a:pt x="4169254" y="6193541"/>
                  <a:pt x="4169482" y="6193313"/>
                  <a:pt x="4169482" y="6193010"/>
                </a:cubicBezTo>
                <a:moveTo>
                  <a:pt x="4289174" y="6054558"/>
                </a:moveTo>
                <a:cubicBezTo>
                  <a:pt x="4289174" y="6053951"/>
                  <a:pt x="4288643" y="6053419"/>
                  <a:pt x="4288035" y="6053419"/>
                </a:cubicBezTo>
                <a:cubicBezTo>
                  <a:pt x="4287428" y="6053419"/>
                  <a:pt x="4286896" y="6053951"/>
                  <a:pt x="4286896" y="6054558"/>
                </a:cubicBezTo>
                <a:cubicBezTo>
                  <a:pt x="4286896" y="6055166"/>
                  <a:pt x="4287428" y="6055698"/>
                  <a:pt x="4288035" y="6055698"/>
                </a:cubicBezTo>
                <a:cubicBezTo>
                  <a:pt x="4288643" y="6055698"/>
                  <a:pt x="4289174" y="6055166"/>
                  <a:pt x="4289174" y="6054558"/>
                </a:cubicBezTo>
                <a:moveTo>
                  <a:pt x="4397626" y="5907601"/>
                </a:moveTo>
                <a:cubicBezTo>
                  <a:pt x="4397626" y="5906994"/>
                  <a:pt x="4397094" y="5906462"/>
                  <a:pt x="4396487" y="5906462"/>
                </a:cubicBezTo>
                <a:cubicBezTo>
                  <a:pt x="4395879" y="5906462"/>
                  <a:pt x="4395348" y="5906994"/>
                  <a:pt x="4395348" y="5907601"/>
                </a:cubicBezTo>
                <a:cubicBezTo>
                  <a:pt x="4395348" y="5908209"/>
                  <a:pt x="4395879" y="5908741"/>
                  <a:pt x="4396487" y="5908741"/>
                </a:cubicBezTo>
                <a:cubicBezTo>
                  <a:pt x="4397094" y="5908741"/>
                  <a:pt x="4397626" y="5908209"/>
                  <a:pt x="4397626" y="5907601"/>
                </a:cubicBezTo>
                <a:moveTo>
                  <a:pt x="4495901" y="5752974"/>
                </a:moveTo>
                <a:cubicBezTo>
                  <a:pt x="4495901" y="5751758"/>
                  <a:pt x="4494914" y="5750695"/>
                  <a:pt x="4493623" y="5750695"/>
                </a:cubicBezTo>
                <a:cubicBezTo>
                  <a:pt x="4492408" y="5750695"/>
                  <a:pt x="4491345" y="5751682"/>
                  <a:pt x="4491345" y="5752974"/>
                </a:cubicBezTo>
                <a:cubicBezTo>
                  <a:pt x="4491345" y="5754265"/>
                  <a:pt x="4492332" y="5755252"/>
                  <a:pt x="4493623" y="5755252"/>
                </a:cubicBezTo>
                <a:cubicBezTo>
                  <a:pt x="4494914" y="5755252"/>
                  <a:pt x="4495901" y="5754189"/>
                  <a:pt x="4495901" y="5752974"/>
                </a:cubicBezTo>
                <a:moveTo>
                  <a:pt x="4581797" y="5591511"/>
                </a:moveTo>
                <a:cubicBezTo>
                  <a:pt x="4581797" y="5589916"/>
                  <a:pt x="4580506" y="5588701"/>
                  <a:pt x="4578987" y="5588701"/>
                </a:cubicBezTo>
                <a:cubicBezTo>
                  <a:pt x="4577468" y="5588701"/>
                  <a:pt x="4576177" y="5589992"/>
                  <a:pt x="4576177" y="5591511"/>
                </a:cubicBezTo>
                <a:cubicBezTo>
                  <a:pt x="4576177" y="5593030"/>
                  <a:pt x="4577468" y="5594321"/>
                  <a:pt x="4578987" y="5594321"/>
                </a:cubicBezTo>
                <a:cubicBezTo>
                  <a:pt x="4580582" y="5594321"/>
                  <a:pt x="4581797" y="5593030"/>
                  <a:pt x="4581797" y="5591511"/>
                </a:cubicBezTo>
                <a:moveTo>
                  <a:pt x="4655997" y="5424124"/>
                </a:moveTo>
                <a:cubicBezTo>
                  <a:pt x="4655997" y="5421921"/>
                  <a:pt x="4654251" y="5420175"/>
                  <a:pt x="4652048" y="5420175"/>
                </a:cubicBezTo>
                <a:cubicBezTo>
                  <a:pt x="4649846" y="5420175"/>
                  <a:pt x="4648099" y="5421921"/>
                  <a:pt x="4648099" y="5424124"/>
                </a:cubicBezTo>
                <a:cubicBezTo>
                  <a:pt x="4648099" y="5426326"/>
                  <a:pt x="4649846" y="5428073"/>
                  <a:pt x="4652048" y="5428073"/>
                </a:cubicBezTo>
                <a:cubicBezTo>
                  <a:pt x="4654251" y="5428073"/>
                  <a:pt x="4655997" y="5426326"/>
                  <a:pt x="4655997" y="5424124"/>
                </a:cubicBezTo>
                <a:moveTo>
                  <a:pt x="4717439" y="5251725"/>
                </a:moveTo>
                <a:cubicBezTo>
                  <a:pt x="4717439" y="5248915"/>
                  <a:pt x="4715160" y="5246636"/>
                  <a:pt x="4712350" y="5246636"/>
                </a:cubicBezTo>
                <a:cubicBezTo>
                  <a:pt x="4709540" y="5246636"/>
                  <a:pt x="4707261" y="5248915"/>
                  <a:pt x="4707261" y="5251725"/>
                </a:cubicBezTo>
                <a:cubicBezTo>
                  <a:pt x="4707261" y="5254535"/>
                  <a:pt x="4709540" y="5256813"/>
                  <a:pt x="4712350" y="5256813"/>
                </a:cubicBezTo>
                <a:cubicBezTo>
                  <a:pt x="4715160" y="5256813"/>
                  <a:pt x="4717439" y="5254535"/>
                  <a:pt x="4717439" y="5251725"/>
                </a:cubicBezTo>
                <a:moveTo>
                  <a:pt x="4765817" y="5075300"/>
                </a:moveTo>
                <a:cubicBezTo>
                  <a:pt x="4765817" y="5071883"/>
                  <a:pt x="4763007" y="5069073"/>
                  <a:pt x="4759589" y="5069073"/>
                </a:cubicBezTo>
                <a:cubicBezTo>
                  <a:pt x="4756171" y="5069073"/>
                  <a:pt x="4753361" y="5071883"/>
                  <a:pt x="4753361" y="5075300"/>
                </a:cubicBezTo>
                <a:cubicBezTo>
                  <a:pt x="4753361" y="5078717"/>
                  <a:pt x="4756171" y="5081527"/>
                  <a:pt x="4759589" y="5081527"/>
                </a:cubicBezTo>
                <a:cubicBezTo>
                  <a:pt x="4763082" y="5081527"/>
                  <a:pt x="4765817" y="5078717"/>
                  <a:pt x="4765817" y="5075300"/>
                </a:cubicBezTo>
                <a:moveTo>
                  <a:pt x="4800904" y="4895838"/>
                </a:moveTo>
                <a:cubicBezTo>
                  <a:pt x="4800904" y="4891812"/>
                  <a:pt x="4797638" y="4888471"/>
                  <a:pt x="4793537" y="4888471"/>
                </a:cubicBezTo>
                <a:cubicBezTo>
                  <a:pt x="4789436" y="4888471"/>
                  <a:pt x="4786170" y="4891736"/>
                  <a:pt x="4786170" y="4895838"/>
                </a:cubicBezTo>
                <a:cubicBezTo>
                  <a:pt x="4786170" y="4899863"/>
                  <a:pt x="4789436" y="4903204"/>
                  <a:pt x="4793537" y="4903204"/>
                </a:cubicBezTo>
                <a:cubicBezTo>
                  <a:pt x="4797638" y="4903204"/>
                  <a:pt x="4800904" y="4899939"/>
                  <a:pt x="4800904" y="4895838"/>
                </a:cubicBezTo>
                <a:moveTo>
                  <a:pt x="4823080" y="4714401"/>
                </a:moveTo>
                <a:cubicBezTo>
                  <a:pt x="4823080" y="4709388"/>
                  <a:pt x="4819055" y="4705363"/>
                  <a:pt x="4814043" y="4705363"/>
                </a:cubicBezTo>
                <a:cubicBezTo>
                  <a:pt x="4809030" y="4705363"/>
                  <a:pt x="4805005" y="4709388"/>
                  <a:pt x="4805005" y="4714401"/>
                </a:cubicBezTo>
                <a:cubicBezTo>
                  <a:pt x="4805005" y="4719413"/>
                  <a:pt x="4809030" y="4723438"/>
                  <a:pt x="4814043" y="4723438"/>
                </a:cubicBezTo>
                <a:cubicBezTo>
                  <a:pt x="4819055" y="4723438"/>
                  <a:pt x="4823080" y="4719337"/>
                  <a:pt x="4823080" y="4714401"/>
                </a:cubicBezTo>
                <a:moveTo>
                  <a:pt x="4831055" y="4531824"/>
                </a:moveTo>
                <a:cubicBezTo>
                  <a:pt x="4831055" y="4526204"/>
                  <a:pt x="4826498" y="4521648"/>
                  <a:pt x="4820878" y="4521648"/>
                </a:cubicBezTo>
                <a:cubicBezTo>
                  <a:pt x="4815258" y="4521648"/>
                  <a:pt x="4810701" y="4526204"/>
                  <a:pt x="4810701" y="4531824"/>
                </a:cubicBezTo>
                <a:cubicBezTo>
                  <a:pt x="4810701" y="4537445"/>
                  <a:pt x="4815258" y="4542001"/>
                  <a:pt x="4820878" y="4542001"/>
                </a:cubicBezTo>
                <a:cubicBezTo>
                  <a:pt x="4826498" y="4542001"/>
                  <a:pt x="4831055" y="4537445"/>
                  <a:pt x="4831055" y="4531824"/>
                </a:cubicBezTo>
                <a:moveTo>
                  <a:pt x="4825359" y="4349324"/>
                </a:moveTo>
                <a:cubicBezTo>
                  <a:pt x="4825359" y="4343096"/>
                  <a:pt x="4820270" y="4338008"/>
                  <a:pt x="4814043" y="4338008"/>
                </a:cubicBezTo>
                <a:cubicBezTo>
                  <a:pt x="4807815" y="4338008"/>
                  <a:pt x="4802727" y="4343020"/>
                  <a:pt x="4802727" y="4349324"/>
                </a:cubicBezTo>
                <a:cubicBezTo>
                  <a:pt x="4802727" y="4355552"/>
                  <a:pt x="4807815" y="4360640"/>
                  <a:pt x="4814043" y="4360640"/>
                </a:cubicBezTo>
                <a:cubicBezTo>
                  <a:pt x="4820270" y="4360640"/>
                  <a:pt x="4825359" y="4355552"/>
                  <a:pt x="4825359" y="4349324"/>
                </a:cubicBezTo>
                <a:moveTo>
                  <a:pt x="4806600" y="4167887"/>
                </a:moveTo>
                <a:cubicBezTo>
                  <a:pt x="4806600" y="4160748"/>
                  <a:pt x="4800752" y="4154900"/>
                  <a:pt x="4793613" y="4154900"/>
                </a:cubicBezTo>
                <a:cubicBezTo>
                  <a:pt x="4786474" y="4154900"/>
                  <a:pt x="4780626" y="4160748"/>
                  <a:pt x="4780626" y="4167887"/>
                </a:cubicBezTo>
                <a:cubicBezTo>
                  <a:pt x="4780626" y="4175026"/>
                  <a:pt x="4786474" y="4180874"/>
                  <a:pt x="4793613" y="4180874"/>
                </a:cubicBezTo>
                <a:cubicBezTo>
                  <a:pt x="4800752" y="4180874"/>
                  <a:pt x="4806600" y="4175026"/>
                  <a:pt x="4806600" y="4167887"/>
                </a:cubicBezTo>
                <a:moveTo>
                  <a:pt x="4773715" y="3988424"/>
                </a:moveTo>
                <a:cubicBezTo>
                  <a:pt x="4773715" y="3980678"/>
                  <a:pt x="4767411" y="3974298"/>
                  <a:pt x="4759589" y="3974298"/>
                </a:cubicBezTo>
                <a:cubicBezTo>
                  <a:pt x="4751766" y="3974298"/>
                  <a:pt x="4745463" y="3980602"/>
                  <a:pt x="4745463" y="3988424"/>
                </a:cubicBezTo>
                <a:cubicBezTo>
                  <a:pt x="4745463" y="3996247"/>
                  <a:pt x="4751766" y="4002550"/>
                  <a:pt x="4759589" y="4002550"/>
                </a:cubicBezTo>
                <a:cubicBezTo>
                  <a:pt x="4767411" y="4002550"/>
                  <a:pt x="4773715" y="3996171"/>
                  <a:pt x="4773715" y="3988424"/>
                </a:cubicBezTo>
                <a:moveTo>
                  <a:pt x="4727615" y="3812000"/>
                </a:moveTo>
                <a:cubicBezTo>
                  <a:pt x="4727615" y="3803570"/>
                  <a:pt x="4720780" y="3796735"/>
                  <a:pt x="4712350" y="3796735"/>
                </a:cubicBezTo>
                <a:cubicBezTo>
                  <a:pt x="4703920" y="3796735"/>
                  <a:pt x="4697084" y="3803570"/>
                  <a:pt x="4697084" y="3812000"/>
                </a:cubicBezTo>
                <a:cubicBezTo>
                  <a:pt x="4697084" y="3820430"/>
                  <a:pt x="4703920" y="3827265"/>
                  <a:pt x="4712350" y="3827265"/>
                </a:cubicBezTo>
                <a:cubicBezTo>
                  <a:pt x="4720780" y="3827265"/>
                  <a:pt x="4727615" y="3820430"/>
                  <a:pt x="4727615" y="3812000"/>
                </a:cubicBezTo>
                <a:moveTo>
                  <a:pt x="4668377" y="3639601"/>
                </a:moveTo>
                <a:cubicBezTo>
                  <a:pt x="4668377" y="3630563"/>
                  <a:pt x="4661010" y="3623272"/>
                  <a:pt x="4652048" y="3623272"/>
                </a:cubicBezTo>
                <a:cubicBezTo>
                  <a:pt x="4643010" y="3623272"/>
                  <a:pt x="4635644" y="3630563"/>
                  <a:pt x="4635644" y="3639601"/>
                </a:cubicBezTo>
                <a:cubicBezTo>
                  <a:pt x="4635644" y="3648638"/>
                  <a:pt x="4642935" y="3656005"/>
                  <a:pt x="4652048" y="3656005"/>
                </a:cubicBezTo>
                <a:cubicBezTo>
                  <a:pt x="4661086" y="3656005"/>
                  <a:pt x="4668377" y="3648638"/>
                  <a:pt x="4668377" y="3639601"/>
                </a:cubicBezTo>
                <a:moveTo>
                  <a:pt x="4595924" y="3472214"/>
                </a:moveTo>
                <a:cubicBezTo>
                  <a:pt x="4595924" y="3462872"/>
                  <a:pt x="4588329" y="3455278"/>
                  <a:pt x="4578987" y="3455278"/>
                </a:cubicBezTo>
                <a:cubicBezTo>
                  <a:pt x="4569646" y="3455278"/>
                  <a:pt x="4562051" y="3462872"/>
                  <a:pt x="4562051" y="3472214"/>
                </a:cubicBezTo>
                <a:cubicBezTo>
                  <a:pt x="4562051" y="3481555"/>
                  <a:pt x="4569646" y="3489150"/>
                  <a:pt x="4578987" y="3489150"/>
                </a:cubicBezTo>
                <a:cubicBezTo>
                  <a:pt x="4588329" y="3489150"/>
                  <a:pt x="4595924" y="3481555"/>
                  <a:pt x="4595924" y="3472214"/>
                </a:cubicBezTo>
                <a:moveTo>
                  <a:pt x="4511167" y="3310751"/>
                </a:moveTo>
                <a:cubicBezTo>
                  <a:pt x="4511167" y="3301106"/>
                  <a:pt x="4503344" y="3293283"/>
                  <a:pt x="4493699" y="3293283"/>
                </a:cubicBezTo>
                <a:cubicBezTo>
                  <a:pt x="4484054" y="3293283"/>
                  <a:pt x="4476231" y="3301106"/>
                  <a:pt x="4476231" y="3310751"/>
                </a:cubicBezTo>
                <a:cubicBezTo>
                  <a:pt x="4476231" y="3320396"/>
                  <a:pt x="4484054" y="3328219"/>
                  <a:pt x="4493699" y="3328219"/>
                </a:cubicBezTo>
                <a:cubicBezTo>
                  <a:pt x="4503344" y="3328219"/>
                  <a:pt x="4511167" y="3320396"/>
                  <a:pt x="4511167" y="3310751"/>
                </a:cubicBezTo>
                <a:moveTo>
                  <a:pt x="4414563" y="3156123"/>
                </a:moveTo>
                <a:cubicBezTo>
                  <a:pt x="4414563" y="3146174"/>
                  <a:pt x="4406512" y="3138048"/>
                  <a:pt x="4396487" y="3138048"/>
                </a:cubicBezTo>
                <a:cubicBezTo>
                  <a:pt x="4386538" y="3138048"/>
                  <a:pt x="4378412" y="3146174"/>
                  <a:pt x="4378412" y="3156123"/>
                </a:cubicBezTo>
                <a:cubicBezTo>
                  <a:pt x="4378412" y="3166072"/>
                  <a:pt x="4386538" y="3174198"/>
                  <a:pt x="4396487" y="3174198"/>
                </a:cubicBezTo>
                <a:cubicBezTo>
                  <a:pt x="4406512" y="3174122"/>
                  <a:pt x="4414563" y="3166072"/>
                  <a:pt x="4414563" y="3156123"/>
                </a:cubicBezTo>
                <a:moveTo>
                  <a:pt x="4306642" y="3009166"/>
                </a:moveTo>
                <a:cubicBezTo>
                  <a:pt x="4306642" y="2998913"/>
                  <a:pt x="4298288" y="2990559"/>
                  <a:pt x="4288035" y="2990559"/>
                </a:cubicBezTo>
                <a:cubicBezTo>
                  <a:pt x="4277782" y="2990559"/>
                  <a:pt x="4269428" y="2998913"/>
                  <a:pt x="4269428" y="3009166"/>
                </a:cubicBezTo>
                <a:cubicBezTo>
                  <a:pt x="4269428" y="3019419"/>
                  <a:pt x="4277782" y="3027773"/>
                  <a:pt x="4288035" y="3027773"/>
                </a:cubicBezTo>
                <a:cubicBezTo>
                  <a:pt x="4298288" y="3027773"/>
                  <a:pt x="4306642" y="3019419"/>
                  <a:pt x="4306642" y="3009166"/>
                </a:cubicBezTo>
                <a:moveTo>
                  <a:pt x="4187557" y="2870715"/>
                </a:moveTo>
                <a:cubicBezTo>
                  <a:pt x="4187557" y="2860462"/>
                  <a:pt x="4179203" y="2852108"/>
                  <a:pt x="4168950" y="2852108"/>
                </a:cubicBezTo>
                <a:cubicBezTo>
                  <a:pt x="4158697" y="2852108"/>
                  <a:pt x="4150343" y="2860462"/>
                  <a:pt x="4150343" y="2870715"/>
                </a:cubicBezTo>
                <a:cubicBezTo>
                  <a:pt x="4150343" y="2880968"/>
                  <a:pt x="4158697" y="2889322"/>
                  <a:pt x="4168950" y="2889322"/>
                </a:cubicBezTo>
                <a:cubicBezTo>
                  <a:pt x="4179203" y="2889322"/>
                  <a:pt x="4187557" y="2880968"/>
                  <a:pt x="4187557" y="2870715"/>
                </a:cubicBezTo>
                <a:moveTo>
                  <a:pt x="4058372" y="2741605"/>
                </a:moveTo>
                <a:cubicBezTo>
                  <a:pt x="4058372" y="2731352"/>
                  <a:pt x="4050018" y="2722998"/>
                  <a:pt x="4039764" y="2722998"/>
                </a:cubicBezTo>
                <a:cubicBezTo>
                  <a:pt x="4029512" y="2722998"/>
                  <a:pt x="4021157" y="2731352"/>
                  <a:pt x="4021157" y="2741605"/>
                </a:cubicBezTo>
                <a:cubicBezTo>
                  <a:pt x="4021157" y="2751858"/>
                  <a:pt x="4029512" y="2760212"/>
                  <a:pt x="4039764" y="2760212"/>
                </a:cubicBezTo>
                <a:cubicBezTo>
                  <a:pt x="4050094" y="2760212"/>
                  <a:pt x="4058372" y="2751858"/>
                  <a:pt x="4058372" y="2741605"/>
                </a:cubicBezTo>
                <a:moveTo>
                  <a:pt x="3919997" y="2622445"/>
                </a:moveTo>
                <a:cubicBezTo>
                  <a:pt x="3919997" y="2612192"/>
                  <a:pt x="3911642" y="2603838"/>
                  <a:pt x="3901390" y="2603838"/>
                </a:cubicBezTo>
                <a:cubicBezTo>
                  <a:pt x="3891136" y="2603838"/>
                  <a:pt x="3882782" y="2612192"/>
                  <a:pt x="3882782" y="2622445"/>
                </a:cubicBezTo>
                <a:cubicBezTo>
                  <a:pt x="3882782" y="2632698"/>
                  <a:pt x="3891136" y="2641052"/>
                  <a:pt x="3901390" y="2641052"/>
                </a:cubicBezTo>
                <a:cubicBezTo>
                  <a:pt x="3911642" y="2641052"/>
                  <a:pt x="3919997" y="2632698"/>
                  <a:pt x="3919997" y="2622445"/>
                </a:cubicBezTo>
                <a:moveTo>
                  <a:pt x="3772432" y="2513993"/>
                </a:moveTo>
                <a:cubicBezTo>
                  <a:pt x="3772432" y="2504044"/>
                  <a:pt x="3764381" y="2495917"/>
                  <a:pt x="3754356" y="2495917"/>
                </a:cubicBezTo>
                <a:cubicBezTo>
                  <a:pt x="3744407" y="2495917"/>
                  <a:pt x="3736281" y="2504044"/>
                  <a:pt x="3736281" y="2513993"/>
                </a:cubicBezTo>
                <a:cubicBezTo>
                  <a:pt x="3736281" y="2523942"/>
                  <a:pt x="3744407" y="2532068"/>
                  <a:pt x="3754356" y="2532068"/>
                </a:cubicBezTo>
                <a:cubicBezTo>
                  <a:pt x="3764381" y="2532068"/>
                  <a:pt x="3772432" y="2523942"/>
                  <a:pt x="3772432" y="2513993"/>
                </a:cubicBezTo>
                <a:moveTo>
                  <a:pt x="3617272" y="2416780"/>
                </a:moveTo>
                <a:cubicBezTo>
                  <a:pt x="3617272" y="2407135"/>
                  <a:pt x="3609450" y="2399313"/>
                  <a:pt x="3599804" y="2399313"/>
                </a:cubicBezTo>
                <a:cubicBezTo>
                  <a:pt x="3590159" y="2399313"/>
                  <a:pt x="3582337" y="2407135"/>
                  <a:pt x="3582337" y="2416780"/>
                </a:cubicBezTo>
                <a:cubicBezTo>
                  <a:pt x="3582337" y="2426426"/>
                  <a:pt x="3590159" y="2434248"/>
                  <a:pt x="3599804" y="2434248"/>
                </a:cubicBezTo>
                <a:cubicBezTo>
                  <a:pt x="3609450" y="2434324"/>
                  <a:pt x="3617272" y="2426502"/>
                  <a:pt x="3617272" y="2416780"/>
                </a:cubicBezTo>
                <a:moveTo>
                  <a:pt x="3455202" y="2331492"/>
                </a:moveTo>
                <a:cubicBezTo>
                  <a:pt x="3455202" y="2322151"/>
                  <a:pt x="3447607" y="2314556"/>
                  <a:pt x="3438266" y="2314556"/>
                </a:cubicBezTo>
                <a:cubicBezTo>
                  <a:pt x="3428924" y="2314556"/>
                  <a:pt x="3421329" y="2322151"/>
                  <a:pt x="3421329" y="2331492"/>
                </a:cubicBezTo>
                <a:cubicBezTo>
                  <a:pt x="3421329" y="2340834"/>
                  <a:pt x="3428924" y="2348428"/>
                  <a:pt x="3438266" y="2348428"/>
                </a:cubicBezTo>
                <a:cubicBezTo>
                  <a:pt x="3447607" y="2348428"/>
                  <a:pt x="3455202" y="2340834"/>
                  <a:pt x="3455202" y="2331492"/>
                </a:cubicBezTo>
                <a:moveTo>
                  <a:pt x="3287207" y="2258431"/>
                </a:moveTo>
                <a:cubicBezTo>
                  <a:pt x="3287207" y="2249394"/>
                  <a:pt x="3279840" y="2242103"/>
                  <a:pt x="3270803" y="2242103"/>
                </a:cubicBezTo>
                <a:cubicBezTo>
                  <a:pt x="3261765" y="2242103"/>
                  <a:pt x="3254398" y="2249470"/>
                  <a:pt x="3254398" y="2258431"/>
                </a:cubicBezTo>
                <a:cubicBezTo>
                  <a:pt x="3254398" y="2267469"/>
                  <a:pt x="3261689" y="2274836"/>
                  <a:pt x="3270803" y="2274836"/>
                </a:cubicBezTo>
                <a:cubicBezTo>
                  <a:pt x="3279916" y="2274836"/>
                  <a:pt x="3287207" y="2267469"/>
                  <a:pt x="3287207" y="2258431"/>
                </a:cubicBezTo>
                <a:moveTo>
                  <a:pt x="3113745" y="2198130"/>
                </a:moveTo>
                <a:cubicBezTo>
                  <a:pt x="3113745" y="2189699"/>
                  <a:pt x="3106909" y="2182864"/>
                  <a:pt x="3098479" y="2182864"/>
                </a:cubicBezTo>
                <a:cubicBezTo>
                  <a:pt x="3090049" y="2182864"/>
                  <a:pt x="3083214" y="2189699"/>
                  <a:pt x="3083214" y="2198130"/>
                </a:cubicBezTo>
                <a:cubicBezTo>
                  <a:pt x="3083214" y="2206560"/>
                  <a:pt x="3090049" y="2213395"/>
                  <a:pt x="3098479" y="2213395"/>
                </a:cubicBezTo>
                <a:cubicBezTo>
                  <a:pt x="3106909" y="2213395"/>
                  <a:pt x="3113745" y="2206560"/>
                  <a:pt x="3113745" y="2198130"/>
                </a:cubicBezTo>
                <a:moveTo>
                  <a:pt x="2936181" y="2150891"/>
                </a:moveTo>
                <a:cubicBezTo>
                  <a:pt x="2936181" y="2143068"/>
                  <a:pt x="2929877" y="2136765"/>
                  <a:pt x="2922055" y="2136765"/>
                </a:cubicBezTo>
                <a:cubicBezTo>
                  <a:pt x="2914232" y="2136765"/>
                  <a:pt x="2907929" y="2143068"/>
                  <a:pt x="2907929" y="2150891"/>
                </a:cubicBezTo>
                <a:cubicBezTo>
                  <a:pt x="2907929" y="2158713"/>
                  <a:pt x="2914232" y="2165017"/>
                  <a:pt x="2922055" y="2165017"/>
                </a:cubicBezTo>
                <a:cubicBezTo>
                  <a:pt x="2929877" y="2165017"/>
                  <a:pt x="2936181" y="2158637"/>
                  <a:pt x="2936181" y="2150891"/>
                </a:cubicBezTo>
                <a:moveTo>
                  <a:pt x="2755579" y="2116866"/>
                </a:moveTo>
                <a:cubicBezTo>
                  <a:pt x="2755579" y="2109727"/>
                  <a:pt x="2749731" y="2103880"/>
                  <a:pt x="2742592" y="2103880"/>
                </a:cubicBezTo>
                <a:cubicBezTo>
                  <a:pt x="2735453" y="2103880"/>
                  <a:pt x="2729606" y="2109727"/>
                  <a:pt x="2729606" y="2116866"/>
                </a:cubicBezTo>
                <a:cubicBezTo>
                  <a:pt x="2729606" y="2124005"/>
                  <a:pt x="2735453" y="2129853"/>
                  <a:pt x="2742592" y="2129853"/>
                </a:cubicBezTo>
                <a:cubicBezTo>
                  <a:pt x="2749808" y="2129853"/>
                  <a:pt x="2755579" y="2124082"/>
                  <a:pt x="2755579" y="2116866"/>
                </a:cubicBezTo>
                <a:moveTo>
                  <a:pt x="2572396" y="2096437"/>
                </a:moveTo>
                <a:cubicBezTo>
                  <a:pt x="2572396" y="2090209"/>
                  <a:pt x="2567307" y="2085197"/>
                  <a:pt x="2561080" y="2085197"/>
                </a:cubicBezTo>
                <a:cubicBezTo>
                  <a:pt x="2554852" y="2085197"/>
                  <a:pt x="2549764" y="2090285"/>
                  <a:pt x="2549764" y="2096437"/>
                </a:cubicBezTo>
                <a:cubicBezTo>
                  <a:pt x="2549764" y="2102664"/>
                  <a:pt x="2554852" y="2107753"/>
                  <a:pt x="2561080" y="2107753"/>
                </a:cubicBezTo>
                <a:cubicBezTo>
                  <a:pt x="2567307" y="2107753"/>
                  <a:pt x="2572396" y="2102664"/>
                  <a:pt x="2572396" y="2096437"/>
                </a:cubicBezTo>
                <a:moveTo>
                  <a:pt x="2388756" y="2089602"/>
                </a:moveTo>
                <a:cubicBezTo>
                  <a:pt x="2388756" y="2083982"/>
                  <a:pt x="2384199" y="2079425"/>
                  <a:pt x="2378579" y="2079425"/>
                </a:cubicBezTo>
                <a:cubicBezTo>
                  <a:pt x="2372959" y="2079425"/>
                  <a:pt x="2368402" y="2083982"/>
                  <a:pt x="2368402" y="2089602"/>
                </a:cubicBezTo>
                <a:cubicBezTo>
                  <a:pt x="2368402" y="2095222"/>
                  <a:pt x="2372959" y="2099778"/>
                  <a:pt x="2378579" y="2099778"/>
                </a:cubicBezTo>
                <a:cubicBezTo>
                  <a:pt x="2384275" y="2099778"/>
                  <a:pt x="2388756" y="2095222"/>
                  <a:pt x="2388756" y="2089602"/>
                </a:cubicBezTo>
                <a:moveTo>
                  <a:pt x="2205117" y="2096437"/>
                </a:moveTo>
                <a:cubicBezTo>
                  <a:pt x="2205117" y="2091424"/>
                  <a:pt x="2201092" y="2087399"/>
                  <a:pt x="2196079" y="2087399"/>
                </a:cubicBezTo>
                <a:cubicBezTo>
                  <a:pt x="2191067" y="2087399"/>
                  <a:pt x="2187041" y="2091424"/>
                  <a:pt x="2187041" y="2096437"/>
                </a:cubicBezTo>
                <a:cubicBezTo>
                  <a:pt x="2187041" y="2101449"/>
                  <a:pt x="2191067" y="2105474"/>
                  <a:pt x="2196079" y="2105474"/>
                </a:cubicBezTo>
                <a:cubicBezTo>
                  <a:pt x="2201092" y="2105474"/>
                  <a:pt x="2205117" y="2101449"/>
                  <a:pt x="2205117" y="2096437"/>
                </a:cubicBezTo>
                <a:moveTo>
                  <a:pt x="2021933" y="2116866"/>
                </a:moveTo>
                <a:cubicBezTo>
                  <a:pt x="2021933" y="2112841"/>
                  <a:pt x="2018667" y="2109500"/>
                  <a:pt x="2014566" y="2109500"/>
                </a:cubicBezTo>
                <a:cubicBezTo>
                  <a:pt x="2010541" y="2109500"/>
                  <a:pt x="2007199" y="2112765"/>
                  <a:pt x="2007199" y="2116866"/>
                </a:cubicBezTo>
                <a:cubicBezTo>
                  <a:pt x="2007199" y="2120892"/>
                  <a:pt x="2010465" y="2124233"/>
                  <a:pt x="2014566" y="2124233"/>
                </a:cubicBezTo>
                <a:cubicBezTo>
                  <a:pt x="2018667" y="2124233"/>
                  <a:pt x="2021933" y="2120968"/>
                  <a:pt x="2021933" y="2116866"/>
                </a:cubicBezTo>
                <a:moveTo>
                  <a:pt x="1841407" y="2150891"/>
                </a:moveTo>
                <a:cubicBezTo>
                  <a:pt x="1841407" y="2147473"/>
                  <a:pt x="1838597" y="2144663"/>
                  <a:pt x="1835180" y="2144663"/>
                </a:cubicBezTo>
                <a:cubicBezTo>
                  <a:pt x="1831762" y="2144663"/>
                  <a:pt x="1828952" y="2147473"/>
                  <a:pt x="1828952" y="2150891"/>
                </a:cubicBezTo>
                <a:cubicBezTo>
                  <a:pt x="1828952" y="2154308"/>
                  <a:pt x="1831686" y="2157118"/>
                  <a:pt x="1835180" y="2157118"/>
                </a:cubicBezTo>
                <a:cubicBezTo>
                  <a:pt x="1838597" y="2157042"/>
                  <a:pt x="1841407" y="2154308"/>
                  <a:pt x="1841407" y="2150891"/>
                </a:cubicBezTo>
                <a:moveTo>
                  <a:pt x="1663844" y="2198130"/>
                </a:moveTo>
                <a:cubicBezTo>
                  <a:pt x="1663844" y="2195320"/>
                  <a:pt x="1661565" y="2193041"/>
                  <a:pt x="1658755" y="2193041"/>
                </a:cubicBezTo>
                <a:cubicBezTo>
                  <a:pt x="1655945" y="2193041"/>
                  <a:pt x="1653667" y="2195320"/>
                  <a:pt x="1653667" y="2198130"/>
                </a:cubicBezTo>
                <a:cubicBezTo>
                  <a:pt x="1653667" y="2200940"/>
                  <a:pt x="1655945" y="2203218"/>
                  <a:pt x="1658755" y="2203218"/>
                </a:cubicBezTo>
                <a:cubicBezTo>
                  <a:pt x="1661565" y="2203218"/>
                  <a:pt x="1663844" y="2200940"/>
                  <a:pt x="1663844" y="2198130"/>
                </a:cubicBezTo>
                <a:moveTo>
                  <a:pt x="1490305" y="2258431"/>
                </a:moveTo>
                <a:cubicBezTo>
                  <a:pt x="1490305" y="2256229"/>
                  <a:pt x="1488558" y="2254482"/>
                  <a:pt x="1486356" y="2254482"/>
                </a:cubicBezTo>
                <a:cubicBezTo>
                  <a:pt x="1484153" y="2254482"/>
                  <a:pt x="1482407" y="2256229"/>
                  <a:pt x="1482407" y="2258431"/>
                </a:cubicBezTo>
                <a:cubicBezTo>
                  <a:pt x="1482407" y="2260634"/>
                  <a:pt x="1484153" y="2262381"/>
                  <a:pt x="1486356" y="2262381"/>
                </a:cubicBezTo>
                <a:cubicBezTo>
                  <a:pt x="1488558" y="2262381"/>
                  <a:pt x="1490305" y="2260634"/>
                  <a:pt x="1490305" y="2258431"/>
                </a:cubicBezTo>
                <a:moveTo>
                  <a:pt x="1321779" y="2331492"/>
                </a:moveTo>
                <a:cubicBezTo>
                  <a:pt x="1321779" y="2329898"/>
                  <a:pt x="1320488" y="2328682"/>
                  <a:pt x="1318969" y="2328682"/>
                </a:cubicBezTo>
                <a:cubicBezTo>
                  <a:pt x="1317450" y="2328682"/>
                  <a:pt x="1316159" y="2329973"/>
                  <a:pt x="1316159" y="2331492"/>
                </a:cubicBezTo>
                <a:cubicBezTo>
                  <a:pt x="1316159" y="2333087"/>
                  <a:pt x="1317450" y="2334302"/>
                  <a:pt x="1318969" y="2334302"/>
                </a:cubicBezTo>
                <a:cubicBezTo>
                  <a:pt x="1320488" y="2334302"/>
                  <a:pt x="1321779" y="2333011"/>
                  <a:pt x="1321779" y="2331492"/>
                </a:cubicBezTo>
                <a:moveTo>
                  <a:pt x="1159784" y="2416780"/>
                </a:moveTo>
                <a:cubicBezTo>
                  <a:pt x="1159784" y="2415566"/>
                  <a:pt x="1158797" y="2414502"/>
                  <a:pt x="1157506" y="2414502"/>
                </a:cubicBezTo>
                <a:cubicBezTo>
                  <a:pt x="1156215" y="2414502"/>
                  <a:pt x="1155227" y="2415490"/>
                  <a:pt x="1155227" y="2416780"/>
                </a:cubicBezTo>
                <a:cubicBezTo>
                  <a:pt x="1155227" y="2417996"/>
                  <a:pt x="1156215" y="2419059"/>
                  <a:pt x="1157506" y="2419059"/>
                </a:cubicBezTo>
                <a:cubicBezTo>
                  <a:pt x="1158797" y="2419059"/>
                  <a:pt x="1159784" y="2418072"/>
                  <a:pt x="1159784" y="2416780"/>
                </a:cubicBezTo>
                <a:moveTo>
                  <a:pt x="1004017" y="2513993"/>
                </a:moveTo>
                <a:cubicBezTo>
                  <a:pt x="1004017" y="2513385"/>
                  <a:pt x="1003486" y="2512853"/>
                  <a:pt x="1002878" y="2512853"/>
                </a:cubicBezTo>
                <a:cubicBezTo>
                  <a:pt x="1002271" y="2512853"/>
                  <a:pt x="1001739" y="2513385"/>
                  <a:pt x="1001739" y="2513993"/>
                </a:cubicBezTo>
                <a:cubicBezTo>
                  <a:pt x="1001739" y="2514600"/>
                  <a:pt x="1002271" y="2515132"/>
                  <a:pt x="1002878" y="2515132"/>
                </a:cubicBezTo>
                <a:cubicBezTo>
                  <a:pt x="1003486" y="2515132"/>
                  <a:pt x="1004017" y="2514600"/>
                  <a:pt x="1004017" y="2513993"/>
                </a:cubicBezTo>
                <a:moveTo>
                  <a:pt x="857060" y="2622445"/>
                </a:moveTo>
                <a:cubicBezTo>
                  <a:pt x="857060" y="2621837"/>
                  <a:pt x="856529" y="2621306"/>
                  <a:pt x="855921" y="2621306"/>
                </a:cubicBezTo>
                <a:cubicBezTo>
                  <a:pt x="855313" y="2621306"/>
                  <a:pt x="854782" y="2621837"/>
                  <a:pt x="854782" y="2622445"/>
                </a:cubicBezTo>
                <a:cubicBezTo>
                  <a:pt x="854782" y="2623052"/>
                  <a:pt x="855313" y="2623584"/>
                  <a:pt x="855921" y="2623584"/>
                </a:cubicBezTo>
                <a:cubicBezTo>
                  <a:pt x="856529" y="2623584"/>
                  <a:pt x="857060" y="2623052"/>
                  <a:pt x="857060" y="2622445"/>
                </a:cubicBezTo>
                <a:moveTo>
                  <a:pt x="718077" y="2741605"/>
                </a:moveTo>
                <a:cubicBezTo>
                  <a:pt x="718077" y="2741301"/>
                  <a:pt x="717850" y="2741074"/>
                  <a:pt x="717546" y="2741074"/>
                </a:cubicBezTo>
                <a:cubicBezTo>
                  <a:pt x="717242" y="2741074"/>
                  <a:pt x="717014" y="2741301"/>
                  <a:pt x="717014" y="2741605"/>
                </a:cubicBezTo>
                <a:cubicBezTo>
                  <a:pt x="717014" y="2741909"/>
                  <a:pt x="717242" y="2742137"/>
                  <a:pt x="717546" y="2742137"/>
                </a:cubicBezTo>
                <a:cubicBezTo>
                  <a:pt x="717850" y="2742137"/>
                  <a:pt x="718077" y="2741909"/>
                  <a:pt x="718077" y="2741605"/>
                </a:cubicBezTo>
                <a:moveTo>
                  <a:pt x="4328970" y="6320221"/>
                </a:moveTo>
                <a:cubicBezTo>
                  <a:pt x="4328970" y="6319917"/>
                  <a:pt x="4328742" y="6319689"/>
                  <a:pt x="4328439" y="6319689"/>
                </a:cubicBezTo>
                <a:cubicBezTo>
                  <a:pt x="4328135" y="6319689"/>
                  <a:pt x="4327907" y="6319917"/>
                  <a:pt x="4327907" y="6320221"/>
                </a:cubicBezTo>
                <a:cubicBezTo>
                  <a:pt x="4327907" y="6320524"/>
                  <a:pt x="4328135" y="6320752"/>
                  <a:pt x="4328439" y="6320752"/>
                </a:cubicBezTo>
                <a:cubicBezTo>
                  <a:pt x="4328742" y="6320752"/>
                  <a:pt x="4328970" y="6320524"/>
                  <a:pt x="4328970" y="6320221"/>
                </a:cubicBezTo>
                <a:moveTo>
                  <a:pt x="4448283" y="6181466"/>
                </a:moveTo>
                <a:cubicBezTo>
                  <a:pt x="4448283" y="6180858"/>
                  <a:pt x="4447751" y="6180326"/>
                  <a:pt x="4447144" y="6180326"/>
                </a:cubicBezTo>
                <a:cubicBezTo>
                  <a:pt x="4446536" y="6180326"/>
                  <a:pt x="4446004" y="6180858"/>
                  <a:pt x="4446004" y="6181466"/>
                </a:cubicBezTo>
                <a:cubicBezTo>
                  <a:pt x="4446004" y="6182073"/>
                  <a:pt x="4446536" y="6182605"/>
                  <a:pt x="4447144" y="6182605"/>
                </a:cubicBezTo>
                <a:cubicBezTo>
                  <a:pt x="4447827" y="6182605"/>
                  <a:pt x="4448283" y="6182073"/>
                  <a:pt x="4448283" y="6181466"/>
                </a:cubicBezTo>
                <a:moveTo>
                  <a:pt x="4557190" y="6034812"/>
                </a:moveTo>
                <a:cubicBezTo>
                  <a:pt x="4557190" y="6034205"/>
                  <a:pt x="4556659" y="6033673"/>
                  <a:pt x="4556052" y="6033673"/>
                </a:cubicBezTo>
                <a:cubicBezTo>
                  <a:pt x="4555444" y="6033673"/>
                  <a:pt x="4554912" y="6034205"/>
                  <a:pt x="4554912" y="6034812"/>
                </a:cubicBezTo>
                <a:cubicBezTo>
                  <a:pt x="4554912" y="6035420"/>
                  <a:pt x="4555444" y="6035952"/>
                  <a:pt x="4556052" y="6035952"/>
                </a:cubicBezTo>
                <a:cubicBezTo>
                  <a:pt x="4556659" y="6035952"/>
                  <a:pt x="4557190" y="6035420"/>
                  <a:pt x="4557190" y="6034812"/>
                </a:cubicBezTo>
                <a:moveTo>
                  <a:pt x="4656833" y="5881020"/>
                </a:moveTo>
                <a:cubicBezTo>
                  <a:pt x="4656833" y="5879805"/>
                  <a:pt x="4655845" y="5878742"/>
                  <a:pt x="4654554" y="5878742"/>
                </a:cubicBezTo>
                <a:cubicBezTo>
                  <a:pt x="4653339" y="5878742"/>
                  <a:pt x="4652276" y="5879729"/>
                  <a:pt x="4652276" y="5881020"/>
                </a:cubicBezTo>
                <a:cubicBezTo>
                  <a:pt x="4652276" y="5882235"/>
                  <a:pt x="4653263" y="5883298"/>
                  <a:pt x="4654554" y="5883298"/>
                </a:cubicBezTo>
                <a:cubicBezTo>
                  <a:pt x="4655770" y="5883298"/>
                  <a:pt x="4656833" y="5882235"/>
                  <a:pt x="4656833" y="5881020"/>
                </a:cubicBezTo>
                <a:moveTo>
                  <a:pt x="4745615" y="5720772"/>
                </a:moveTo>
                <a:cubicBezTo>
                  <a:pt x="4745615" y="5718874"/>
                  <a:pt x="4744096" y="5717355"/>
                  <a:pt x="4742197" y="5717355"/>
                </a:cubicBezTo>
                <a:cubicBezTo>
                  <a:pt x="4740298" y="5717355"/>
                  <a:pt x="4738780" y="5718874"/>
                  <a:pt x="4738780" y="5720772"/>
                </a:cubicBezTo>
                <a:cubicBezTo>
                  <a:pt x="4738780" y="5722671"/>
                  <a:pt x="4740298" y="5724190"/>
                  <a:pt x="4742197" y="5724190"/>
                </a:cubicBezTo>
                <a:cubicBezTo>
                  <a:pt x="4744096" y="5724190"/>
                  <a:pt x="4745615" y="5722671"/>
                  <a:pt x="4745615" y="5720772"/>
                </a:cubicBezTo>
                <a:moveTo>
                  <a:pt x="4823080" y="5554904"/>
                </a:moveTo>
                <a:cubicBezTo>
                  <a:pt x="4823080" y="5552398"/>
                  <a:pt x="4821030" y="5550423"/>
                  <a:pt x="4818524" y="5550423"/>
                </a:cubicBezTo>
                <a:cubicBezTo>
                  <a:pt x="4816017" y="5550423"/>
                  <a:pt x="4814043" y="5552474"/>
                  <a:pt x="4814043" y="5554904"/>
                </a:cubicBezTo>
                <a:cubicBezTo>
                  <a:pt x="4814043" y="5557335"/>
                  <a:pt x="4816093" y="5559461"/>
                  <a:pt x="4818524" y="5559461"/>
                </a:cubicBezTo>
                <a:cubicBezTo>
                  <a:pt x="4820954" y="5559461"/>
                  <a:pt x="4823080" y="5557411"/>
                  <a:pt x="4823080" y="5554904"/>
                </a:cubicBezTo>
                <a:moveTo>
                  <a:pt x="4888471" y="5384100"/>
                </a:moveTo>
                <a:cubicBezTo>
                  <a:pt x="4888471" y="5381290"/>
                  <a:pt x="4886192" y="5379012"/>
                  <a:pt x="4883382" y="5379012"/>
                </a:cubicBezTo>
                <a:cubicBezTo>
                  <a:pt x="4880572" y="5379012"/>
                  <a:pt x="4878294" y="5381290"/>
                  <a:pt x="4878294" y="5384100"/>
                </a:cubicBezTo>
                <a:cubicBezTo>
                  <a:pt x="4878294" y="5386910"/>
                  <a:pt x="4880572" y="5389188"/>
                  <a:pt x="4883382" y="5389188"/>
                </a:cubicBezTo>
                <a:cubicBezTo>
                  <a:pt x="4886192" y="5389188"/>
                  <a:pt x="4888471" y="5386910"/>
                  <a:pt x="4888471" y="5384100"/>
                </a:cubicBezTo>
                <a:moveTo>
                  <a:pt x="4943000" y="5209270"/>
                </a:moveTo>
                <a:cubicBezTo>
                  <a:pt x="4943000" y="5205549"/>
                  <a:pt x="4939963" y="5202511"/>
                  <a:pt x="4936241" y="5202511"/>
                </a:cubicBezTo>
                <a:cubicBezTo>
                  <a:pt x="4932520" y="5202511"/>
                  <a:pt x="4929482" y="5205549"/>
                  <a:pt x="4929482" y="5209270"/>
                </a:cubicBezTo>
                <a:cubicBezTo>
                  <a:pt x="4929482" y="5212991"/>
                  <a:pt x="4932520" y="5216030"/>
                  <a:pt x="4936241" y="5216030"/>
                </a:cubicBezTo>
                <a:cubicBezTo>
                  <a:pt x="4939963" y="5216030"/>
                  <a:pt x="4943000" y="5212991"/>
                  <a:pt x="4943000" y="5209270"/>
                </a:cubicBezTo>
                <a:moveTo>
                  <a:pt x="4984771" y="5031175"/>
                </a:moveTo>
                <a:cubicBezTo>
                  <a:pt x="4984771" y="5026770"/>
                  <a:pt x="4981202" y="5023276"/>
                  <a:pt x="4976873" y="5023276"/>
                </a:cubicBezTo>
                <a:cubicBezTo>
                  <a:pt x="4972468" y="5023276"/>
                  <a:pt x="4968974" y="5026770"/>
                  <a:pt x="4968974" y="5031175"/>
                </a:cubicBezTo>
                <a:cubicBezTo>
                  <a:pt x="4968974" y="5035504"/>
                  <a:pt x="4972544" y="5039073"/>
                  <a:pt x="4976873" y="5039073"/>
                </a:cubicBezTo>
                <a:cubicBezTo>
                  <a:pt x="4981202" y="5039073"/>
                  <a:pt x="4984771" y="5035580"/>
                  <a:pt x="4984771" y="5031175"/>
                </a:cubicBezTo>
                <a:moveTo>
                  <a:pt x="5014087" y="4850801"/>
                </a:moveTo>
                <a:cubicBezTo>
                  <a:pt x="5014087" y="4845789"/>
                  <a:pt x="5010062" y="4841763"/>
                  <a:pt x="5005049" y="4841763"/>
                </a:cubicBezTo>
                <a:cubicBezTo>
                  <a:pt x="5000036" y="4841763"/>
                  <a:pt x="4996012" y="4845789"/>
                  <a:pt x="4996012" y="4850801"/>
                </a:cubicBezTo>
                <a:cubicBezTo>
                  <a:pt x="4996012" y="4855814"/>
                  <a:pt x="5000036" y="4859839"/>
                  <a:pt x="5005049" y="4859839"/>
                </a:cubicBezTo>
                <a:cubicBezTo>
                  <a:pt x="5010062" y="4859763"/>
                  <a:pt x="5014087" y="4855738"/>
                  <a:pt x="5014087" y="4850801"/>
                </a:cubicBezTo>
                <a:moveTo>
                  <a:pt x="5031555" y="4668833"/>
                </a:moveTo>
                <a:cubicBezTo>
                  <a:pt x="5031555" y="4662909"/>
                  <a:pt x="5026770" y="4658124"/>
                  <a:pt x="5020846" y="4658124"/>
                </a:cubicBezTo>
                <a:cubicBezTo>
                  <a:pt x="5014922" y="4658124"/>
                  <a:pt x="5010138" y="4662909"/>
                  <a:pt x="5010138" y="4668833"/>
                </a:cubicBezTo>
                <a:cubicBezTo>
                  <a:pt x="5010138" y="4674756"/>
                  <a:pt x="5014922" y="4679541"/>
                  <a:pt x="5020846" y="4679541"/>
                </a:cubicBezTo>
                <a:cubicBezTo>
                  <a:pt x="5026770" y="4679541"/>
                  <a:pt x="5031555" y="4674756"/>
                  <a:pt x="5031555" y="4668833"/>
                </a:cubicBezTo>
                <a:moveTo>
                  <a:pt x="5035884" y="4486181"/>
                </a:moveTo>
                <a:cubicBezTo>
                  <a:pt x="5035884" y="4479649"/>
                  <a:pt x="5030567" y="4474333"/>
                  <a:pt x="5024036" y="4474333"/>
                </a:cubicBezTo>
                <a:cubicBezTo>
                  <a:pt x="5017504" y="4474333"/>
                  <a:pt x="5012188" y="4479649"/>
                  <a:pt x="5012188" y="4486181"/>
                </a:cubicBezTo>
                <a:cubicBezTo>
                  <a:pt x="5012188" y="4492712"/>
                  <a:pt x="5017504" y="4498028"/>
                  <a:pt x="5024036" y="4498028"/>
                </a:cubicBezTo>
                <a:cubicBezTo>
                  <a:pt x="5030567" y="4498028"/>
                  <a:pt x="5035884" y="4492712"/>
                  <a:pt x="5035884" y="4486181"/>
                </a:cubicBezTo>
                <a:moveTo>
                  <a:pt x="5028061" y="4303756"/>
                </a:moveTo>
                <a:cubicBezTo>
                  <a:pt x="5028061" y="4296313"/>
                  <a:pt x="5021985" y="4290237"/>
                  <a:pt x="5014543" y="4290237"/>
                </a:cubicBezTo>
                <a:cubicBezTo>
                  <a:pt x="5007024" y="4290237"/>
                  <a:pt x="5001024" y="4296313"/>
                  <a:pt x="5001024" y="4303756"/>
                </a:cubicBezTo>
                <a:cubicBezTo>
                  <a:pt x="5001024" y="4311199"/>
                  <a:pt x="5007099" y="4317274"/>
                  <a:pt x="5014543" y="4317274"/>
                </a:cubicBezTo>
                <a:cubicBezTo>
                  <a:pt x="5021985" y="4317350"/>
                  <a:pt x="5028061" y="4311275"/>
                  <a:pt x="5028061" y="4303756"/>
                </a:cubicBezTo>
                <a:moveTo>
                  <a:pt x="5007175" y="4122471"/>
                </a:moveTo>
                <a:cubicBezTo>
                  <a:pt x="5007175" y="4114344"/>
                  <a:pt x="5000568" y="4107813"/>
                  <a:pt x="4992518" y="4107813"/>
                </a:cubicBezTo>
                <a:cubicBezTo>
                  <a:pt x="4984391" y="4107813"/>
                  <a:pt x="4977860" y="4114421"/>
                  <a:pt x="4977860" y="4122471"/>
                </a:cubicBezTo>
                <a:cubicBezTo>
                  <a:pt x="4977860" y="4130597"/>
                  <a:pt x="4984391" y="4137129"/>
                  <a:pt x="4992518" y="4137129"/>
                </a:cubicBezTo>
                <a:cubicBezTo>
                  <a:pt x="5000644" y="4137129"/>
                  <a:pt x="5007175" y="4130597"/>
                  <a:pt x="5007175" y="4122471"/>
                </a:cubicBezTo>
                <a:moveTo>
                  <a:pt x="4974442" y="3943084"/>
                </a:moveTo>
                <a:cubicBezTo>
                  <a:pt x="4974442" y="3934047"/>
                  <a:pt x="4967076" y="3926756"/>
                  <a:pt x="4958038" y="3926756"/>
                </a:cubicBezTo>
                <a:cubicBezTo>
                  <a:pt x="4949000" y="3926756"/>
                  <a:pt x="4941633" y="3934123"/>
                  <a:pt x="4941633" y="3943084"/>
                </a:cubicBezTo>
                <a:cubicBezTo>
                  <a:pt x="4941633" y="3952122"/>
                  <a:pt x="4948924" y="3959489"/>
                  <a:pt x="4958038" y="3959489"/>
                </a:cubicBezTo>
                <a:cubicBezTo>
                  <a:pt x="4967076" y="3959489"/>
                  <a:pt x="4974442" y="3952122"/>
                  <a:pt x="4974442" y="3943084"/>
                </a:cubicBezTo>
                <a:moveTo>
                  <a:pt x="4928798" y="3766584"/>
                </a:moveTo>
                <a:cubicBezTo>
                  <a:pt x="4928798" y="3756939"/>
                  <a:pt x="4920976" y="3749116"/>
                  <a:pt x="4911331" y="3749116"/>
                </a:cubicBezTo>
                <a:cubicBezTo>
                  <a:pt x="4901685" y="3749116"/>
                  <a:pt x="4893863" y="3756939"/>
                  <a:pt x="4893863" y="3766584"/>
                </a:cubicBezTo>
                <a:cubicBezTo>
                  <a:pt x="4893863" y="3776229"/>
                  <a:pt x="4901685" y="3784052"/>
                  <a:pt x="4911331" y="3784052"/>
                </a:cubicBezTo>
                <a:cubicBezTo>
                  <a:pt x="4920976" y="3784052"/>
                  <a:pt x="4928798" y="3776229"/>
                  <a:pt x="4928798" y="3766584"/>
                </a:cubicBezTo>
                <a:moveTo>
                  <a:pt x="4871079" y="3593653"/>
                </a:moveTo>
                <a:cubicBezTo>
                  <a:pt x="4871079" y="3583400"/>
                  <a:pt x="4862725" y="3575046"/>
                  <a:pt x="4852472" y="3575046"/>
                </a:cubicBezTo>
                <a:cubicBezTo>
                  <a:pt x="4842219" y="3575046"/>
                  <a:pt x="4833865" y="3583400"/>
                  <a:pt x="4833865" y="3593653"/>
                </a:cubicBezTo>
                <a:cubicBezTo>
                  <a:pt x="4833865" y="3603906"/>
                  <a:pt x="4842219" y="3612260"/>
                  <a:pt x="4852472" y="3612260"/>
                </a:cubicBezTo>
                <a:cubicBezTo>
                  <a:pt x="4862725" y="3612260"/>
                  <a:pt x="4871079" y="3603906"/>
                  <a:pt x="4871079" y="3593653"/>
                </a:cubicBezTo>
                <a:moveTo>
                  <a:pt x="4801587" y="3425203"/>
                </a:moveTo>
                <a:cubicBezTo>
                  <a:pt x="4801587" y="3414267"/>
                  <a:pt x="4792702" y="3405457"/>
                  <a:pt x="4781841" y="3405457"/>
                </a:cubicBezTo>
                <a:cubicBezTo>
                  <a:pt x="4770905" y="3405457"/>
                  <a:pt x="4762095" y="3414342"/>
                  <a:pt x="4762095" y="3425203"/>
                </a:cubicBezTo>
                <a:cubicBezTo>
                  <a:pt x="4762095" y="3436139"/>
                  <a:pt x="4770905" y="3444949"/>
                  <a:pt x="4781841" y="3444949"/>
                </a:cubicBezTo>
                <a:cubicBezTo>
                  <a:pt x="4792778" y="3444949"/>
                  <a:pt x="4801587" y="3436139"/>
                  <a:pt x="4801587" y="3425203"/>
                </a:cubicBezTo>
                <a:moveTo>
                  <a:pt x="4720097" y="3262069"/>
                </a:moveTo>
                <a:cubicBezTo>
                  <a:pt x="4720097" y="3250829"/>
                  <a:pt x="4710983" y="3241791"/>
                  <a:pt x="4699743" y="3241791"/>
                </a:cubicBezTo>
                <a:cubicBezTo>
                  <a:pt x="4688503" y="3241791"/>
                  <a:pt x="4679389" y="3250905"/>
                  <a:pt x="4679389" y="3262069"/>
                </a:cubicBezTo>
                <a:cubicBezTo>
                  <a:pt x="4679389" y="3273309"/>
                  <a:pt x="4688503" y="3282423"/>
                  <a:pt x="4699743" y="3282423"/>
                </a:cubicBezTo>
                <a:cubicBezTo>
                  <a:pt x="4710983" y="3282347"/>
                  <a:pt x="4720097" y="3273309"/>
                  <a:pt x="4720097" y="3262069"/>
                </a:cubicBezTo>
                <a:moveTo>
                  <a:pt x="4627517" y="3104935"/>
                </a:moveTo>
                <a:cubicBezTo>
                  <a:pt x="4627517" y="3093391"/>
                  <a:pt x="4618176" y="3084050"/>
                  <a:pt x="4606632" y="3084050"/>
                </a:cubicBezTo>
                <a:cubicBezTo>
                  <a:pt x="4595088" y="3084050"/>
                  <a:pt x="4585747" y="3093391"/>
                  <a:pt x="4585747" y="3104935"/>
                </a:cubicBezTo>
                <a:cubicBezTo>
                  <a:pt x="4585747" y="3116479"/>
                  <a:pt x="4595088" y="3125820"/>
                  <a:pt x="4606632" y="3125820"/>
                </a:cubicBezTo>
                <a:cubicBezTo>
                  <a:pt x="4618176" y="3125820"/>
                  <a:pt x="4627517" y="3116479"/>
                  <a:pt x="4627517" y="3104935"/>
                </a:cubicBezTo>
                <a:moveTo>
                  <a:pt x="4524305" y="2954636"/>
                </a:moveTo>
                <a:cubicBezTo>
                  <a:pt x="4524305" y="2942788"/>
                  <a:pt x="4514660" y="2933219"/>
                  <a:pt x="4502889" y="2933219"/>
                </a:cubicBezTo>
                <a:cubicBezTo>
                  <a:pt x="4491041" y="2933219"/>
                  <a:pt x="4481472" y="2942788"/>
                  <a:pt x="4481472" y="2954636"/>
                </a:cubicBezTo>
                <a:cubicBezTo>
                  <a:pt x="4481472" y="2966484"/>
                  <a:pt x="4491041" y="2976053"/>
                  <a:pt x="4502889" y="2976053"/>
                </a:cubicBezTo>
                <a:cubicBezTo>
                  <a:pt x="4514736" y="2976053"/>
                  <a:pt x="4524305" y="2966484"/>
                  <a:pt x="4524305" y="2954636"/>
                </a:cubicBezTo>
                <a:moveTo>
                  <a:pt x="4410993" y="2811856"/>
                </a:moveTo>
                <a:cubicBezTo>
                  <a:pt x="4410993" y="2799705"/>
                  <a:pt x="4401120" y="2789832"/>
                  <a:pt x="4388968" y="2789832"/>
                </a:cubicBezTo>
                <a:cubicBezTo>
                  <a:pt x="4376817" y="2789832"/>
                  <a:pt x="4366944" y="2799705"/>
                  <a:pt x="4366944" y="2811856"/>
                </a:cubicBezTo>
                <a:cubicBezTo>
                  <a:pt x="4366944" y="2824008"/>
                  <a:pt x="4376817" y="2833881"/>
                  <a:pt x="4388968" y="2833881"/>
                </a:cubicBezTo>
                <a:cubicBezTo>
                  <a:pt x="4401120" y="2833881"/>
                  <a:pt x="4410993" y="2824008"/>
                  <a:pt x="4410993" y="2811856"/>
                </a:cubicBezTo>
                <a:moveTo>
                  <a:pt x="4287579" y="2677202"/>
                </a:moveTo>
                <a:cubicBezTo>
                  <a:pt x="4287579" y="2665051"/>
                  <a:pt x="4277706" y="2655178"/>
                  <a:pt x="4265555" y="2655178"/>
                </a:cubicBezTo>
                <a:cubicBezTo>
                  <a:pt x="4253403" y="2655178"/>
                  <a:pt x="4243530" y="2665051"/>
                  <a:pt x="4243530" y="2677202"/>
                </a:cubicBezTo>
                <a:cubicBezTo>
                  <a:pt x="4243530" y="2689354"/>
                  <a:pt x="4253403" y="2699227"/>
                  <a:pt x="4265555" y="2699227"/>
                </a:cubicBezTo>
                <a:cubicBezTo>
                  <a:pt x="4277706" y="2699227"/>
                  <a:pt x="4287579" y="2689430"/>
                  <a:pt x="4287579" y="2677202"/>
                </a:cubicBezTo>
                <a:moveTo>
                  <a:pt x="4155128" y="2551510"/>
                </a:moveTo>
                <a:cubicBezTo>
                  <a:pt x="4155128" y="2539359"/>
                  <a:pt x="4145255" y="2529486"/>
                  <a:pt x="4133103" y="2529486"/>
                </a:cubicBezTo>
                <a:cubicBezTo>
                  <a:pt x="4120952" y="2529486"/>
                  <a:pt x="4111079" y="2539359"/>
                  <a:pt x="4111079" y="2551510"/>
                </a:cubicBezTo>
                <a:cubicBezTo>
                  <a:pt x="4111079" y="2563662"/>
                  <a:pt x="4120952" y="2573535"/>
                  <a:pt x="4133103" y="2573535"/>
                </a:cubicBezTo>
                <a:cubicBezTo>
                  <a:pt x="4145255" y="2573459"/>
                  <a:pt x="4155128" y="2563662"/>
                  <a:pt x="4155128" y="2551510"/>
                </a:cubicBezTo>
                <a:moveTo>
                  <a:pt x="4013715" y="2435160"/>
                </a:moveTo>
                <a:cubicBezTo>
                  <a:pt x="4013715" y="2423312"/>
                  <a:pt x="4004069" y="2413743"/>
                  <a:pt x="3992298" y="2413743"/>
                </a:cubicBezTo>
                <a:cubicBezTo>
                  <a:pt x="3980450" y="2413743"/>
                  <a:pt x="3970881" y="2423312"/>
                  <a:pt x="3970881" y="2435160"/>
                </a:cubicBezTo>
                <a:cubicBezTo>
                  <a:pt x="3970881" y="2447007"/>
                  <a:pt x="3980450" y="2456577"/>
                  <a:pt x="3992298" y="2456577"/>
                </a:cubicBezTo>
                <a:cubicBezTo>
                  <a:pt x="4004145" y="2456577"/>
                  <a:pt x="4013715" y="2447007"/>
                  <a:pt x="4013715" y="2435160"/>
                </a:cubicBezTo>
                <a:moveTo>
                  <a:pt x="3864631" y="2328834"/>
                </a:moveTo>
                <a:cubicBezTo>
                  <a:pt x="3864631" y="2317290"/>
                  <a:pt x="3855290" y="2307949"/>
                  <a:pt x="3843746" y="2307949"/>
                </a:cubicBezTo>
                <a:cubicBezTo>
                  <a:pt x="3832202" y="2307949"/>
                  <a:pt x="3822860" y="2317290"/>
                  <a:pt x="3822860" y="2328834"/>
                </a:cubicBezTo>
                <a:cubicBezTo>
                  <a:pt x="3822860" y="2340378"/>
                  <a:pt x="3832202" y="2349720"/>
                  <a:pt x="3843746" y="2349720"/>
                </a:cubicBezTo>
                <a:cubicBezTo>
                  <a:pt x="3855290" y="2349720"/>
                  <a:pt x="3864631" y="2340378"/>
                  <a:pt x="3864631" y="2328834"/>
                </a:cubicBezTo>
                <a:moveTo>
                  <a:pt x="3708636" y="2232989"/>
                </a:moveTo>
                <a:cubicBezTo>
                  <a:pt x="3708636" y="2221749"/>
                  <a:pt x="3699523" y="2212711"/>
                  <a:pt x="3688283" y="2212711"/>
                </a:cubicBezTo>
                <a:cubicBezTo>
                  <a:pt x="3677042" y="2212711"/>
                  <a:pt x="3667929" y="2221825"/>
                  <a:pt x="3667929" y="2232989"/>
                </a:cubicBezTo>
                <a:cubicBezTo>
                  <a:pt x="3667929" y="2244229"/>
                  <a:pt x="3677042" y="2253343"/>
                  <a:pt x="3688283" y="2253343"/>
                </a:cubicBezTo>
                <a:cubicBezTo>
                  <a:pt x="3699523" y="2253343"/>
                  <a:pt x="3708636" y="2244229"/>
                  <a:pt x="3708636" y="2232989"/>
                </a:cubicBezTo>
                <a:moveTo>
                  <a:pt x="3546338" y="2148081"/>
                </a:moveTo>
                <a:cubicBezTo>
                  <a:pt x="3546338" y="2137144"/>
                  <a:pt x="3537528" y="2128335"/>
                  <a:pt x="3526592" y="2128335"/>
                </a:cubicBezTo>
                <a:cubicBezTo>
                  <a:pt x="3515655" y="2128335"/>
                  <a:pt x="3506846" y="2137144"/>
                  <a:pt x="3506846" y="2148081"/>
                </a:cubicBezTo>
                <a:cubicBezTo>
                  <a:pt x="3506846" y="2159017"/>
                  <a:pt x="3515655" y="2167827"/>
                  <a:pt x="3526592" y="2167827"/>
                </a:cubicBezTo>
                <a:cubicBezTo>
                  <a:pt x="3537528" y="2167903"/>
                  <a:pt x="3546338" y="2159017"/>
                  <a:pt x="3546338" y="2148081"/>
                </a:cubicBezTo>
                <a:moveTo>
                  <a:pt x="3378040" y="2074564"/>
                </a:moveTo>
                <a:cubicBezTo>
                  <a:pt x="3378040" y="2064311"/>
                  <a:pt x="3369686" y="2055957"/>
                  <a:pt x="3359433" y="2055957"/>
                </a:cubicBezTo>
                <a:cubicBezTo>
                  <a:pt x="3349180" y="2055957"/>
                  <a:pt x="3340826" y="2064311"/>
                  <a:pt x="3340826" y="2074564"/>
                </a:cubicBezTo>
                <a:cubicBezTo>
                  <a:pt x="3340826" y="2084817"/>
                  <a:pt x="3349180" y="2093171"/>
                  <a:pt x="3359433" y="2093171"/>
                </a:cubicBezTo>
                <a:cubicBezTo>
                  <a:pt x="3369686" y="2093247"/>
                  <a:pt x="3378040" y="2084893"/>
                  <a:pt x="3378040" y="2074564"/>
                </a:cubicBezTo>
                <a:moveTo>
                  <a:pt x="3205033" y="2012819"/>
                </a:moveTo>
                <a:cubicBezTo>
                  <a:pt x="3205033" y="2003174"/>
                  <a:pt x="3197210" y="1995351"/>
                  <a:pt x="3187565" y="1995351"/>
                </a:cubicBezTo>
                <a:cubicBezTo>
                  <a:pt x="3177920" y="1995351"/>
                  <a:pt x="3170097" y="2003174"/>
                  <a:pt x="3170097" y="2012819"/>
                </a:cubicBezTo>
                <a:cubicBezTo>
                  <a:pt x="3170097" y="2022465"/>
                  <a:pt x="3177920" y="2030287"/>
                  <a:pt x="3187565" y="2030287"/>
                </a:cubicBezTo>
                <a:cubicBezTo>
                  <a:pt x="3197210" y="2030287"/>
                  <a:pt x="3205033" y="2022465"/>
                  <a:pt x="3205033" y="2012819"/>
                </a:cubicBezTo>
                <a:moveTo>
                  <a:pt x="3028153" y="1962998"/>
                </a:moveTo>
                <a:cubicBezTo>
                  <a:pt x="3028153" y="1953961"/>
                  <a:pt x="3020786" y="1946669"/>
                  <a:pt x="3011824" y="1946669"/>
                </a:cubicBezTo>
                <a:cubicBezTo>
                  <a:pt x="3002786" y="1946669"/>
                  <a:pt x="2995420" y="1954036"/>
                  <a:pt x="2995420" y="1962998"/>
                </a:cubicBezTo>
                <a:cubicBezTo>
                  <a:pt x="2995420" y="1972036"/>
                  <a:pt x="3002710" y="1979403"/>
                  <a:pt x="3011824" y="1979403"/>
                </a:cubicBezTo>
                <a:cubicBezTo>
                  <a:pt x="3020862" y="1979327"/>
                  <a:pt x="3028153" y="1972036"/>
                  <a:pt x="3028153" y="1962998"/>
                </a:cubicBezTo>
                <a:moveTo>
                  <a:pt x="2848311" y="1925404"/>
                </a:moveTo>
                <a:cubicBezTo>
                  <a:pt x="2848311" y="1916974"/>
                  <a:pt x="2841475" y="1910139"/>
                  <a:pt x="2833045" y="1910139"/>
                </a:cubicBezTo>
                <a:cubicBezTo>
                  <a:pt x="2824615" y="1910139"/>
                  <a:pt x="2817780" y="1916974"/>
                  <a:pt x="2817780" y="1925404"/>
                </a:cubicBezTo>
                <a:cubicBezTo>
                  <a:pt x="2817780" y="1933835"/>
                  <a:pt x="2824615" y="1940670"/>
                  <a:pt x="2833045" y="1940670"/>
                </a:cubicBezTo>
                <a:cubicBezTo>
                  <a:pt x="2841475" y="1940670"/>
                  <a:pt x="2848311" y="1933835"/>
                  <a:pt x="2848311" y="1925404"/>
                </a:cubicBezTo>
                <a:moveTo>
                  <a:pt x="2666266" y="1900266"/>
                </a:moveTo>
                <a:cubicBezTo>
                  <a:pt x="2666266" y="1892519"/>
                  <a:pt x="2659962" y="1886140"/>
                  <a:pt x="2652140" y="1886140"/>
                </a:cubicBezTo>
                <a:cubicBezTo>
                  <a:pt x="2644317" y="1886140"/>
                  <a:pt x="2638014" y="1892444"/>
                  <a:pt x="2638014" y="1900266"/>
                </a:cubicBezTo>
                <a:cubicBezTo>
                  <a:pt x="2638014" y="1908089"/>
                  <a:pt x="2644317" y="1914392"/>
                  <a:pt x="2652140" y="1914392"/>
                </a:cubicBezTo>
                <a:cubicBezTo>
                  <a:pt x="2659962" y="1914392"/>
                  <a:pt x="2666266" y="1908089"/>
                  <a:pt x="2666266" y="1900266"/>
                </a:cubicBezTo>
                <a:moveTo>
                  <a:pt x="2482399" y="1887659"/>
                </a:moveTo>
                <a:cubicBezTo>
                  <a:pt x="2482399" y="1880824"/>
                  <a:pt x="2476855" y="1875204"/>
                  <a:pt x="2469943" y="1875204"/>
                </a:cubicBezTo>
                <a:cubicBezTo>
                  <a:pt x="2463108" y="1875204"/>
                  <a:pt x="2457488" y="1880748"/>
                  <a:pt x="2457488" y="1887659"/>
                </a:cubicBezTo>
                <a:cubicBezTo>
                  <a:pt x="2457488" y="1894494"/>
                  <a:pt x="2463032" y="1900114"/>
                  <a:pt x="2469943" y="1900114"/>
                </a:cubicBezTo>
                <a:cubicBezTo>
                  <a:pt x="2476779" y="1900114"/>
                  <a:pt x="2482399" y="1894494"/>
                  <a:pt x="2482399" y="1887659"/>
                </a:cubicBezTo>
                <a:moveTo>
                  <a:pt x="2298000" y="1887659"/>
                </a:moveTo>
                <a:cubicBezTo>
                  <a:pt x="2298000" y="1881735"/>
                  <a:pt x="2293215" y="1876950"/>
                  <a:pt x="2287291" y="1876950"/>
                </a:cubicBezTo>
                <a:cubicBezTo>
                  <a:pt x="2281367" y="1876950"/>
                  <a:pt x="2276583" y="1881735"/>
                  <a:pt x="2276583" y="1887659"/>
                </a:cubicBezTo>
                <a:cubicBezTo>
                  <a:pt x="2276583" y="1893583"/>
                  <a:pt x="2281367" y="1898367"/>
                  <a:pt x="2287291" y="1898367"/>
                </a:cubicBezTo>
                <a:cubicBezTo>
                  <a:pt x="2293215" y="1898367"/>
                  <a:pt x="2298000" y="1893583"/>
                  <a:pt x="2298000" y="1887659"/>
                </a:cubicBezTo>
                <a:moveTo>
                  <a:pt x="2114664" y="1900266"/>
                </a:moveTo>
                <a:cubicBezTo>
                  <a:pt x="2114664" y="1894950"/>
                  <a:pt x="2110335" y="1890697"/>
                  <a:pt x="2105095" y="1890697"/>
                </a:cubicBezTo>
                <a:cubicBezTo>
                  <a:pt x="2099779" y="1890697"/>
                  <a:pt x="2095525" y="1895026"/>
                  <a:pt x="2095525" y="1900266"/>
                </a:cubicBezTo>
                <a:cubicBezTo>
                  <a:pt x="2095525" y="1905582"/>
                  <a:pt x="2099854" y="1909835"/>
                  <a:pt x="2105095" y="1909835"/>
                </a:cubicBezTo>
                <a:cubicBezTo>
                  <a:pt x="2110411" y="1909911"/>
                  <a:pt x="2114664" y="1905582"/>
                  <a:pt x="2114664" y="1900266"/>
                </a:cubicBezTo>
                <a:moveTo>
                  <a:pt x="1932088" y="1925404"/>
                </a:moveTo>
                <a:cubicBezTo>
                  <a:pt x="1932088" y="1921075"/>
                  <a:pt x="1928518" y="1917506"/>
                  <a:pt x="1924189" y="1917506"/>
                </a:cubicBezTo>
                <a:cubicBezTo>
                  <a:pt x="1919784" y="1917506"/>
                  <a:pt x="1916291" y="1921075"/>
                  <a:pt x="1916291" y="1925404"/>
                </a:cubicBezTo>
                <a:cubicBezTo>
                  <a:pt x="1916291" y="1929809"/>
                  <a:pt x="1919784" y="1933303"/>
                  <a:pt x="1924189" y="1933303"/>
                </a:cubicBezTo>
                <a:cubicBezTo>
                  <a:pt x="1928594" y="1933303"/>
                  <a:pt x="1932088" y="1929809"/>
                  <a:pt x="1932088" y="1925404"/>
                </a:cubicBezTo>
                <a:moveTo>
                  <a:pt x="1752246" y="1962998"/>
                </a:moveTo>
                <a:cubicBezTo>
                  <a:pt x="1752246" y="1959277"/>
                  <a:pt x="1749208" y="1956239"/>
                  <a:pt x="1745486" y="1956239"/>
                </a:cubicBezTo>
                <a:cubicBezTo>
                  <a:pt x="1741765" y="1956239"/>
                  <a:pt x="1738727" y="1959277"/>
                  <a:pt x="1738727" y="1962998"/>
                </a:cubicBezTo>
                <a:cubicBezTo>
                  <a:pt x="1738727" y="1966720"/>
                  <a:pt x="1741765" y="1969757"/>
                  <a:pt x="1745486" y="1969757"/>
                </a:cubicBezTo>
                <a:cubicBezTo>
                  <a:pt x="1749208" y="1969757"/>
                  <a:pt x="1752246" y="1966720"/>
                  <a:pt x="1752246" y="1962998"/>
                </a:cubicBezTo>
                <a:moveTo>
                  <a:pt x="1575365" y="2012819"/>
                </a:moveTo>
                <a:cubicBezTo>
                  <a:pt x="1575365" y="2009706"/>
                  <a:pt x="1572859" y="2007199"/>
                  <a:pt x="1569745" y="2007199"/>
                </a:cubicBezTo>
                <a:cubicBezTo>
                  <a:pt x="1566632" y="2007199"/>
                  <a:pt x="1564125" y="2009706"/>
                  <a:pt x="1564125" y="2012819"/>
                </a:cubicBezTo>
                <a:cubicBezTo>
                  <a:pt x="1564125" y="2015933"/>
                  <a:pt x="1566632" y="2018439"/>
                  <a:pt x="1569745" y="2018439"/>
                </a:cubicBezTo>
                <a:cubicBezTo>
                  <a:pt x="1572859" y="2018439"/>
                  <a:pt x="1575365" y="2015933"/>
                  <a:pt x="1575365" y="2012819"/>
                </a:cubicBezTo>
                <a:moveTo>
                  <a:pt x="1402358" y="2074564"/>
                </a:moveTo>
                <a:cubicBezTo>
                  <a:pt x="1402358" y="2072058"/>
                  <a:pt x="1400308" y="2070083"/>
                  <a:pt x="1397878" y="2070083"/>
                </a:cubicBezTo>
                <a:cubicBezTo>
                  <a:pt x="1395371" y="2070083"/>
                  <a:pt x="1393397" y="2072134"/>
                  <a:pt x="1393397" y="2074564"/>
                </a:cubicBezTo>
                <a:cubicBezTo>
                  <a:pt x="1393397" y="2077070"/>
                  <a:pt x="1395447" y="2079045"/>
                  <a:pt x="1397878" y="2079045"/>
                </a:cubicBezTo>
                <a:cubicBezTo>
                  <a:pt x="1400384" y="2079121"/>
                  <a:pt x="1402358" y="2077070"/>
                  <a:pt x="1402358" y="2074564"/>
                </a:cubicBezTo>
                <a:moveTo>
                  <a:pt x="1234060" y="2148081"/>
                </a:moveTo>
                <a:cubicBezTo>
                  <a:pt x="1234060" y="2146182"/>
                  <a:pt x="1232541" y="2144739"/>
                  <a:pt x="1230643" y="2144739"/>
                </a:cubicBezTo>
                <a:cubicBezTo>
                  <a:pt x="1228744" y="2144739"/>
                  <a:pt x="1227225" y="2146258"/>
                  <a:pt x="1227225" y="2148081"/>
                </a:cubicBezTo>
                <a:cubicBezTo>
                  <a:pt x="1227225" y="2149979"/>
                  <a:pt x="1228744" y="2151498"/>
                  <a:pt x="1230643" y="2151498"/>
                </a:cubicBezTo>
                <a:cubicBezTo>
                  <a:pt x="1232541" y="2151498"/>
                  <a:pt x="1234060" y="2149979"/>
                  <a:pt x="1234060" y="2148081"/>
                </a:cubicBezTo>
                <a:moveTo>
                  <a:pt x="1071230" y="2232989"/>
                </a:moveTo>
                <a:cubicBezTo>
                  <a:pt x="1071230" y="2231774"/>
                  <a:pt x="1070243" y="2230711"/>
                  <a:pt x="1068952" y="2230711"/>
                </a:cubicBezTo>
                <a:cubicBezTo>
                  <a:pt x="1067661" y="2230711"/>
                  <a:pt x="1066673" y="2231698"/>
                  <a:pt x="1066673" y="2232989"/>
                </a:cubicBezTo>
                <a:cubicBezTo>
                  <a:pt x="1066673" y="2234280"/>
                  <a:pt x="1067661" y="2235268"/>
                  <a:pt x="1068952" y="2235268"/>
                </a:cubicBezTo>
                <a:cubicBezTo>
                  <a:pt x="1070243" y="2235268"/>
                  <a:pt x="1071230" y="2234204"/>
                  <a:pt x="1071230" y="2232989"/>
                </a:cubicBezTo>
                <a:moveTo>
                  <a:pt x="915159" y="2328834"/>
                </a:moveTo>
                <a:cubicBezTo>
                  <a:pt x="915159" y="2327923"/>
                  <a:pt x="914400" y="2327163"/>
                  <a:pt x="913489" y="2327163"/>
                </a:cubicBezTo>
                <a:cubicBezTo>
                  <a:pt x="912577" y="2327163"/>
                  <a:pt x="911818" y="2327923"/>
                  <a:pt x="911818" y="2328834"/>
                </a:cubicBezTo>
                <a:cubicBezTo>
                  <a:pt x="911818" y="2329745"/>
                  <a:pt x="912577" y="2330505"/>
                  <a:pt x="913489" y="2330505"/>
                </a:cubicBezTo>
                <a:cubicBezTo>
                  <a:pt x="914400" y="2330505"/>
                  <a:pt x="915159" y="2329745"/>
                  <a:pt x="915159" y="2328834"/>
                </a:cubicBezTo>
                <a:moveTo>
                  <a:pt x="766076" y="2435160"/>
                </a:moveTo>
                <a:cubicBezTo>
                  <a:pt x="766076" y="2434552"/>
                  <a:pt x="765544" y="2434021"/>
                  <a:pt x="764937" y="2434021"/>
                </a:cubicBezTo>
                <a:cubicBezTo>
                  <a:pt x="764329" y="2434021"/>
                  <a:pt x="763797" y="2434552"/>
                  <a:pt x="763797" y="2435160"/>
                </a:cubicBezTo>
                <a:cubicBezTo>
                  <a:pt x="763797" y="2435767"/>
                  <a:pt x="764329" y="2436299"/>
                  <a:pt x="764937" y="2436299"/>
                </a:cubicBezTo>
                <a:cubicBezTo>
                  <a:pt x="765620" y="2436299"/>
                  <a:pt x="766076" y="2435767"/>
                  <a:pt x="766076" y="2435160"/>
                </a:cubicBezTo>
                <a:moveTo>
                  <a:pt x="624739" y="2551510"/>
                </a:moveTo>
                <a:cubicBezTo>
                  <a:pt x="624739" y="2551206"/>
                  <a:pt x="624511" y="2550979"/>
                  <a:pt x="624207" y="2550979"/>
                </a:cubicBezTo>
                <a:cubicBezTo>
                  <a:pt x="623903" y="2550979"/>
                  <a:pt x="623676" y="2551206"/>
                  <a:pt x="623676" y="2551510"/>
                </a:cubicBezTo>
                <a:cubicBezTo>
                  <a:pt x="623676" y="2551814"/>
                  <a:pt x="623903" y="2552042"/>
                  <a:pt x="624207" y="2552042"/>
                </a:cubicBezTo>
                <a:cubicBezTo>
                  <a:pt x="624511" y="2552042"/>
                  <a:pt x="624739" y="2551814"/>
                  <a:pt x="624739" y="2551510"/>
                </a:cubicBezTo>
                <a:moveTo>
                  <a:pt x="4488459" y="6447432"/>
                </a:moveTo>
                <a:cubicBezTo>
                  <a:pt x="4488459" y="6447128"/>
                  <a:pt x="4488231" y="6446900"/>
                  <a:pt x="4487927" y="6446900"/>
                </a:cubicBezTo>
                <a:cubicBezTo>
                  <a:pt x="4487623" y="6446900"/>
                  <a:pt x="4487395" y="6447128"/>
                  <a:pt x="4487395" y="6447432"/>
                </a:cubicBezTo>
                <a:cubicBezTo>
                  <a:pt x="4487395" y="6447735"/>
                  <a:pt x="4487623" y="6447963"/>
                  <a:pt x="4487927" y="6447963"/>
                </a:cubicBezTo>
                <a:cubicBezTo>
                  <a:pt x="4488231" y="6447963"/>
                  <a:pt x="4488459" y="6447735"/>
                  <a:pt x="4488459" y="6447432"/>
                </a:cubicBezTo>
                <a:moveTo>
                  <a:pt x="4607391" y="6308373"/>
                </a:moveTo>
                <a:cubicBezTo>
                  <a:pt x="4607391" y="6307765"/>
                  <a:pt x="4606860" y="6307234"/>
                  <a:pt x="4606252" y="6307234"/>
                </a:cubicBezTo>
                <a:cubicBezTo>
                  <a:pt x="4605645" y="6307234"/>
                  <a:pt x="4605113" y="6307765"/>
                  <a:pt x="4605113" y="6308373"/>
                </a:cubicBezTo>
                <a:cubicBezTo>
                  <a:pt x="4605113" y="6308980"/>
                  <a:pt x="4605645" y="6309512"/>
                  <a:pt x="4606252" y="6309512"/>
                </a:cubicBezTo>
                <a:cubicBezTo>
                  <a:pt x="4606860" y="6309512"/>
                  <a:pt x="4607391" y="6308980"/>
                  <a:pt x="4607391" y="6308373"/>
                </a:cubicBezTo>
                <a:moveTo>
                  <a:pt x="4717211" y="6161947"/>
                </a:moveTo>
                <a:cubicBezTo>
                  <a:pt x="4717211" y="6161036"/>
                  <a:pt x="4716451" y="6160277"/>
                  <a:pt x="4715540" y="6160277"/>
                </a:cubicBezTo>
                <a:cubicBezTo>
                  <a:pt x="4714629" y="6160277"/>
                  <a:pt x="4713869" y="6161036"/>
                  <a:pt x="4713869" y="6161947"/>
                </a:cubicBezTo>
                <a:cubicBezTo>
                  <a:pt x="4713869" y="6162859"/>
                  <a:pt x="4714629" y="6163618"/>
                  <a:pt x="4715540" y="6163618"/>
                </a:cubicBezTo>
                <a:cubicBezTo>
                  <a:pt x="4716451" y="6163694"/>
                  <a:pt x="4717211" y="6162935"/>
                  <a:pt x="4717211" y="6161947"/>
                </a:cubicBezTo>
                <a:moveTo>
                  <a:pt x="4817460" y="6008915"/>
                </a:moveTo>
                <a:cubicBezTo>
                  <a:pt x="4817460" y="6007699"/>
                  <a:pt x="4816473" y="6006636"/>
                  <a:pt x="4815182" y="6006636"/>
                </a:cubicBezTo>
                <a:cubicBezTo>
                  <a:pt x="4813967" y="6006636"/>
                  <a:pt x="4812903" y="6007623"/>
                  <a:pt x="4812903" y="6008915"/>
                </a:cubicBezTo>
                <a:cubicBezTo>
                  <a:pt x="4812903" y="6010206"/>
                  <a:pt x="4813891" y="6011193"/>
                  <a:pt x="4815182" y="6011193"/>
                </a:cubicBezTo>
                <a:cubicBezTo>
                  <a:pt x="4816397" y="6011193"/>
                  <a:pt x="4817460" y="6010130"/>
                  <a:pt x="4817460" y="6008915"/>
                </a:cubicBezTo>
                <a:moveTo>
                  <a:pt x="4908217" y="5849730"/>
                </a:moveTo>
                <a:cubicBezTo>
                  <a:pt x="4908217" y="5847831"/>
                  <a:pt x="4906698" y="5846312"/>
                  <a:pt x="4904799" y="5846312"/>
                </a:cubicBezTo>
                <a:cubicBezTo>
                  <a:pt x="4902901" y="5846312"/>
                  <a:pt x="4901382" y="5847831"/>
                  <a:pt x="4901382" y="5849730"/>
                </a:cubicBezTo>
                <a:cubicBezTo>
                  <a:pt x="4901382" y="5851629"/>
                  <a:pt x="4902901" y="5853148"/>
                  <a:pt x="4904799" y="5853148"/>
                </a:cubicBezTo>
                <a:cubicBezTo>
                  <a:pt x="4906698" y="5853148"/>
                  <a:pt x="4908217" y="5851629"/>
                  <a:pt x="4908217" y="5849730"/>
                </a:cubicBezTo>
                <a:moveTo>
                  <a:pt x="4988568" y="5685229"/>
                </a:moveTo>
                <a:cubicBezTo>
                  <a:pt x="4988568" y="5682723"/>
                  <a:pt x="4986518" y="5680672"/>
                  <a:pt x="4984012" y="5680672"/>
                </a:cubicBezTo>
                <a:cubicBezTo>
                  <a:pt x="4981505" y="5680672"/>
                  <a:pt x="4979531" y="5682723"/>
                  <a:pt x="4979531" y="5685229"/>
                </a:cubicBezTo>
                <a:cubicBezTo>
                  <a:pt x="4979531" y="5687735"/>
                  <a:pt x="4981581" y="5689710"/>
                  <a:pt x="4984012" y="5689710"/>
                </a:cubicBezTo>
                <a:cubicBezTo>
                  <a:pt x="4986518" y="5689710"/>
                  <a:pt x="4988568" y="5687659"/>
                  <a:pt x="4988568" y="5685229"/>
                </a:cubicBezTo>
                <a:moveTo>
                  <a:pt x="5058212" y="5515867"/>
                </a:moveTo>
                <a:cubicBezTo>
                  <a:pt x="5058212" y="5512754"/>
                  <a:pt x="5055706" y="5510248"/>
                  <a:pt x="5052592" y="5510248"/>
                </a:cubicBezTo>
                <a:cubicBezTo>
                  <a:pt x="5049478" y="5510248"/>
                  <a:pt x="5046972" y="5512754"/>
                  <a:pt x="5046972" y="5515867"/>
                </a:cubicBezTo>
                <a:cubicBezTo>
                  <a:pt x="5046972" y="5518982"/>
                  <a:pt x="5049478" y="5521487"/>
                  <a:pt x="5052592" y="5521487"/>
                </a:cubicBezTo>
                <a:cubicBezTo>
                  <a:pt x="5055706" y="5521487"/>
                  <a:pt x="5058212" y="5518982"/>
                  <a:pt x="5058212" y="5515867"/>
                </a:cubicBezTo>
                <a:moveTo>
                  <a:pt x="5116919" y="5342557"/>
                </a:moveTo>
                <a:cubicBezTo>
                  <a:pt x="5116919" y="5338835"/>
                  <a:pt x="5113881" y="5335798"/>
                  <a:pt x="5110159" y="5335798"/>
                </a:cubicBezTo>
                <a:cubicBezTo>
                  <a:pt x="5106438" y="5335798"/>
                  <a:pt x="5103400" y="5338835"/>
                  <a:pt x="5103400" y="5342557"/>
                </a:cubicBezTo>
                <a:cubicBezTo>
                  <a:pt x="5103400" y="5346279"/>
                  <a:pt x="5106438" y="5349316"/>
                  <a:pt x="5110159" y="5349316"/>
                </a:cubicBezTo>
                <a:cubicBezTo>
                  <a:pt x="5113881" y="5349316"/>
                  <a:pt x="5116919" y="5346279"/>
                  <a:pt x="5116919" y="5342557"/>
                </a:cubicBezTo>
                <a:moveTo>
                  <a:pt x="5164386" y="5165905"/>
                </a:moveTo>
                <a:cubicBezTo>
                  <a:pt x="5164386" y="5161576"/>
                  <a:pt x="5160816" y="5158006"/>
                  <a:pt x="5156487" y="5158006"/>
                </a:cubicBezTo>
                <a:cubicBezTo>
                  <a:pt x="5152082" y="5158006"/>
                  <a:pt x="5148588" y="5161576"/>
                  <a:pt x="5148588" y="5165905"/>
                </a:cubicBezTo>
                <a:cubicBezTo>
                  <a:pt x="5148588" y="5170309"/>
                  <a:pt x="5152158" y="5173803"/>
                  <a:pt x="5156487" y="5173803"/>
                </a:cubicBezTo>
                <a:cubicBezTo>
                  <a:pt x="5160816" y="5173803"/>
                  <a:pt x="5164386" y="5170233"/>
                  <a:pt x="5164386" y="5165905"/>
                </a:cubicBezTo>
                <a:moveTo>
                  <a:pt x="5200992" y="4986594"/>
                </a:moveTo>
                <a:cubicBezTo>
                  <a:pt x="5200992" y="4981278"/>
                  <a:pt x="5196663" y="4977025"/>
                  <a:pt x="5191423" y="4977025"/>
                </a:cubicBezTo>
                <a:cubicBezTo>
                  <a:pt x="5186106" y="4977025"/>
                  <a:pt x="5181853" y="4981354"/>
                  <a:pt x="5181853" y="4986594"/>
                </a:cubicBezTo>
                <a:cubicBezTo>
                  <a:pt x="5181853" y="4991910"/>
                  <a:pt x="5186106" y="4996163"/>
                  <a:pt x="5191423" y="4996163"/>
                </a:cubicBezTo>
                <a:cubicBezTo>
                  <a:pt x="5196663" y="4996163"/>
                  <a:pt x="5200992" y="4991910"/>
                  <a:pt x="5200992" y="4986594"/>
                </a:cubicBezTo>
                <a:moveTo>
                  <a:pt x="5226054" y="4805461"/>
                </a:moveTo>
                <a:cubicBezTo>
                  <a:pt x="5226054" y="4799233"/>
                  <a:pt x="5220966" y="4794145"/>
                  <a:pt x="5214738" y="4794145"/>
                </a:cubicBezTo>
                <a:cubicBezTo>
                  <a:pt x="5208511" y="4794145"/>
                  <a:pt x="5203422" y="4799233"/>
                  <a:pt x="5203422" y="4805461"/>
                </a:cubicBezTo>
                <a:cubicBezTo>
                  <a:pt x="5203422" y="4811689"/>
                  <a:pt x="5208511" y="4816777"/>
                  <a:pt x="5214738" y="4816777"/>
                </a:cubicBezTo>
                <a:cubicBezTo>
                  <a:pt x="5220966" y="4816777"/>
                  <a:pt x="5226054" y="4811689"/>
                  <a:pt x="5226054" y="4805461"/>
                </a:cubicBezTo>
                <a:moveTo>
                  <a:pt x="5238889" y="4623188"/>
                </a:moveTo>
                <a:cubicBezTo>
                  <a:pt x="5238889" y="4616353"/>
                  <a:pt x="5233345" y="4610733"/>
                  <a:pt x="5226434" y="4610733"/>
                </a:cubicBezTo>
                <a:cubicBezTo>
                  <a:pt x="5219599" y="4610733"/>
                  <a:pt x="5213979" y="4616277"/>
                  <a:pt x="5213979" y="4623188"/>
                </a:cubicBezTo>
                <a:cubicBezTo>
                  <a:pt x="5213979" y="4630024"/>
                  <a:pt x="5219523" y="4635644"/>
                  <a:pt x="5226434" y="4635644"/>
                </a:cubicBezTo>
                <a:cubicBezTo>
                  <a:pt x="5233269" y="4635568"/>
                  <a:pt x="5238889" y="4630024"/>
                  <a:pt x="5238889" y="4623188"/>
                </a:cubicBezTo>
                <a:moveTo>
                  <a:pt x="5240560" y="4440536"/>
                </a:moveTo>
                <a:cubicBezTo>
                  <a:pt x="5240560" y="4432714"/>
                  <a:pt x="5234257" y="4426410"/>
                  <a:pt x="5226434" y="4426410"/>
                </a:cubicBezTo>
                <a:cubicBezTo>
                  <a:pt x="5218612" y="4426410"/>
                  <a:pt x="5212308" y="4432714"/>
                  <a:pt x="5212308" y="4440536"/>
                </a:cubicBezTo>
                <a:cubicBezTo>
                  <a:pt x="5212308" y="4448359"/>
                  <a:pt x="5218612" y="4454662"/>
                  <a:pt x="5226434" y="4454662"/>
                </a:cubicBezTo>
                <a:cubicBezTo>
                  <a:pt x="5234257" y="4454662"/>
                  <a:pt x="5240560" y="4448359"/>
                  <a:pt x="5240560" y="4440536"/>
                </a:cubicBezTo>
                <a:moveTo>
                  <a:pt x="5230535" y="4258264"/>
                </a:moveTo>
                <a:cubicBezTo>
                  <a:pt x="5230535" y="4249530"/>
                  <a:pt x="5223472" y="4242467"/>
                  <a:pt x="5214738" y="4242467"/>
                </a:cubicBezTo>
                <a:cubicBezTo>
                  <a:pt x="5206004" y="4242467"/>
                  <a:pt x="5198941" y="4249530"/>
                  <a:pt x="5198941" y="4258264"/>
                </a:cubicBezTo>
                <a:cubicBezTo>
                  <a:pt x="5198941" y="4266998"/>
                  <a:pt x="5206004" y="4274061"/>
                  <a:pt x="5214738" y="4274061"/>
                </a:cubicBezTo>
                <a:cubicBezTo>
                  <a:pt x="5223472" y="4274061"/>
                  <a:pt x="5230535" y="4266998"/>
                  <a:pt x="5230535" y="4258264"/>
                </a:cubicBezTo>
                <a:moveTo>
                  <a:pt x="5208283" y="4077130"/>
                </a:moveTo>
                <a:cubicBezTo>
                  <a:pt x="5208283" y="4067789"/>
                  <a:pt x="5200688" y="4060194"/>
                  <a:pt x="5191347" y="4060194"/>
                </a:cubicBezTo>
                <a:cubicBezTo>
                  <a:pt x="5182005" y="4060194"/>
                  <a:pt x="5174411" y="4067789"/>
                  <a:pt x="5174411" y="4077130"/>
                </a:cubicBezTo>
                <a:cubicBezTo>
                  <a:pt x="5174411" y="4086472"/>
                  <a:pt x="5182005" y="4094067"/>
                  <a:pt x="5191347" y="4094067"/>
                </a:cubicBezTo>
                <a:cubicBezTo>
                  <a:pt x="5200764" y="4094067"/>
                  <a:pt x="5208283" y="4086472"/>
                  <a:pt x="5208283" y="4077130"/>
                </a:cubicBezTo>
                <a:moveTo>
                  <a:pt x="5175094" y="3897820"/>
                </a:moveTo>
                <a:cubicBezTo>
                  <a:pt x="5175094" y="3887567"/>
                  <a:pt x="5166740" y="3879213"/>
                  <a:pt x="5156487" y="3879213"/>
                </a:cubicBezTo>
                <a:cubicBezTo>
                  <a:pt x="5146234" y="3879213"/>
                  <a:pt x="5137880" y="3887567"/>
                  <a:pt x="5137880" y="3897820"/>
                </a:cubicBezTo>
                <a:cubicBezTo>
                  <a:pt x="5137880" y="3908073"/>
                  <a:pt x="5146234" y="3916427"/>
                  <a:pt x="5156487" y="3916427"/>
                </a:cubicBezTo>
                <a:cubicBezTo>
                  <a:pt x="5166740" y="3916427"/>
                  <a:pt x="5175094" y="3908149"/>
                  <a:pt x="5175094" y="3897820"/>
                </a:cubicBezTo>
                <a:moveTo>
                  <a:pt x="5129906" y="3721168"/>
                </a:moveTo>
                <a:cubicBezTo>
                  <a:pt x="5129906" y="3710231"/>
                  <a:pt x="5121096" y="3701422"/>
                  <a:pt x="5110159" y="3701422"/>
                </a:cubicBezTo>
                <a:cubicBezTo>
                  <a:pt x="5099223" y="3701422"/>
                  <a:pt x="5090413" y="3710231"/>
                  <a:pt x="5090413" y="3721168"/>
                </a:cubicBezTo>
                <a:cubicBezTo>
                  <a:pt x="5090413" y="3732104"/>
                  <a:pt x="5099223" y="3740914"/>
                  <a:pt x="5110159" y="3740914"/>
                </a:cubicBezTo>
                <a:cubicBezTo>
                  <a:pt x="5121020" y="3740914"/>
                  <a:pt x="5129906" y="3732104"/>
                  <a:pt x="5129906" y="3721168"/>
                </a:cubicBezTo>
                <a:moveTo>
                  <a:pt x="5073477" y="3547781"/>
                </a:moveTo>
                <a:cubicBezTo>
                  <a:pt x="5073477" y="3536237"/>
                  <a:pt x="5064136" y="3526896"/>
                  <a:pt x="5052592" y="3526896"/>
                </a:cubicBezTo>
                <a:cubicBezTo>
                  <a:pt x="5041048" y="3526896"/>
                  <a:pt x="5031707" y="3536237"/>
                  <a:pt x="5031707" y="3547781"/>
                </a:cubicBezTo>
                <a:cubicBezTo>
                  <a:pt x="5031707" y="3559325"/>
                  <a:pt x="5041048" y="3568666"/>
                  <a:pt x="5052592" y="3568666"/>
                </a:cubicBezTo>
                <a:cubicBezTo>
                  <a:pt x="5064136" y="3568666"/>
                  <a:pt x="5073477" y="3559325"/>
                  <a:pt x="5073477" y="3547781"/>
                </a:cubicBezTo>
                <a:moveTo>
                  <a:pt x="5006037" y="3378495"/>
                </a:moveTo>
                <a:cubicBezTo>
                  <a:pt x="5006037" y="3366344"/>
                  <a:pt x="4996163" y="3356471"/>
                  <a:pt x="4984012" y="3356471"/>
                </a:cubicBezTo>
                <a:cubicBezTo>
                  <a:pt x="4971860" y="3356471"/>
                  <a:pt x="4961987" y="3366344"/>
                  <a:pt x="4961987" y="3378495"/>
                </a:cubicBezTo>
                <a:cubicBezTo>
                  <a:pt x="4961987" y="3390647"/>
                  <a:pt x="4971860" y="3400520"/>
                  <a:pt x="4984012" y="3400520"/>
                </a:cubicBezTo>
                <a:cubicBezTo>
                  <a:pt x="4996163" y="3400520"/>
                  <a:pt x="5006037" y="3390647"/>
                  <a:pt x="5006037" y="3378495"/>
                </a:cubicBezTo>
                <a:moveTo>
                  <a:pt x="4927963" y="3213919"/>
                </a:moveTo>
                <a:cubicBezTo>
                  <a:pt x="4927963" y="3201160"/>
                  <a:pt x="4917634" y="3190755"/>
                  <a:pt x="4904799" y="3190755"/>
                </a:cubicBezTo>
                <a:cubicBezTo>
                  <a:pt x="4892040" y="3190755"/>
                  <a:pt x="4881636" y="3201084"/>
                  <a:pt x="4881636" y="3213919"/>
                </a:cubicBezTo>
                <a:cubicBezTo>
                  <a:pt x="4881636" y="3226678"/>
                  <a:pt x="4891964" y="3237082"/>
                  <a:pt x="4904799" y="3237082"/>
                </a:cubicBezTo>
                <a:cubicBezTo>
                  <a:pt x="4917558" y="3237082"/>
                  <a:pt x="4927963" y="3226754"/>
                  <a:pt x="4927963" y="3213919"/>
                </a:cubicBezTo>
                <a:moveTo>
                  <a:pt x="4838877" y="3054810"/>
                </a:moveTo>
                <a:cubicBezTo>
                  <a:pt x="4838877" y="3041747"/>
                  <a:pt x="4828245" y="3031115"/>
                  <a:pt x="4815182" y="3031115"/>
                </a:cubicBezTo>
                <a:cubicBezTo>
                  <a:pt x="4802119" y="3031115"/>
                  <a:pt x="4791487" y="3041747"/>
                  <a:pt x="4791487" y="3054810"/>
                </a:cubicBezTo>
                <a:cubicBezTo>
                  <a:pt x="4791487" y="3067873"/>
                  <a:pt x="4802119" y="3078505"/>
                  <a:pt x="4815182" y="3078505"/>
                </a:cubicBezTo>
                <a:cubicBezTo>
                  <a:pt x="4828245" y="3078505"/>
                  <a:pt x="4838877" y="3067873"/>
                  <a:pt x="4838877" y="3054810"/>
                </a:cubicBezTo>
                <a:moveTo>
                  <a:pt x="4739767" y="2901701"/>
                </a:moveTo>
                <a:cubicBezTo>
                  <a:pt x="4739767" y="2888335"/>
                  <a:pt x="4728906" y="2877474"/>
                  <a:pt x="4715464" y="2877474"/>
                </a:cubicBezTo>
                <a:cubicBezTo>
                  <a:pt x="4702021" y="2877474"/>
                  <a:pt x="4691161" y="2888335"/>
                  <a:pt x="4691161" y="2901701"/>
                </a:cubicBezTo>
                <a:cubicBezTo>
                  <a:pt x="4691161" y="2915144"/>
                  <a:pt x="4702021" y="2926004"/>
                  <a:pt x="4715464" y="2926004"/>
                </a:cubicBezTo>
                <a:cubicBezTo>
                  <a:pt x="4728906" y="2926004"/>
                  <a:pt x="4739767" y="2915144"/>
                  <a:pt x="4739767" y="2901701"/>
                </a:cubicBezTo>
                <a:moveTo>
                  <a:pt x="4631087" y="2755352"/>
                </a:moveTo>
                <a:cubicBezTo>
                  <a:pt x="4631087" y="2741681"/>
                  <a:pt x="4619999" y="2730517"/>
                  <a:pt x="4606252" y="2730517"/>
                </a:cubicBezTo>
                <a:cubicBezTo>
                  <a:pt x="4592506" y="2730517"/>
                  <a:pt x="4581418" y="2741605"/>
                  <a:pt x="4581418" y="2755352"/>
                </a:cubicBezTo>
                <a:cubicBezTo>
                  <a:pt x="4581418" y="2769098"/>
                  <a:pt x="4592506" y="2780186"/>
                  <a:pt x="4606252" y="2780186"/>
                </a:cubicBezTo>
                <a:cubicBezTo>
                  <a:pt x="4619999" y="2780186"/>
                  <a:pt x="4631087" y="2769098"/>
                  <a:pt x="4631087" y="2755352"/>
                </a:cubicBezTo>
                <a:moveTo>
                  <a:pt x="4513293" y="2616293"/>
                </a:moveTo>
                <a:cubicBezTo>
                  <a:pt x="4513293" y="2602243"/>
                  <a:pt x="4501901" y="2590927"/>
                  <a:pt x="4487927" y="2590927"/>
                </a:cubicBezTo>
                <a:cubicBezTo>
                  <a:pt x="4473877" y="2590927"/>
                  <a:pt x="4462561" y="2602319"/>
                  <a:pt x="4462561" y="2616293"/>
                </a:cubicBezTo>
                <a:cubicBezTo>
                  <a:pt x="4462561" y="2630343"/>
                  <a:pt x="4473953" y="2641659"/>
                  <a:pt x="4487927" y="2641659"/>
                </a:cubicBezTo>
                <a:cubicBezTo>
                  <a:pt x="4501901" y="2641659"/>
                  <a:pt x="4513293" y="2630343"/>
                  <a:pt x="4513293" y="2616293"/>
                </a:cubicBezTo>
                <a:moveTo>
                  <a:pt x="4386234" y="2485057"/>
                </a:moveTo>
                <a:cubicBezTo>
                  <a:pt x="4386234" y="2471007"/>
                  <a:pt x="4374842" y="2459691"/>
                  <a:pt x="4360868" y="2459691"/>
                </a:cubicBezTo>
                <a:cubicBezTo>
                  <a:pt x="4346818" y="2459691"/>
                  <a:pt x="4335502" y="2471083"/>
                  <a:pt x="4335502" y="2485057"/>
                </a:cubicBezTo>
                <a:cubicBezTo>
                  <a:pt x="4335502" y="2499107"/>
                  <a:pt x="4346894" y="2510423"/>
                  <a:pt x="4360868" y="2510423"/>
                </a:cubicBezTo>
                <a:cubicBezTo>
                  <a:pt x="4374842" y="2510499"/>
                  <a:pt x="4386234" y="2499107"/>
                  <a:pt x="4386234" y="2485057"/>
                </a:cubicBezTo>
                <a:moveTo>
                  <a:pt x="4250441" y="2362327"/>
                </a:moveTo>
                <a:cubicBezTo>
                  <a:pt x="4250441" y="2348580"/>
                  <a:pt x="4239353" y="2337492"/>
                  <a:pt x="4225607" y="2337492"/>
                </a:cubicBezTo>
                <a:cubicBezTo>
                  <a:pt x="4211860" y="2337492"/>
                  <a:pt x="4200772" y="2348580"/>
                  <a:pt x="4200772" y="2362327"/>
                </a:cubicBezTo>
                <a:cubicBezTo>
                  <a:pt x="4200772" y="2376073"/>
                  <a:pt x="4211860" y="2387161"/>
                  <a:pt x="4225607" y="2387161"/>
                </a:cubicBezTo>
                <a:cubicBezTo>
                  <a:pt x="4239353" y="2387161"/>
                  <a:pt x="4250441" y="2375997"/>
                  <a:pt x="4250441" y="2362327"/>
                </a:cubicBezTo>
                <a:moveTo>
                  <a:pt x="4107661" y="2248406"/>
                </a:moveTo>
                <a:cubicBezTo>
                  <a:pt x="4107661" y="2234660"/>
                  <a:pt x="4096573" y="2223572"/>
                  <a:pt x="4082827" y="2223572"/>
                </a:cubicBezTo>
                <a:cubicBezTo>
                  <a:pt x="4069080" y="2223572"/>
                  <a:pt x="4057992" y="2234660"/>
                  <a:pt x="4057992" y="2248406"/>
                </a:cubicBezTo>
                <a:cubicBezTo>
                  <a:pt x="4057992" y="2262153"/>
                  <a:pt x="4069080" y="2273241"/>
                  <a:pt x="4082827" y="2273241"/>
                </a:cubicBezTo>
                <a:cubicBezTo>
                  <a:pt x="4096497" y="2273241"/>
                  <a:pt x="4107661" y="2262153"/>
                  <a:pt x="4107661" y="2248406"/>
                </a:cubicBezTo>
                <a:moveTo>
                  <a:pt x="3957286" y="2143904"/>
                </a:moveTo>
                <a:cubicBezTo>
                  <a:pt x="3957286" y="2130537"/>
                  <a:pt x="3946426" y="2119676"/>
                  <a:pt x="3932983" y="2119676"/>
                </a:cubicBezTo>
                <a:cubicBezTo>
                  <a:pt x="3919541" y="2119676"/>
                  <a:pt x="3908680" y="2130537"/>
                  <a:pt x="3908680" y="2143904"/>
                </a:cubicBezTo>
                <a:cubicBezTo>
                  <a:pt x="3908680" y="2157346"/>
                  <a:pt x="3919541" y="2168207"/>
                  <a:pt x="3932983" y="2168207"/>
                </a:cubicBezTo>
                <a:cubicBezTo>
                  <a:pt x="3946426" y="2168207"/>
                  <a:pt x="3957286" y="2157346"/>
                  <a:pt x="3957286" y="2143904"/>
                </a:cubicBezTo>
                <a:moveTo>
                  <a:pt x="3800532" y="2049198"/>
                </a:moveTo>
                <a:cubicBezTo>
                  <a:pt x="3800532" y="2036135"/>
                  <a:pt x="3789899" y="2025502"/>
                  <a:pt x="3776837" y="2025502"/>
                </a:cubicBezTo>
                <a:cubicBezTo>
                  <a:pt x="3763774" y="2025502"/>
                  <a:pt x="3753141" y="2036135"/>
                  <a:pt x="3753141" y="2049198"/>
                </a:cubicBezTo>
                <a:cubicBezTo>
                  <a:pt x="3753141" y="2062261"/>
                  <a:pt x="3763774" y="2072893"/>
                  <a:pt x="3776837" y="2072893"/>
                </a:cubicBezTo>
                <a:cubicBezTo>
                  <a:pt x="3789899" y="2072893"/>
                  <a:pt x="3800532" y="2062337"/>
                  <a:pt x="3800532" y="2049198"/>
                </a:cubicBezTo>
                <a:moveTo>
                  <a:pt x="3637474" y="1964745"/>
                </a:moveTo>
                <a:cubicBezTo>
                  <a:pt x="3637474" y="1952290"/>
                  <a:pt x="3627373" y="1942189"/>
                  <a:pt x="3614918" y="1942189"/>
                </a:cubicBezTo>
                <a:cubicBezTo>
                  <a:pt x="3602463" y="1942189"/>
                  <a:pt x="3592362" y="1952290"/>
                  <a:pt x="3592362" y="1964745"/>
                </a:cubicBezTo>
                <a:cubicBezTo>
                  <a:pt x="3592362" y="1977200"/>
                  <a:pt x="3602463" y="1987301"/>
                  <a:pt x="3614918" y="1987301"/>
                </a:cubicBezTo>
                <a:cubicBezTo>
                  <a:pt x="3627373" y="1987301"/>
                  <a:pt x="3637474" y="1977200"/>
                  <a:pt x="3637474" y="1964745"/>
                </a:cubicBezTo>
                <a:moveTo>
                  <a:pt x="3469328" y="1890849"/>
                </a:moveTo>
                <a:cubicBezTo>
                  <a:pt x="3469328" y="1879001"/>
                  <a:pt x="3459683" y="1869432"/>
                  <a:pt x="3447911" y="1869432"/>
                </a:cubicBezTo>
                <a:cubicBezTo>
                  <a:pt x="3436063" y="1869432"/>
                  <a:pt x="3426494" y="1879001"/>
                  <a:pt x="3426494" y="1890849"/>
                </a:cubicBezTo>
                <a:cubicBezTo>
                  <a:pt x="3426494" y="1902696"/>
                  <a:pt x="3436063" y="1912266"/>
                  <a:pt x="3447911" y="1912266"/>
                </a:cubicBezTo>
                <a:cubicBezTo>
                  <a:pt x="3459683" y="1912266"/>
                  <a:pt x="3469328" y="1902696"/>
                  <a:pt x="3469328" y="1890849"/>
                </a:cubicBezTo>
                <a:moveTo>
                  <a:pt x="3296777" y="1827737"/>
                </a:moveTo>
                <a:cubicBezTo>
                  <a:pt x="3296777" y="1816497"/>
                  <a:pt x="3287663" y="1807383"/>
                  <a:pt x="3276423" y="1807383"/>
                </a:cubicBezTo>
                <a:cubicBezTo>
                  <a:pt x="3265183" y="1807383"/>
                  <a:pt x="3256069" y="1816497"/>
                  <a:pt x="3256069" y="1827737"/>
                </a:cubicBezTo>
                <a:cubicBezTo>
                  <a:pt x="3256069" y="1838977"/>
                  <a:pt x="3265183" y="1848091"/>
                  <a:pt x="3276423" y="1848091"/>
                </a:cubicBezTo>
                <a:cubicBezTo>
                  <a:pt x="3287663" y="1848091"/>
                  <a:pt x="3296777" y="1838977"/>
                  <a:pt x="3296777" y="1827737"/>
                </a:cubicBezTo>
                <a:moveTo>
                  <a:pt x="3120580" y="1775789"/>
                </a:moveTo>
                <a:cubicBezTo>
                  <a:pt x="3120580" y="1765233"/>
                  <a:pt x="3111998" y="1756651"/>
                  <a:pt x="3101365" y="1756651"/>
                </a:cubicBezTo>
                <a:cubicBezTo>
                  <a:pt x="3090733" y="1756651"/>
                  <a:pt x="3082151" y="1765233"/>
                  <a:pt x="3082151" y="1775789"/>
                </a:cubicBezTo>
                <a:cubicBezTo>
                  <a:pt x="3082151" y="1786422"/>
                  <a:pt x="3090733" y="1795004"/>
                  <a:pt x="3101365" y="1795004"/>
                </a:cubicBezTo>
                <a:cubicBezTo>
                  <a:pt x="3111922" y="1794928"/>
                  <a:pt x="3120580" y="1786346"/>
                  <a:pt x="3120580" y="1775789"/>
                </a:cubicBezTo>
                <a:moveTo>
                  <a:pt x="2941345" y="1735158"/>
                </a:moveTo>
                <a:cubicBezTo>
                  <a:pt x="2941345" y="1725209"/>
                  <a:pt x="2933295" y="1717082"/>
                  <a:pt x="2923270" y="1717082"/>
                </a:cubicBezTo>
                <a:cubicBezTo>
                  <a:pt x="2913321" y="1717082"/>
                  <a:pt x="2905195" y="1725209"/>
                  <a:pt x="2905195" y="1735158"/>
                </a:cubicBezTo>
                <a:cubicBezTo>
                  <a:pt x="2905195" y="1745107"/>
                  <a:pt x="2913321" y="1753233"/>
                  <a:pt x="2923270" y="1753233"/>
                </a:cubicBezTo>
                <a:cubicBezTo>
                  <a:pt x="2933295" y="1753157"/>
                  <a:pt x="2941345" y="1745107"/>
                  <a:pt x="2941345" y="1735158"/>
                </a:cubicBezTo>
                <a:moveTo>
                  <a:pt x="2759377" y="1705994"/>
                </a:moveTo>
                <a:cubicBezTo>
                  <a:pt x="2759377" y="1696956"/>
                  <a:pt x="2752010" y="1689665"/>
                  <a:pt x="2742972" y="1689665"/>
                </a:cubicBezTo>
                <a:cubicBezTo>
                  <a:pt x="2733935" y="1689665"/>
                  <a:pt x="2726568" y="1697032"/>
                  <a:pt x="2726568" y="1705994"/>
                </a:cubicBezTo>
                <a:cubicBezTo>
                  <a:pt x="2726568" y="1715032"/>
                  <a:pt x="2733859" y="1722398"/>
                  <a:pt x="2742972" y="1722398"/>
                </a:cubicBezTo>
                <a:cubicBezTo>
                  <a:pt x="2752010" y="1722323"/>
                  <a:pt x="2759377" y="1715032"/>
                  <a:pt x="2759377" y="1705994"/>
                </a:cubicBezTo>
                <a:moveTo>
                  <a:pt x="2575889" y="1688450"/>
                </a:moveTo>
                <a:cubicBezTo>
                  <a:pt x="2575889" y="1680324"/>
                  <a:pt x="2569282" y="1673793"/>
                  <a:pt x="2561231" y="1673793"/>
                </a:cubicBezTo>
                <a:cubicBezTo>
                  <a:pt x="2553105" y="1673793"/>
                  <a:pt x="2546574" y="1680400"/>
                  <a:pt x="2546574" y="1688450"/>
                </a:cubicBezTo>
                <a:cubicBezTo>
                  <a:pt x="2546574" y="1696577"/>
                  <a:pt x="2553105" y="1703108"/>
                  <a:pt x="2561231" y="1703108"/>
                </a:cubicBezTo>
                <a:cubicBezTo>
                  <a:pt x="2569282" y="1703108"/>
                  <a:pt x="2575889" y="1696501"/>
                  <a:pt x="2575889" y="1688450"/>
                </a:cubicBezTo>
                <a:moveTo>
                  <a:pt x="2392174" y="1682602"/>
                </a:moveTo>
                <a:cubicBezTo>
                  <a:pt x="2392174" y="1675160"/>
                  <a:pt x="2386098" y="1669084"/>
                  <a:pt x="2378655" y="1669084"/>
                </a:cubicBezTo>
                <a:cubicBezTo>
                  <a:pt x="2371212" y="1669084"/>
                  <a:pt x="2365137" y="1675160"/>
                  <a:pt x="2365137" y="1682602"/>
                </a:cubicBezTo>
                <a:cubicBezTo>
                  <a:pt x="2365137" y="1690121"/>
                  <a:pt x="2371212" y="1696121"/>
                  <a:pt x="2378655" y="1696121"/>
                </a:cubicBezTo>
                <a:cubicBezTo>
                  <a:pt x="2386098" y="1696121"/>
                  <a:pt x="2392174" y="1690045"/>
                  <a:pt x="2392174" y="1682602"/>
                </a:cubicBezTo>
                <a:moveTo>
                  <a:pt x="2207927" y="1688450"/>
                </a:moveTo>
                <a:cubicBezTo>
                  <a:pt x="2207927" y="1681919"/>
                  <a:pt x="2202610" y="1676603"/>
                  <a:pt x="2196079" y="1676603"/>
                </a:cubicBezTo>
                <a:cubicBezTo>
                  <a:pt x="2189548" y="1676603"/>
                  <a:pt x="2184231" y="1681919"/>
                  <a:pt x="2184231" y="1688450"/>
                </a:cubicBezTo>
                <a:cubicBezTo>
                  <a:pt x="2184231" y="1694982"/>
                  <a:pt x="2189548" y="1700298"/>
                  <a:pt x="2196079" y="1700298"/>
                </a:cubicBezTo>
                <a:cubicBezTo>
                  <a:pt x="2202610" y="1700298"/>
                  <a:pt x="2207927" y="1694982"/>
                  <a:pt x="2207927" y="1688450"/>
                </a:cubicBezTo>
                <a:moveTo>
                  <a:pt x="2024439" y="1705994"/>
                </a:moveTo>
                <a:cubicBezTo>
                  <a:pt x="2024439" y="1700374"/>
                  <a:pt x="2019882" y="1695817"/>
                  <a:pt x="2014262" y="1695817"/>
                </a:cubicBezTo>
                <a:cubicBezTo>
                  <a:pt x="2008642" y="1695817"/>
                  <a:pt x="2004085" y="1700374"/>
                  <a:pt x="2004085" y="1705994"/>
                </a:cubicBezTo>
                <a:cubicBezTo>
                  <a:pt x="2004085" y="1711614"/>
                  <a:pt x="2008642" y="1716171"/>
                  <a:pt x="2014262" y="1716171"/>
                </a:cubicBezTo>
                <a:cubicBezTo>
                  <a:pt x="2019882" y="1716171"/>
                  <a:pt x="2024439" y="1711614"/>
                  <a:pt x="2024439" y="1705994"/>
                </a:cubicBezTo>
                <a:moveTo>
                  <a:pt x="1843002" y="1735158"/>
                </a:moveTo>
                <a:cubicBezTo>
                  <a:pt x="1843002" y="1730145"/>
                  <a:pt x="1838977" y="1726120"/>
                  <a:pt x="1833964" y="1726120"/>
                </a:cubicBezTo>
                <a:cubicBezTo>
                  <a:pt x="1828952" y="1726120"/>
                  <a:pt x="1824927" y="1730145"/>
                  <a:pt x="1824927" y="1735158"/>
                </a:cubicBezTo>
                <a:cubicBezTo>
                  <a:pt x="1824927" y="1740170"/>
                  <a:pt x="1828952" y="1744195"/>
                  <a:pt x="1833964" y="1744195"/>
                </a:cubicBezTo>
                <a:cubicBezTo>
                  <a:pt x="1838977" y="1744119"/>
                  <a:pt x="1843002" y="1740094"/>
                  <a:pt x="1843002" y="1735158"/>
                </a:cubicBezTo>
                <a:moveTo>
                  <a:pt x="1663236" y="1775789"/>
                </a:moveTo>
                <a:cubicBezTo>
                  <a:pt x="1663236" y="1771764"/>
                  <a:pt x="1659970" y="1768422"/>
                  <a:pt x="1655869" y="1768422"/>
                </a:cubicBezTo>
                <a:cubicBezTo>
                  <a:pt x="1651844" y="1768422"/>
                  <a:pt x="1648502" y="1771688"/>
                  <a:pt x="1648502" y="1775789"/>
                </a:cubicBezTo>
                <a:cubicBezTo>
                  <a:pt x="1648502" y="1779814"/>
                  <a:pt x="1651768" y="1783156"/>
                  <a:pt x="1655869" y="1783156"/>
                </a:cubicBezTo>
                <a:cubicBezTo>
                  <a:pt x="1659970" y="1783080"/>
                  <a:pt x="1663236" y="1779814"/>
                  <a:pt x="1663236" y="1775789"/>
                </a:cubicBezTo>
                <a:moveTo>
                  <a:pt x="1487039" y="1827737"/>
                </a:moveTo>
                <a:cubicBezTo>
                  <a:pt x="1487039" y="1824319"/>
                  <a:pt x="1484229" y="1821509"/>
                  <a:pt x="1480812" y="1821509"/>
                </a:cubicBezTo>
                <a:cubicBezTo>
                  <a:pt x="1477394" y="1821509"/>
                  <a:pt x="1474584" y="1824319"/>
                  <a:pt x="1474584" y="1827737"/>
                </a:cubicBezTo>
                <a:cubicBezTo>
                  <a:pt x="1474584" y="1831154"/>
                  <a:pt x="1477394" y="1833964"/>
                  <a:pt x="1480812" y="1833964"/>
                </a:cubicBezTo>
                <a:cubicBezTo>
                  <a:pt x="1484229" y="1833964"/>
                  <a:pt x="1487039" y="1831154"/>
                  <a:pt x="1487039" y="1827737"/>
                </a:cubicBezTo>
                <a:moveTo>
                  <a:pt x="1314488" y="1890849"/>
                </a:moveTo>
                <a:cubicBezTo>
                  <a:pt x="1314488" y="1888039"/>
                  <a:pt x="1312210" y="1885760"/>
                  <a:pt x="1309400" y="1885760"/>
                </a:cubicBezTo>
                <a:cubicBezTo>
                  <a:pt x="1306589" y="1885760"/>
                  <a:pt x="1304311" y="1888039"/>
                  <a:pt x="1304311" y="1890849"/>
                </a:cubicBezTo>
                <a:cubicBezTo>
                  <a:pt x="1304311" y="1893659"/>
                  <a:pt x="1306589" y="1895937"/>
                  <a:pt x="1309400" y="1895937"/>
                </a:cubicBezTo>
                <a:cubicBezTo>
                  <a:pt x="1312210" y="1895861"/>
                  <a:pt x="1314488" y="1893659"/>
                  <a:pt x="1314488" y="1890849"/>
                </a:cubicBezTo>
                <a:moveTo>
                  <a:pt x="1146342" y="1964745"/>
                </a:moveTo>
                <a:cubicBezTo>
                  <a:pt x="1146342" y="1962542"/>
                  <a:pt x="1144595" y="1960796"/>
                  <a:pt x="1142392" y="1960796"/>
                </a:cubicBezTo>
                <a:cubicBezTo>
                  <a:pt x="1140190" y="1960796"/>
                  <a:pt x="1138443" y="1962542"/>
                  <a:pt x="1138443" y="1964745"/>
                </a:cubicBezTo>
                <a:cubicBezTo>
                  <a:pt x="1138443" y="1966947"/>
                  <a:pt x="1140190" y="1968694"/>
                  <a:pt x="1142392" y="1968694"/>
                </a:cubicBezTo>
                <a:cubicBezTo>
                  <a:pt x="1144595" y="1968694"/>
                  <a:pt x="1146342" y="1966947"/>
                  <a:pt x="1146342" y="1964745"/>
                </a:cubicBezTo>
                <a:moveTo>
                  <a:pt x="983284" y="2049198"/>
                </a:moveTo>
                <a:cubicBezTo>
                  <a:pt x="983284" y="2047603"/>
                  <a:pt x="981993" y="2046388"/>
                  <a:pt x="980474" y="2046388"/>
                </a:cubicBezTo>
                <a:cubicBezTo>
                  <a:pt x="978955" y="2046388"/>
                  <a:pt x="977664" y="2047679"/>
                  <a:pt x="977664" y="2049198"/>
                </a:cubicBezTo>
                <a:cubicBezTo>
                  <a:pt x="977664" y="2050793"/>
                  <a:pt x="978955" y="2052008"/>
                  <a:pt x="980474" y="2052008"/>
                </a:cubicBezTo>
                <a:cubicBezTo>
                  <a:pt x="981993" y="2052008"/>
                  <a:pt x="983284" y="2050793"/>
                  <a:pt x="983284" y="2049198"/>
                </a:cubicBezTo>
                <a:moveTo>
                  <a:pt x="825922" y="2143904"/>
                </a:moveTo>
                <a:cubicBezTo>
                  <a:pt x="825922" y="2142992"/>
                  <a:pt x="825162" y="2142233"/>
                  <a:pt x="824251" y="2142233"/>
                </a:cubicBezTo>
                <a:cubicBezTo>
                  <a:pt x="823340" y="2142233"/>
                  <a:pt x="822580" y="2142992"/>
                  <a:pt x="822580" y="2143904"/>
                </a:cubicBezTo>
                <a:cubicBezTo>
                  <a:pt x="822580" y="2144815"/>
                  <a:pt x="823340" y="2145574"/>
                  <a:pt x="824251" y="2145574"/>
                </a:cubicBezTo>
                <a:cubicBezTo>
                  <a:pt x="825162" y="2145574"/>
                  <a:pt x="825922" y="2144815"/>
                  <a:pt x="825922" y="2143904"/>
                </a:cubicBezTo>
                <a:moveTo>
                  <a:pt x="675547" y="2248406"/>
                </a:moveTo>
                <a:cubicBezTo>
                  <a:pt x="675547" y="2247799"/>
                  <a:pt x="675016" y="2247267"/>
                  <a:pt x="674408" y="2247267"/>
                </a:cubicBezTo>
                <a:cubicBezTo>
                  <a:pt x="673800" y="2247267"/>
                  <a:pt x="673269" y="2247799"/>
                  <a:pt x="673269" y="2248406"/>
                </a:cubicBezTo>
                <a:cubicBezTo>
                  <a:pt x="673269" y="2249014"/>
                  <a:pt x="673800" y="2249546"/>
                  <a:pt x="674408" y="2249546"/>
                </a:cubicBezTo>
                <a:cubicBezTo>
                  <a:pt x="675092" y="2249546"/>
                  <a:pt x="675547" y="2249014"/>
                  <a:pt x="675547" y="2248406"/>
                </a:cubicBezTo>
                <a:moveTo>
                  <a:pt x="532236" y="2362327"/>
                </a:moveTo>
                <a:cubicBezTo>
                  <a:pt x="532236" y="2362023"/>
                  <a:pt x="532008" y="2361795"/>
                  <a:pt x="531704" y="2361795"/>
                </a:cubicBezTo>
                <a:cubicBezTo>
                  <a:pt x="531400" y="2361795"/>
                  <a:pt x="531172" y="2362023"/>
                  <a:pt x="531172" y="2362327"/>
                </a:cubicBezTo>
                <a:cubicBezTo>
                  <a:pt x="531172" y="2362631"/>
                  <a:pt x="531400" y="2362858"/>
                  <a:pt x="531704" y="2362858"/>
                </a:cubicBezTo>
                <a:cubicBezTo>
                  <a:pt x="532008" y="2362858"/>
                  <a:pt x="532236" y="2362631"/>
                  <a:pt x="532236" y="2362327"/>
                </a:cubicBezTo>
                <a:moveTo>
                  <a:pt x="396974" y="2485057"/>
                </a:moveTo>
                <a:cubicBezTo>
                  <a:pt x="396974" y="2484753"/>
                  <a:pt x="396746" y="2484525"/>
                  <a:pt x="396367" y="2484525"/>
                </a:cubicBezTo>
                <a:cubicBezTo>
                  <a:pt x="396063" y="2484525"/>
                  <a:pt x="395835" y="2484753"/>
                  <a:pt x="395835" y="2485057"/>
                </a:cubicBezTo>
                <a:cubicBezTo>
                  <a:pt x="395835" y="2485361"/>
                  <a:pt x="396063" y="2485589"/>
                  <a:pt x="396367" y="2485589"/>
                </a:cubicBezTo>
                <a:cubicBezTo>
                  <a:pt x="396746" y="2485664"/>
                  <a:pt x="396974" y="2485361"/>
                  <a:pt x="396974" y="2485057"/>
                </a:cubicBezTo>
                <a:moveTo>
                  <a:pt x="4647871" y="6574567"/>
                </a:moveTo>
                <a:cubicBezTo>
                  <a:pt x="4647871" y="6574263"/>
                  <a:pt x="4647643" y="6574035"/>
                  <a:pt x="4647339" y="6574035"/>
                </a:cubicBezTo>
                <a:cubicBezTo>
                  <a:pt x="4647036" y="6574035"/>
                  <a:pt x="4646808" y="6574263"/>
                  <a:pt x="4646808" y="6574567"/>
                </a:cubicBezTo>
                <a:cubicBezTo>
                  <a:pt x="4646808" y="6574870"/>
                  <a:pt x="4647036" y="6575098"/>
                  <a:pt x="4647339" y="6575098"/>
                </a:cubicBezTo>
                <a:cubicBezTo>
                  <a:pt x="4647643" y="6575098"/>
                  <a:pt x="4647871" y="6574870"/>
                  <a:pt x="4647871" y="6574567"/>
                </a:cubicBezTo>
                <a:moveTo>
                  <a:pt x="4766500" y="6435280"/>
                </a:moveTo>
                <a:cubicBezTo>
                  <a:pt x="4766500" y="6434673"/>
                  <a:pt x="4765968" y="6434141"/>
                  <a:pt x="4765361" y="6434141"/>
                </a:cubicBezTo>
                <a:cubicBezTo>
                  <a:pt x="4764753" y="6434141"/>
                  <a:pt x="4764222" y="6434673"/>
                  <a:pt x="4764222" y="6435280"/>
                </a:cubicBezTo>
                <a:cubicBezTo>
                  <a:pt x="4764222" y="6435888"/>
                  <a:pt x="4764753" y="6436419"/>
                  <a:pt x="4765361" y="6436419"/>
                </a:cubicBezTo>
                <a:cubicBezTo>
                  <a:pt x="4765968" y="6436419"/>
                  <a:pt x="4766500" y="6435888"/>
                  <a:pt x="4766500" y="6435280"/>
                </a:cubicBezTo>
                <a:moveTo>
                  <a:pt x="4876623" y="6289082"/>
                </a:moveTo>
                <a:cubicBezTo>
                  <a:pt x="4876623" y="6288171"/>
                  <a:pt x="4875864" y="6287412"/>
                  <a:pt x="4874952" y="6287412"/>
                </a:cubicBezTo>
                <a:cubicBezTo>
                  <a:pt x="4874041" y="6287412"/>
                  <a:pt x="4873281" y="6288171"/>
                  <a:pt x="4873281" y="6289082"/>
                </a:cubicBezTo>
                <a:cubicBezTo>
                  <a:pt x="4873281" y="6289994"/>
                  <a:pt x="4874041" y="6290753"/>
                  <a:pt x="4874952" y="6290753"/>
                </a:cubicBezTo>
                <a:cubicBezTo>
                  <a:pt x="4875864" y="6290829"/>
                  <a:pt x="4876623" y="6290070"/>
                  <a:pt x="4876623" y="6289082"/>
                </a:cubicBezTo>
                <a:moveTo>
                  <a:pt x="4978392" y="6136657"/>
                </a:moveTo>
                <a:cubicBezTo>
                  <a:pt x="4978392" y="6135062"/>
                  <a:pt x="4977101" y="6133847"/>
                  <a:pt x="4975582" y="6133847"/>
                </a:cubicBezTo>
                <a:cubicBezTo>
                  <a:pt x="4974063" y="6133847"/>
                  <a:pt x="4972772" y="6135138"/>
                  <a:pt x="4972772" y="6136657"/>
                </a:cubicBezTo>
                <a:cubicBezTo>
                  <a:pt x="4972772" y="6138176"/>
                  <a:pt x="4974063" y="6139467"/>
                  <a:pt x="4975582" y="6139467"/>
                </a:cubicBezTo>
                <a:cubicBezTo>
                  <a:pt x="4977176" y="6139467"/>
                  <a:pt x="4978392" y="6138252"/>
                  <a:pt x="4978392" y="6136657"/>
                </a:cubicBezTo>
                <a:moveTo>
                  <a:pt x="5070287" y="5978460"/>
                </a:moveTo>
                <a:cubicBezTo>
                  <a:pt x="5070287" y="5976561"/>
                  <a:pt x="5068768" y="5975118"/>
                  <a:pt x="5066870" y="5975118"/>
                </a:cubicBezTo>
                <a:cubicBezTo>
                  <a:pt x="5064971" y="5975118"/>
                  <a:pt x="5063452" y="5976637"/>
                  <a:pt x="5063452" y="5978460"/>
                </a:cubicBezTo>
                <a:cubicBezTo>
                  <a:pt x="5063452" y="5980359"/>
                  <a:pt x="5064971" y="5981878"/>
                  <a:pt x="5066870" y="5981878"/>
                </a:cubicBezTo>
                <a:cubicBezTo>
                  <a:pt x="5068768" y="5981878"/>
                  <a:pt x="5070287" y="5980359"/>
                  <a:pt x="5070287" y="5978460"/>
                </a:cubicBezTo>
                <a:moveTo>
                  <a:pt x="5153146" y="5815098"/>
                </a:moveTo>
                <a:cubicBezTo>
                  <a:pt x="5153146" y="5812592"/>
                  <a:pt x="5151095" y="5810617"/>
                  <a:pt x="5148588" y="5810617"/>
                </a:cubicBezTo>
                <a:cubicBezTo>
                  <a:pt x="5146083" y="5810617"/>
                  <a:pt x="5144108" y="5812668"/>
                  <a:pt x="5144108" y="5815098"/>
                </a:cubicBezTo>
                <a:cubicBezTo>
                  <a:pt x="5144108" y="5817605"/>
                  <a:pt x="5146158" y="5819579"/>
                  <a:pt x="5148588" y="5819579"/>
                </a:cubicBezTo>
                <a:cubicBezTo>
                  <a:pt x="5151095" y="5819655"/>
                  <a:pt x="5153146" y="5817605"/>
                  <a:pt x="5153146" y="5815098"/>
                </a:cubicBezTo>
                <a:moveTo>
                  <a:pt x="5226054" y="5647180"/>
                </a:moveTo>
                <a:cubicBezTo>
                  <a:pt x="5226054" y="5644066"/>
                  <a:pt x="5223548" y="5641559"/>
                  <a:pt x="5220434" y="5641559"/>
                </a:cubicBezTo>
                <a:cubicBezTo>
                  <a:pt x="5217320" y="5641559"/>
                  <a:pt x="5214814" y="5644066"/>
                  <a:pt x="5214814" y="5647180"/>
                </a:cubicBezTo>
                <a:cubicBezTo>
                  <a:pt x="5214814" y="5650294"/>
                  <a:pt x="5217320" y="5652800"/>
                  <a:pt x="5220434" y="5652800"/>
                </a:cubicBezTo>
                <a:cubicBezTo>
                  <a:pt x="5223548" y="5652800"/>
                  <a:pt x="5226054" y="5650294"/>
                  <a:pt x="5226054" y="5647180"/>
                </a:cubicBezTo>
                <a:moveTo>
                  <a:pt x="5289318" y="5475236"/>
                </a:moveTo>
                <a:cubicBezTo>
                  <a:pt x="5289318" y="5471211"/>
                  <a:pt x="5286053" y="5467869"/>
                  <a:pt x="5281951" y="5467869"/>
                </a:cubicBezTo>
                <a:cubicBezTo>
                  <a:pt x="5277926" y="5467869"/>
                  <a:pt x="5274584" y="5471135"/>
                  <a:pt x="5274584" y="5475236"/>
                </a:cubicBezTo>
                <a:cubicBezTo>
                  <a:pt x="5274584" y="5479261"/>
                  <a:pt x="5277850" y="5482603"/>
                  <a:pt x="5281951" y="5482603"/>
                </a:cubicBezTo>
                <a:cubicBezTo>
                  <a:pt x="5286053" y="5482527"/>
                  <a:pt x="5289318" y="5479261"/>
                  <a:pt x="5289318" y="5475236"/>
                </a:cubicBezTo>
                <a:moveTo>
                  <a:pt x="5341721" y="5299875"/>
                </a:moveTo>
                <a:cubicBezTo>
                  <a:pt x="5341721" y="5295242"/>
                  <a:pt x="5337924" y="5291445"/>
                  <a:pt x="5333291" y="5291445"/>
                </a:cubicBezTo>
                <a:cubicBezTo>
                  <a:pt x="5328583" y="5291445"/>
                  <a:pt x="5324861" y="5295242"/>
                  <a:pt x="5324861" y="5299875"/>
                </a:cubicBezTo>
                <a:cubicBezTo>
                  <a:pt x="5324861" y="5304583"/>
                  <a:pt x="5328659" y="5308381"/>
                  <a:pt x="5333291" y="5308381"/>
                </a:cubicBezTo>
                <a:cubicBezTo>
                  <a:pt x="5337924" y="5308381"/>
                  <a:pt x="5341721" y="5304583"/>
                  <a:pt x="5341721" y="5299875"/>
                </a:cubicBezTo>
                <a:moveTo>
                  <a:pt x="5384024" y="5121855"/>
                </a:moveTo>
                <a:cubicBezTo>
                  <a:pt x="5384024" y="5116235"/>
                  <a:pt x="5379467" y="5111679"/>
                  <a:pt x="5373847" y="5111679"/>
                </a:cubicBezTo>
                <a:cubicBezTo>
                  <a:pt x="5368227" y="5111679"/>
                  <a:pt x="5363670" y="5116235"/>
                  <a:pt x="5363670" y="5121855"/>
                </a:cubicBezTo>
                <a:cubicBezTo>
                  <a:pt x="5363670" y="5127476"/>
                  <a:pt x="5368227" y="5132032"/>
                  <a:pt x="5373847" y="5132032"/>
                </a:cubicBezTo>
                <a:cubicBezTo>
                  <a:pt x="5379467" y="5131956"/>
                  <a:pt x="5384024" y="5127400"/>
                  <a:pt x="5384024" y="5121855"/>
                </a:cubicBezTo>
                <a:moveTo>
                  <a:pt x="5415086" y="4941634"/>
                </a:moveTo>
                <a:cubicBezTo>
                  <a:pt x="5415086" y="4935406"/>
                  <a:pt x="5409998" y="4930394"/>
                  <a:pt x="5403770" y="4930394"/>
                </a:cubicBezTo>
                <a:cubicBezTo>
                  <a:pt x="5397542" y="4930394"/>
                  <a:pt x="5392454" y="4935406"/>
                  <a:pt x="5392454" y="4941634"/>
                </a:cubicBezTo>
                <a:cubicBezTo>
                  <a:pt x="5392454" y="4947861"/>
                  <a:pt x="5397542" y="4952950"/>
                  <a:pt x="5403770" y="4952950"/>
                </a:cubicBezTo>
                <a:cubicBezTo>
                  <a:pt x="5409998" y="4952950"/>
                  <a:pt x="5415086" y="4947861"/>
                  <a:pt x="5415086" y="4941634"/>
                </a:cubicBezTo>
                <a:moveTo>
                  <a:pt x="5435896" y="4759969"/>
                </a:moveTo>
                <a:cubicBezTo>
                  <a:pt x="5435896" y="4752830"/>
                  <a:pt x="5430047" y="4746982"/>
                  <a:pt x="5422908" y="4746982"/>
                </a:cubicBezTo>
                <a:cubicBezTo>
                  <a:pt x="5415769" y="4746982"/>
                  <a:pt x="5409922" y="4752830"/>
                  <a:pt x="5409922" y="4759969"/>
                </a:cubicBezTo>
                <a:cubicBezTo>
                  <a:pt x="5409922" y="4767108"/>
                  <a:pt x="5415769" y="4772955"/>
                  <a:pt x="5422908" y="4772955"/>
                </a:cubicBezTo>
                <a:cubicBezTo>
                  <a:pt x="5430047" y="4772955"/>
                  <a:pt x="5435896" y="4767184"/>
                  <a:pt x="5435896" y="4759969"/>
                </a:cubicBezTo>
                <a:moveTo>
                  <a:pt x="5445769" y="4577544"/>
                </a:moveTo>
                <a:cubicBezTo>
                  <a:pt x="5445769" y="4569418"/>
                  <a:pt x="5439161" y="4562887"/>
                  <a:pt x="5431111" y="4562887"/>
                </a:cubicBezTo>
                <a:cubicBezTo>
                  <a:pt x="5422984" y="4562887"/>
                  <a:pt x="5416453" y="4569418"/>
                  <a:pt x="5416453" y="4577544"/>
                </a:cubicBezTo>
                <a:cubicBezTo>
                  <a:pt x="5416453" y="4585671"/>
                  <a:pt x="5422984" y="4592202"/>
                  <a:pt x="5431111" y="4592202"/>
                </a:cubicBezTo>
                <a:cubicBezTo>
                  <a:pt x="5439161" y="4592202"/>
                  <a:pt x="5445769" y="4585595"/>
                  <a:pt x="5445769" y="4577544"/>
                </a:cubicBezTo>
                <a:moveTo>
                  <a:pt x="5444705" y="4394892"/>
                </a:moveTo>
                <a:cubicBezTo>
                  <a:pt x="5444705" y="4385855"/>
                  <a:pt x="5437339" y="4378487"/>
                  <a:pt x="5428301" y="4378487"/>
                </a:cubicBezTo>
                <a:cubicBezTo>
                  <a:pt x="5419263" y="4378487"/>
                  <a:pt x="5411897" y="4385855"/>
                  <a:pt x="5411897" y="4394892"/>
                </a:cubicBezTo>
                <a:cubicBezTo>
                  <a:pt x="5411897" y="4403930"/>
                  <a:pt x="5419187" y="4411221"/>
                  <a:pt x="5428301" y="4411221"/>
                </a:cubicBezTo>
                <a:cubicBezTo>
                  <a:pt x="5437415" y="4411221"/>
                  <a:pt x="5444705" y="4403930"/>
                  <a:pt x="5444705" y="4394892"/>
                </a:cubicBezTo>
                <a:moveTo>
                  <a:pt x="5432782" y="4212772"/>
                </a:moveTo>
                <a:cubicBezTo>
                  <a:pt x="5432782" y="4202823"/>
                  <a:pt x="5424656" y="4194696"/>
                  <a:pt x="5414707" y="4194696"/>
                </a:cubicBezTo>
                <a:cubicBezTo>
                  <a:pt x="5404757" y="4194696"/>
                  <a:pt x="5396631" y="4202823"/>
                  <a:pt x="5396631" y="4212772"/>
                </a:cubicBezTo>
                <a:cubicBezTo>
                  <a:pt x="5396631" y="4222721"/>
                  <a:pt x="5404757" y="4230847"/>
                  <a:pt x="5414707" y="4230847"/>
                </a:cubicBezTo>
                <a:cubicBezTo>
                  <a:pt x="5424656" y="4230847"/>
                  <a:pt x="5432782" y="4222721"/>
                  <a:pt x="5432782" y="4212772"/>
                </a:cubicBezTo>
                <a:moveTo>
                  <a:pt x="5409922" y="4031790"/>
                </a:moveTo>
                <a:cubicBezTo>
                  <a:pt x="5409922" y="4020854"/>
                  <a:pt x="5401112" y="4012044"/>
                  <a:pt x="5390175" y="4012044"/>
                </a:cubicBezTo>
                <a:cubicBezTo>
                  <a:pt x="5379239" y="4012044"/>
                  <a:pt x="5370429" y="4020854"/>
                  <a:pt x="5370429" y="4031790"/>
                </a:cubicBezTo>
                <a:cubicBezTo>
                  <a:pt x="5370429" y="4042727"/>
                  <a:pt x="5379239" y="4051536"/>
                  <a:pt x="5390175" y="4051536"/>
                </a:cubicBezTo>
                <a:cubicBezTo>
                  <a:pt x="5401112" y="4051536"/>
                  <a:pt x="5409922" y="4042651"/>
                  <a:pt x="5409922" y="4031790"/>
                </a:cubicBezTo>
                <a:moveTo>
                  <a:pt x="5375746" y="3852556"/>
                </a:moveTo>
                <a:cubicBezTo>
                  <a:pt x="5375746" y="3841012"/>
                  <a:pt x="5366404" y="3831670"/>
                  <a:pt x="5354860" y="3831670"/>
                </a:cubicBezTo>
                <a:cubicBezTo>
                  <a:pt x="5343316" y="3831670"/>
                  <a:pt x="5333975" y="3841012"/>
                  <a:pt x="5333975" y="3852556"/>
                </a:cubicBezTo>
                <a:cubicBezTo>
                  <a:pt x="5333975" y="3864100"/>
                  <a:pt x="5343316" y="3873441"/>
                  <a:pt x="5354860" y="3873441"/>
                </a:cubicBezTo>
                <a:cubicBezTo>
                  <a:pt x="5366404" y="3873441"/>
                  <a:pt x="5375746" y="3864100"/>
                  <a:pt x="5375746" y="3852556"/>
                </a:cubicBezTo>
                <a:moveTo>
                  <a:pt x="5331469" y="3675751"/>
                </a:moveTo>
                <a:cubicBezTo>
                  <a:pt x="5331469" y="3663296"/>
                  <a:pt x="5321368" y="3653195"/>
                  <a:pt x="5308913" y="3653195"/>
                </a:cubicBezTo>
                <a:cubicBezTo>
                  <a:pt x="5296457" y="3653195"/>
                  <a:pt x="5286356" y="3663296"/>
                  <a:pt x="5286356" y="3675751"/>
                </a:cubicBezTo>
                <a:cubicBezTo>
                  <a:pt x="5286356" y="3688207"/>
                  <a:pt x="5296457" y="3698308"/>
                  <a:pt x="5308913" y="3698308"/>
                </a:cubicBezTo>
                <a:cubicBezTo>
                  <a:pt x="5321368" y="3698383"/>
                  <a:pt x="5331469" y="3688207"/>
                  <a:pt x="5331469" y="3675751"/>
                </a:cubicBezTo>
                <a:moveTo>
                  <a:pt x="5276179" y="3502061"/>
                </a:moveTo>
                <a:cubicBezTo>
                  <a:pt x="5276179" y="3488998"/>
                  <a:pt x="5265547" y="3478366"/>
                  <a:pt x="5252484" y="3478366"/>
                </a:cubicBezTo>
                <a:cubicBezTo>
                  <a:pt x="5239421" y="3478366"/>
                  <a:pt x="5228788" y="3488998"/>
                  <a:pt x="5228788" y="3502061"/>
                </a:cubicBezTo>
                <a:cubicBezTo>
                  <a:pt x="5228788" y="3515124"/>
                  <a:pt x="5239421" y="3525756"/>
                  <a:pt x="5252484" y="3525756"/>
                </a:cubicBezTo>
                <a:cubicBezTo>
                  <a:pt x="5265547" y="3525756"/>
                  <a:pt x="5276179" y="3515124"/>
                  <a:pt x="5276179" y="3502061"/>
                </a:cubicBezTo>
                <a:moveTo>
                  <a:pt x="5210561" y="3332016"/>
                </a:moveTo>
                <a:cubicBezTo>
                  <a:pt x="5210561" y="3318270"/>
                  <a:pt x="5199473" y="3307181"/>
                  <a:pt x="5185727" y="3307181"/>
                </a:cubicBezTo>
                <a:cubicBezTo>
                  <a:pt x="5171980" y="3307181"/>
                  <a:pt x="5160892" y="3318270"/>
                  <a:pt x="5160892" y="3332016"/>
                </a:cubicBezTo>
                <a:cubicBezTo>
                  <a:pt x="5160892" y="3345762"/>
                  <a:pt x="5171980" y="3356851"/>
                  <a:pt x="5185727" y="3356851"/>
                </a:cubicBezTo>
                <a:cubicBezTo>
                  <a:pt x="5199473" y="3356851"/>
                  <a:pt x="5210561" y="3345762"/>
                  <a:pt x="5210561" y="3332016"/>
                </a:cubicBezTo>
                <a:moveTo>
                  <a:pt x="5134918" y="3166300"/>
                </a:moveTo>
                <a:cubicBezTo>
                  <a:pt x="5134918" y="3151946"/>
                  <a:pt x="5123299" y="3140326"/>
                  <a:pt x="5108944" y="3140326"/>
                </a:cubicBezTo>
                <a:cubicBezTo>
                  <a:pt x="5094590" y="3140326"/>
                  <a:pt x="5082971" y="3151946"/>
                  <a:pt x="5082971" y="3166300"/>
                </a:cubicBezTo>
                <a:cubicBezTo>
                  <a:pt x="5082971" y="3180654"/>
                  <a:pt x="5094590" y="3192274"/>
                  <a:pt x="5108944" y="3192274"/>
                </a:cubicBezTo>
                <a:cubicBezTo>
                  <a:pt x="5123299" y="3192274"/>
                  <a:pt x="5134918" y="3180654"/>
                  <a:pt x="5134918" y="3166300"/>
                </a:cubicBezTo>
                <a:moveTo>
                  <a:pt x="5049554" y="3005445"/>
                </a:moveTo>
                <a:cubicBezTo>
                  <a:pt x="5049554" y="2990483"/>
                  <a:pt x="5037403" y="2978331"/>
                  <a:pt x="5022441" y="2978331"/>
                </a:cubicBezTo>
                <a:cubicBezTo>
                  <a:pt x="5007480" y="2978331"/>
                  <a:pt x="4995328" y="2990483"/>
                  <a:pt x="4995328" y="3005445"/>
                </a:cubicBezTo>
                <a:cubicBezTo>
                  <a:pt x="4995328" y="3020406"/>
                  <a:pt x="5007480" y="3032558"/>
                  <a:pt x="5022441" y="3032558"/>
                </a:cubicBezTo>
                <a:cubicBezTo>
                  <a:pt x="5037403" y="3032558"/>
                  <a:pt x="5049554" y="3020406"/>
                  <a:pt x="5049554" y="3005445"/>
                </a:cubicBezTo>
                <a:moveTo>
                  <a:pt x="4954089" y="2850057"/>
                </a:moveTo>
                <a:cubicBezTo>
                  <a:pt x="4954089" y="2834792"/>
                  <a:pt x="4941709" y="2822413"/>
                  <a:pt x="4926444" y="2822413"/>
                </a:cubicBezTo>
                <a:cubicBezTo>
                  <a:pt x="4911179" y="2822413"/>
                  <a:pt x="4898800" y="2834792"/>
                  <a:pt x="4898800" y="2850057"/>
                </a:cubicBezTo>
                <a:cubicBezTo>
                  <a:pt x="4898800" y="2865323"/>
                  <a:pt x="4911179" y="2877702"/>
                  <a:pt x="4926444" y="2877702"/>
                </a:cubicBezTo>
                <a:cubicBezTo>
                  <a:pt x="4941709" y="2877702"/>
                  <a:pt x="4954089" y="2865323"/>
                  <a:pt x="4954089" y="2850057"/>
                </a:cubicBezTo>
                <a:moveTo>
                  <a:pt x="4849510" y="2700746"/>
                </a:moveTo>
                <a:cubicBezTo>
                  <a:pt x="4849510" y="2685177"/>
                  <a:pt x="4836903" y="2672494"/>
                  <a:pt x="4821258" y="2672494"/>
                </a:cubicBezTo>
                <a:cubicBezTo>
                  <a:pt x="4805613" y="2672494"/>
                  <a:pt x="4793081" y="2685101"/>
                  <a:pt x="4793081" y="2700746"/>
                </a:cubicBezTo>
                <a:cubicBezTo>
                  <a:pt x="4793081" y="2716315"/>
                  <a:pt x="4805689" y="2728998"/>
                  <a:pt x="4821258" y="2728998"/>
                </a:cubicBezTo>
                <a:cubicBezTo>
                  <a:pt x="4836827" y="2728998"/>
                  <a:pt x="4849510" y="2716315"/>
                  <a:pt x="4849510" y="2700746"/>
                </a:cubicBezTo>
                <a:moveTo>
                  <a:pt x="4735590" y="2557890"/>
                </a:moveTo>
                <a:cubicBezTo>
                  <a:pt x="4735590" y="2542321"/>
                  <a:pt x="4722983" y="2529638"/>
                  <a:pt x="4707338" y="2529638"/>
                </a:cubicBezTo>
                <a:cubicBezTo>
                  <a:pt x="4691768" y="2529638"/>
                  <a:pt x="4679161" y="2542245"/>
                  <a:pt x="4679161" y="2557890"/>
                </a:cubicBezTo>
                <a:cubicBezTo>
                  <a:pt x="4679161" y="2573459"/>
                  <a:pt x="4691768" y="2586142"/>
                  <a:pt x="4707338" y="2586142"/>
                </a:cubicBezTo>
                <a:cubicBezTo>
                  <a:pt x="4722983" y="2586142"/>
                  <a:pt x="4735590" y="2573535"/>
                  <a:pt x="4735590" y="2557890"/>
                </a:cubicBezTo>
                <a:moveTo>
                  <a:pt x="4613923" y="2422173"/>
                </a:moveTo>
                <a:cubicBezTo>
                  <a:pt x="4613923" y="2406300"/>
                  <a:pt x="4601012" y="2393389"/>
                  <a:pt x="4585139" y="2393389"/>
                </a:cubicBezTo>
                <a:cubicBezTo>
                  <a:pt x="4569266" y="2393389"/>
                  <a:pt x="4556355" y="2406300"/>
                  <a:pt x="4556355" y="2422173"/>
                </a:cubicBezTo>
                <a:cubicBezTo>
                  <a:pt x="4556355" y="2438046"/>
                  <a:pt x="4569266" y="2450957"/>
                  <a:pt x="4585139" y="2450957"/>
                </a:cubicBezTo>
                <a:cubicBezTo>
                  <a:pt x="4601088" y="2450957"/>
                  <a:pt x="4613923" y="2438046"/>
                  <a:pt x="4613923" y="2422173"/>
                </a:cubicBezTo>
                <a:moveTo>
                  <a:pt x="4483826" y="2293975"/>
                </a:moveTo>
                <a:cubicBezTo>
                  <a:pt x="4483826" y="2278102"/>
                  <a:pt x="4470915" y="2265191"/>
                  <a:pt x="4455042" y="2265191"/>
                </a:cubicBezTo>
                <a:cubicBezTo>
                  <a:pt x="4439169" y="2265191"/>
                  <a:pt x="4426258" y="2278102"/>
                  <a:pt x="4426258" y="2293975"/>
                </a:cubicBezTo>
                <a:cubicBezTo>
                  <a:pt x="4426258" y="2309847"/>
                  <a:pt x="4439169" y="2322758"/>
                  <a:pt x="4455042" y="2322758"/>
                </a:cubicBezTo>
                <a:cubicBezTo>
                  <a:pt x="4470915" y="2322758"/>
                  <a:pt x="4483826" y="2309923"/>
                  <a:pt x="4483826" y="2293975"/>
                </a:cubicBezTo>
                <a:moveTo>
                  <a:pt x="4345755" y="2173827"/>
                </a:moveTo>
                <a:cubicBezTo>
                  <a:pt x="4345755" y="2158258"/>
                  <a:pt x="4333147" y="2145650"/>
                  <a:pt x="4317502" y="2145650"/>
                </a:cubicBezTo>
                <a:cubicBezTo>
                  <a:pt x="4301857" y="2145650"/>
                  <a:pt x="4289250" y="2158258"/>
                  <a:pt x="4289250" y="2173827"/>
                </a:cubicBezTo>
                <a:cubicBezTo>
                  <a:pt x="4289250" y="2189396"/>
                  <a:pt x="4301857" y="2202079"/>
                  <a:pt x="4317502" y="2202079"/>
                </a:cubicBezTo>
                <a:cubicBezTo>
                  <a:pt x="4333147" y="2202079"/>
                  <a:pt x="4345755" y="2189396"/>
                  <a:pt x="4345755" y="2173827"/>
                </a:cubicBezTo>
                <a:moveTo>
                  <a:pt x="4201228" y="2062109"/>
                </a:moveTo>
                <a:cubicBezTo>
                  <a:pt x="4201228" y="2046540"/>
                  <a:pt x="4188621" y="2033933"/>
                  <a:pt x="4172976" y="2033933"/>
                </a:cubicBezTo>
                <a:cubicBezTo>
                  <a:pt x="4157330" y="2033933"/>
                  <a:pt x="4144723" y="2046540"/>
                  <a:pt x="4144723" y="2062109"/>
                </a:cubicBezTo>
                <a:cubicBezTo>
                  <a:pt x="4144723" y="2077678"/>
                  <a:pt x="4157330" y="2090361"/>
                  <a:pt x="4172976" y="2090361"/>
                </a:cubicBezTo>
                <a:cubicBezTo>
                  <a:pt x="4188621" y="2090361"/>
                  <a:pt x="4201228" y="2077678"/>
                  <a:pt x="4201228" y="2062109"/>
                </a:cubicBezTo>
                <a:moveTo>
                  <a:pt x="4049789" y="1959201"/>
                </a:moveTo>
                <a:cubicBezTo>
                  <a:pt x="4049789" y="1943936"/>
                  <a:pt x="4037410" y="1931556"/>
                  <a:pt x="4022145" y="1931556"/>
                </a:cubicBezTo>
                <a:cubicBezTo>
                  <a:pt x="4006880" y="1931556"/>
                  <a:pt x="3994500" y="1943936"/>
                  <a:pt x="3994500" y="1959201"/>
                </a:cubicBezTo>
                <a:cubicBezTo>
                  <a:pt x="3994500" y="1974466"/>
                  <a:pt x="4006880" y="1986845"/>
                  <a:pt x="4022145" y="1986845"/>
                </a:cubicBezTo>
                <a:cubicBezTo>
                  <a:pt x="4037410" y="1986845"/>
                  <a:pt x="4049789" y="1974466"/>
                  <a:pt x="4049789" y="1959201"/>
                </a:cubicBezTo>
                <a:moveTo>
                  <a:pt x="3891820" y="1865482"/>
                </a:moveTo>
                <a:cubicBezTo>
                  <a:pt x="3891820" y="1850825"/>
                  <a:pt x="3879972" y="1838977"/>
                  <a:pt x="3865315" y="1838977"/>
                </a:cubicBezTo>
                <a:cubicBezTo>
                  <a:pt x="3850657" y="1838977"/>
                  <a:pt x="3838809" y="1850825"/>
                  <a:pt x="3838809" y="1865482"/>
                </a:cubicBezTo>
                <a:cubicBezTo>
                  <a:pt x="3838809" y="1880140"/>
                  <a:pt x="3850657" y="1891988"/>
                  <a:pt x="3865315" y="1891988"/>
                </a:cubicBezTo>
                <a:cubicBezTo>
                  <a:pt x="3879972" y="1891988"/>
                  <a:pt x="3891820" y="1880140"/>
                  <a:pt x="3891820" y="1865482"/>
                </a:cubicBezTo>
                <a:moveTo>
                  <a:pt x="3729142" y="1781409"/>
                </a:moveTo>
                <a:cubicBezTo>
                  <a:pt x="3729142" y="1767055"/>
                  <a:pt x="3717522" y="1755435"/>
                  <a:pt x="3703168" y="1755435"/>
                </a:cubicBezTo>
                <a:cubicBezTo>
                  <a:pt x="3688814" y="1755435"/>
                  <a:pt x="3677194" y="1767055"/>
                  <a:pt x="3677194" y="1781409"/>
                </a:cubicBezTo>
                <a:cubicBezTo>
                  <a:pt x="3677194" y="1795763"/>
                  <a:pt x="3688814" y="1807383"/>
                  <a:pt x="3703168" y="1807383"/>
                </a:cubicBezTo>
                <a:cubicBezTo>
                  <a:pt x="3717522" y="1807307"/>
                  <a:pt x="3729142" y="1795687"/>
                  <a:pt x="3729142" y="1781409"/>
                </a:cubicBezTo>
                <a:moveTo>
                  <a:pt x="3561148" y="1707057"/>
                </a:moveTo>
                <a:cubicBezTo>
                  <a:pt x="3561148" y="1693311"/>
                  <a:pt x="3550059" y="1682223"/>
                  <a:pt x="3536313" y="1682223"/>
                </a:cubicBezTo>
                <a:cubicBezTo>
                  <a:pt x="3522567" y="1682223"/>
                  <a:pt x="3511478" y="1693311"/>
                  <a:pt x="3511478" y="1707057"/>
                </a:cubicBezTo>
                <a:cubicBezTo>
                  <a:pt x="3511478" y="1720804"/>
                  <a:pt x="3522567" y="1731892"/>
                  <a:pt x="3536313" y="1731892"/>
                </a:cubicBezTo>
                <a:cubicBezTo>
                  <a:pt x="3550059" y="1731892"/>
                  <a:pt x="3561148" y="1720804"/>
                  <a:pt x="3561148" y="1707057"/>
                </a:cubicBezTo>
                <a:moveTo>
                  <a:pt x="3389052" y="1642882"/>
                </a:moveTo>
                <a:cubicBezTo>
                  <a:pt x="3389052" y="1629819"/>
                  <a:pt x="3378419" y="1619187"/>
                  <a:pt x="3365357" y="1619187"/>
                </a:cubicBezTo>
                <a:cubicBezTo>
                  <a:pt x="3352294" y="1619187"/>
                  <a:pt x="3341661" y="1629819"/>
                  <a:pt x="3341661" y="1642882"/>
                </a:cubicBezTo>
                <a:cubicBezTo>
                  <a:pt x="3341661" y="1655945"/>
                  <a:pt x="3352294" y="1666578"/>
                  <a:pt x="3365357" y="1666578"/>
                </a:cubicBezTo>
                <a:cubicBezTo>
                  <a:pt x="3378419" y="1666578"/>
                  <a:pt x="3389052" y="1656021"/>
                  <a:pt x="3389052" y="1642882"/>
                </a:cubicBezTo>
                <a:moveTo>
                  <a:pt x="3212779" y="1589112"/>
                </a:moveTo>
                <a:cubicBezTo>
                  <a:pt x="3212779" y="1576960"/>
                  <a:pt x="3202906" y="1567087"/>
                  <a:pt x="3190755" y="1567087"/>
                </a:cubicBezTo>
                <a:cubicBezTo>
                  <a:pt x="3178603" y="1567087"/>
                  <a:pt x="3168730" y="1576960"/>
                  <a:pt x="3168730" y="1589112"/>
                </a:cubicBezTo>
                <a:cubicBezTo>
                  <a:pt x="3168730" y="1601263"/>
                  <a:pt x="3178603" y="1611136"/>
                  <a:pt x="3190755" y="1611136"/>
                </a:cubicBezTo>
                <a:cubicBezTo>
                  <a:pt x="3202906" y="1611060"/>
                  <a:pt x="3212779" y="1601263"/>
                  <a:pt x="3212779" y="1589112"/>
                </a:cubicBezTo>
                <a:moveTo>
                  <a:pt x="3034228" y="1545746"/>
                </a:moveTo>
                <a:cubicBezTo>
                  <a:pt x="3034228" y="1534202"/>
                  <a:pt x="3024887" y="1524861"/>
                  <a:pt x="3013343" y="1524861"/>
                </a:cubicBezTo>
                <a:cubicBezTo>
                  <a:pt x="3001799" y="1524861"/>
                  <a:pt x="2992458" y="1534202"/>
                  <a:pt x="2992458" y="1545746"/>
                </a:cubicBezTo>
                <a:cubicBezTo>
                  <a:pt x="2992458" y="1557290"/>
                  <a:pt x="3001799" y="1566632"/>
                  <a:pt x="3013343" y="1566632"/>
                </a:cubicBezTo>
                <a:cubicBezTo>
                  <a:pt x="3024887" y="1566632"/>
                  <a:pt x="3034228" y="1557290"/>
                  <a:pt x="3034228" y="1545746"/>
                </a:cubicBezTo>
                <a:moveTo>
                  <a:pt x="2852791" y="1513165"/>
                </a:moveTo>
                <a:cubicBezTo>
                  <a:pt x="2852791" y="1502532"/>
                  <a:pt x="2844209" y="1493950"/>
                  <a:pt x="2833577" y="1493950"/>
                </a:cubicBezTo>
                <a:cubicBezTo>
                  <a:pt x="2822944" y="1493950"/>
                  <a:pt x="2814362" y="1502532"/>
                  <a:pt x="2814362" y="1513165"/>
                </a:cubicBezTo>
                <a:cubicBezTo>
                  <a:pt x="2814362" y="1523798"/>
                  <a:pt x="2822944" y="1532380"/>
                  <a:pt x="2833577" y="1532380"/>
                </a:cubicBezTo>
                <a:cubicBezTo>
                  <a:pt x="2844209" y="1532380"/>
                  <a:pt x="2852791" y="1523722"/>
                  <a:pt x="2852791" y="1513165"/>
                </a:cubicBezTo>
                <a:moveTo>
                  <a:pt x="2669759" y="1491368"/>
                </a:moveTo>
                <a:cubicBezTo>
                  <a:pt x="2669759" y="1481723"/>
                  <a:pt x="2661937" y="1473901"/>
                  <a:pt x="2652292" y="1473901"/>
                </a:cubicBezTo>
                <a:cubicBezTo>
                  <a:pt x="2642646" y="1473901"/>
                  <a:pt x="2634824" y="1481723"/>
                  <a:pt x="2634824" y="1491368"/>
                </a:cubicBezTo>
                <a:cubicBezTo>
                  <a:pt x="2634824" y="1501013"/>
                  <a:pt x="2642646" y="1508836"/>
                  <a:pt x="2652292" y="1508836"/>
                </a:cubicBezTo>
                <a:cubicBezTo>
                  <a:pt x="2661937" y="1508836"/>
                  <a:pt x="2669759" y="1501013"/>
                  <a:pt x="2669759" y="1491368"/>
                </a:cubicBezTo>
                <a:moveTo>
                  <a:pt x="2485740" y="1480432"/>
                </a:moveTo>
                <a:cubicBezTo>
                  <a:pt x="2485740" y="1471698"/>
                  <a:pt x="2478677" y="1464635"/>
                  <a:pt x="2469943" y="1464635"/>
                </a:cubicBezTo>
                <a:cubicBezTo>
                  <a:pt x="2461210" y="1464635"/>
                  <a:pt x="2454147" y="1471698"/>
                  <a:pt x="2454147" y="1480432"/>
                </a:cubicBezTo>
                <a:cubicBezTo>
                  <a:pt x="2454147" y="1489166"/>
                  <a:pt x="2461210" y="1496229"/>
                  <a:pt x="2469943" y="1496229"/>
                </a:cubicBezTo>
                <a:cubicBezTo>
                  <a:pt x="2478677" y="1496229"/>
                  <a:pt x="2485740" y="1489166"/>
                  <a:pt x="2485740" y="1480432"/>
                </a:cubicBezTo>
                <a:moveTo>
                  <a:pt x="2301949" y="1480432"/>
                </a:moveTo>
                <a:cubicBezTo>
                  <a:pt x="2301949" y="1472306"/>
                  <a:pt x="2295417" y="1465774"/>
                  <a:pt x="2287291" y="1465774"/>
                </a:cubicBezTo>
                <a:cubicBezTo>
                  <a:pt x="2279165" y="1465774"/>
                  <a:pt x="2272633" y="1472381"/>
                  <a:pt x="2272633" y="1480432"/>
                </a:cubicBezTo>
                <a:cubicBezTo>
                  <a:pt x="2272633" y="1488558"/>
                  <a:pt x="2279165" y="1495090"/>
                  <a:pt x="2287291" y="1495090"/>
                </a:cubicBezTo>
                <a:cubicBezTo>
                  <a:pt x="2295417" y="1495090"/>
                  <a:pt x="2301949" y="1488558"/>
                  <a:pt x="2301949" y="1480432"/>
                </a:cubicBezTo>
                <a:moveTo>
                  <a:pt x="2117930" y="1491368"/>
                </a:moveTo>
                <a:cubicBezTo>
                  <a:pt x="2117930" y="1484229"/>
                  <a:pt x="2112082" y="1478381"/>
                  <a:pt x="2104943" y="1478381"/>
                </a:cubicBezTo>
                <a:cubicBezTo>
                  <a:pt x="2097804" y="1478381"/>
                  <a:pt x="2091956" y="1484229"/>
                  <a:pt x="2091956" y="1491368"/>
                </a:cubicBezTo>
                <a:cubicBezTo>
                  <a:pt x="2091956" y="1498507"/>
                  <a:pt x="2097804" y="1504355"/>
                  <a:pt x="2104943" y="1504355"/>
                </a:cubicBezTo>
                <a:cubicBezTo>
                  <a:pt x="2112158" y="1504355"/>
                  <a:pt x="2117930" y="1498507"/>
                  <a:pt x="2117930" y="1491368"/>
                </a:cubicBezTo>
                <a:moveTo>
                  <a:pt x="1934898" y="1513165"/>
                </a:moveTo>
                <a:cubicBezTo>
                  <a:pt x="1934898" y="1506937"/>
                  <a:pt x="1929809" y="1501849"/>
                  <a:pt x="1923582" y="1501849"/>
                </a:cubicBezTo>
                <a:cubicBezTo>
                  <a:pt x="1917354" y="1501849"/>
                  <a:pt x="1912266" y="1506861"/>
                  <a:pt x="1912266" y="1513165"/>
                </a:cubicBezTo>
                <a:cubicBezTo>
                  <a:pt x="1912266" y="1519393"/>
                  <a:pt x="1917278" y="1524481"/>
                  <a:pt x="1923582" y="1524481"/>
                </a:cubicBezTo>
                <a:cubicBezTo>
                  <a:pt x="1929885" y="1524481"/>
                  <a:pt x="1934898" y="1519393"/>
                  <a:pt x="1934898" y="1513165"/>
                </a:cubicBezTo>
                <a:moveTo>
                  <a:pt x="1753537" y="1545746"/>
                </a:moveTo>
                <a:cubicBezTo>
                  <a:pt x="1753537" y="1540430"/>
                  <a:pt x="1749208" y="1536177"/>
                  <a:pt x="1743967" y="1536177"/>
                </a:cubicBezTo>
                <a:cubicBezTo>
                  <a:pt x="1738651" y="1536177"/>
                  <a:pt x="1734398" y="1540506"/>
                  <a:pt x="1734398" y="1545746"/>
                </a:cubicBezTo>
                <a:cubicBezTo>
                  <a:pt x="1734398" y="1551062"/>
                  <a:pt x="1738651" y="1555315"/>
                  <a:pt x="1743967" y="1555315"/>
                </a:cubicBezTo>
                <a:cubicBezTo>
                  <a:pt x="1749208" y="1555391"/>
                  <a:pt x="1753537" y="1551062"/>
                  <a:pt x="1753537" y="1545746"/>
                </a:cubicBezTo>
                <a:moveTo>
                  <a:pt x="1574378" y="1589112"/>
                </a:moveTo>
                <a:cubicBezTo>
                  <a:pt x="1574378" y="1584783"/>
                  <a:pt x="1570809" y="1581213"/>
                  <a:pt x="1566480" y="1581213"/>
                </a:cubicBezTo>
                <a:cubicBezTo>
                  <a:pt x="1562151" y="1581213"/>
                  <a:pt x="1558581" y="1584783"/>
                  <a:pt x="1558581" y="1589112"/>
                </a:cubicBezTo>
                <a:cubicBezTo>
                  <a:pt x="1558581" y="1593441"/>
                  <a:pt x="1562151" y="1597010"/>
                  <a:pt x="1566480" y="1597010"/>
                </a:cubicBezTo>
                <a:cubicBezTo>
                  <a:pt x="1570809" y="1597010"/>
                  <a:pt x="1574378" y="1593441"/>
                  <a:pt x="1574378" y="1589112"/>
                </a:cubicBezTo>
                <a:moveTo>
                  <a:pt x="1398713" y="1642882"/>
                </a:moveTo>
                <a:cubicBezTo>
                  <a:pt x="1398713" y="1639161"/>
                  <a:pt x="1395675" y="1636123"/>
                  <a:pt x="1391954" y="1636123"/>
                </a:cubicBezTo>
                <a:cubicBezTo>
                  <a:pt x="1388232" y="1636123"/>
                  <a:pt x="1385195" y="1639161"/>
                  <a:pt x="1385195" y="1642882"/>
                </a:cubicBezTo>
                <a:cubicBezTo>
                  <a:pt x="1385195" y="1646604"/>
                  <a:pt x="1388232" y="1649642"/>
                  <a:pt x="1391954" y="1649642"/>
                </a:cubicBezTo>
                <a:cubicBezTo>
                  <a:pt x="1395675" y="1649717"/>
                  <a:pt x="1398713" y="1646680"/>
                  <a:pt x="1398713" y="1642882"/>
                </a:cubicBezTo>
                <a:moveTo>
                  <a:pt x="1226542" y="1707057"/>
                </a:moveTo>
                <a:cubicBezTo>
                  <a:pt x="1226542" y="1703943"/>
                  <a:pt x="1224035" y="1701437"/>
                  <a:pt x="1220921" y="1701437"/>
                </a:cubicBezTo>
                <a:cubicBezTo>
                  <a:pt x="1217808" y="1701437"/>
                  <a:pt x="1215301" y="1703943"/>
                  <a:pt x="1215301" y="1707057"/>
                </a:cubicBezTo>
                <a:cubicBezTo>
                  <a:pt x="1215301" y="1710171"/>
                  <a:pt x="1217808" y="1712677"/>
                  <a:pt x="1220921" y="1712677"/>
                </a:cubicBezTo>
                <a:cubicBezTo>
                  <a:pt x="1224035" y="1712753"/>
                  <a:pt x="1226542" y="1710171"/>
                  <a:pt x="1226542" y="1707057"/>
                </a:cubicBezTo>
                <a:moveTo>
                  <a:pt x="1058547" y="1781409"/>
                </a:moveTo>
                <a:cubicBezTo>
                  <a:pt x="1058547" y="1778903"/>
                  <a:pt x="1056497" y="1776928"/>
                  <a:pt x="1054066" y="1776928"/>
                </a:cubicBezTo>
                <a:cubicBezTo>
                  <a:pt x="1051560" y="1776928"/>
                  <a:pt x="1049585" y="1778979"/>
                  <a:pt x="1049585" y="1781409"/>
                </a:cubicBezTo>
                <a:cubicBezTo>
                  <a:pt x="1049585" y="1783915"/>
                  <a:pt x="1051636" y="1785966"/>
                  <a:pt x="1054066" y="1785966"/>
                </a:cubicBezTo>
                <a:cubicBezTo>
                  <a:pt x="1056573" y="1785890"/>
                  <a:pt x="1058547" y="1783840"/>
                  <a:pt x="1058547" y="1781409"/>
                </a:cubicBezTo>
                <a:moveTo>
                  <a:pt x="895337" y="1865482"/>
                </a:moveTo>
                <a:cubicBezTo>
                  <a:pt x="895337" y="1863584"/>
                  <a:pt x="893818" y="1862065"/>
                  <a:pt x="891920" y="1862065"/>
                </a:cubicBezTo>
                <a:cubicBezTo>
                  <a:pt x="890021" y="1862065"/>
                  <a:pt x="888502" y="1863584"/>
                  <a:pt x="888502" y="1865482"/>
                </a:cubicBezTo>
                <a:cubicBezTo>
                  <a:pt x="888502" y="1867381"/>
                  <a:pt x="890021" y="1868900"/>
                  <a:pt x="891920" y="1868900"/>
                </a:cubicBezTo>
                <a:cubicBezTo>
                  <a:pt x="893818" y="1868900"/>
                  <a:pt x="895337" y="1867381"/>
                  <a:pt x="895337" y="1865482"/>
                </a:cubicBezTo>
                <a:moveTo>
                  <a:pt x="737444" y="1959201"/>
                </a:moveTo>
                <a:cubicBezTo>
                  <a:pt x="737444" y="1957986"/>
                  <a:pt x="736457" y="1956922"/>
                  <a:pt x="735165" y="1956922"/>
                </a:cubicBezTo>
                <a:cubicBezTo>
                  <a:pt x="733874" y="1956922"/>
                  <a:pt x="732887" y="1957910"/>
                  <a:pt x="732887" y="1959201"/>
                </a:cubicBezTo>
                <a:cubicBezTo>
                  <a:pt x="732887" y="1960416"/>
                  <a:pt x="733874" y="1961479"/>
                  <a:pt x="735165" y="1961479"/>
                </a:cubicBezTo>
                <a:cubicBezTo>
                  <a:pt x="736457" y="1961479"/>
                  <a:pt x="737444" y="1960416"/>
                  <a:pt x="737444" y="1959201"/>
                </a:cubicBezTo>
                <a:moveTo>
                  <a:pt x="585398" y="2062109"/>
                </a:moveTo>
                <a:cubicBezTo>
                  <a:pt x="585398" y="2061501"/>
                  <a:pt x="584867" y="2060970"/>
                  <a:pt x="584259" y="2060970"/>
                </a:cubicBezTo>
                <a:cubicBezTo>
                  <a:pt x="583652" y="2060970"/>
                  <a:pt x="583120" y="2061501"/>
                  <a:pt x="583120" y="2062109"/>
                </a:cubicBezTo>
                <a:cubicBezTo>
                  <a:pt x="583120" y="2062716"/>
                  <a:pt x="583652" y="2063248"/>
                  <a:pt x="584259" y="2063248"/>
                </a:cubicBezTo>
                <a:cubicBezTo>
                  <a:pt x="584867" y="2063248"/>
                  <a:pt x="585398" y="2062716"/>
                  <a:pt x="585398" y="2062109"/>
                </a:cubicBezTo>
                <a:moveTo>
                  <a:pt x="440871" y="2173827"/>
                </a:moveTo>
                <a:cubicBezTo>
                  <a:pt x="440871" y="2173219"/>
                  <a:pt x="440340" y="2172687"/>
                  <a:pt x="439732" y="2172687"/>
                </a:cubicBezTo>
                <a:cubicBezTo>
                  <a:pt x="439125" y="2172687"/>
                  <a:pt x="438593" y="2173219"/>
                  <a:pt x="438593" y="2173827"/>
                </a:cubicBezTo>
                <a:cubicBezTo>
                  <a:pt x="438593" y="2174434"/>
                  <a:pt x="439125" y="2174966"/>
                  <a:pt x="439732" y="2174966"/>
                </a:cubicBezTo>
                <a:cubicBezTo>
                  <a:pt x="440340" y="2174966"/>
                  <a:pt x="440871" y="2174434"/>
                  <a:pt x="440871" y="2173827"/>
                </a:cubicBezTo>
                <a:moveTo>
                  <a:pt x="302800" y="2293975"/>
                </a:moveTo>
                <a:cubicBezTo>
                  <a:pt x="302800" y="2293671"/>
                  <a:pt x="302572" y="2293443"/>
                  <a:pt x="302193" y="2293443"/>
                </a:cubicBezTo>
                <a:cubicBezTo>
                  <a:pt x="301889" y="2293443"/>
                  <a:pt x="301661" y="2293671"/>
                  <a:pt x="301661" y="2293975"/>
                </a:cubicBezTo>
                <a:cubicBezTo>
                  <a:pt x="301661" y="2294278"/>
                  <a:pt x="301889" y="2294506"/>
                  <a:pt x="302193" y="2294506"/>
                </a:cubicBezTo>
                <a:cubicBezTo>
                  <a:pt x="302496" y="2294582"/>
                  <a:pt x="302800" y="2294278"/>
                  <a:pt x="302800" y="2293975"/>
                </a:cubicBezTo>
                <a:moveTo>
                  <a:pt x="4807207" y="6701702"/>
                </a:moveTo>
                <a:cubicBezTo>
                  <a:pt x="4807207" y="6701398"/>
                  <a:pt x="4806980" y="6701170"/>
                  <a:pt x="4806676" y="6701170"/>
                </a:cubicBezTo>
                <a:cubicBezTo>
                  <a:pt x="4806372" y="6701170"/>
                  <a:pt x="4806144" y="6701398"/>
                  <a:pt x="4806144" y="6701702"/>
                </a:cubicBezTo>
                <a:cubicBezTo>
                  <a:pt x="4806144" y="6702005"/>
                  <a:pt x="4806372" y="6702233"/>
                  <a:pt x="4806676" y="6702233"/>
                </a:cubicBezTo>
                <a:cubicBezTo>
                  <a:pt x="4806980" y="6702233"/>
                  <a:pt x="4807207" y="6702005"/>
                  <a:pt x="4807207" y="6701702"/>
                </a:cubicBezTo>
                <a:moveTo>
                  <a:pt x="4925685" y="6562111"/>
                </a:moveTo>
                <a:cubicBezTo>
                  <a:pt x="4925685" y="6561504"/>
                  <a:pt x="4925153" y="6560972"/>
                  <a:pt x="4924545" y="6560972"/>
                </a:cubicBezTo>
                <a:cubicBezTo>
                  <a:pt x="4923938" y="6560972"/>
                  <a:pt x="4923406" y="6561504"/>
                  <a:pt x="4923406" y="6562111"/>
                </a:cubicBezTo>
                <a:cubicBezTo>
                  <a:pt x="4923406" y="6562719"/>
                  <a:pt x="4923938" y="6563251"/>
                  <a:pt x="4924545" y="6563251"/>
                </a:cubicBezTo>
                <a:cubicBezTo>
                  <a:pt x="4925153" y="6563251"/>
                  <a:pt x="4925685" y="6562795"/>
                  <a:pt x="4925685" y="6562111"/>
                </a:cubicBezTo>
                <a:moveTo>
                  <a:pt x="5036035" y="6416217"/>
                </a:moveTo>
                <a:cubicBezTo>
                  <a:pt x="5036035" y="6415306"/>
                  <a:pt x="5035276" y="6414547"/>
                  <a:pt x="5034365" y="6414547"/>
                </a:cubicBezTo>
                <a:cubicBezTo>
                  <a:pt x="5033453" y="6414547"/>
                  <a:pt x="5032694" y="6415306"/>
                  <a:pt x="5032694" y="6416217"/>
                </a:cubicBezTo>
                <a:cubicBezTo>
                  <a:pt x="5032694" y="6417129"/>
                  <a:pt x="5033453" y="6417888"/>
                  <a:pt x="5034365" y="6417888"/>
                </a:cubicBezTo>
                <a:cubicBezTo>
                  <a:pt x="5035276" y="6417888"/>
                  <a:pt x="5036035" y="6417129"/>
                  <a:pt x="5036035" y="6416217"/>
                </a:cubicBezTo>
                <a:moveTo>
                  <a:pt x="5138639" y="6264324"/>
                </a:moveTo>
                <a:cubicBezTo>
                  <a:pt x="5138639" y="6262729"/>
                  <a:pt x="5137348" y="6261514"/>
                  <a:pt x="5135829" y="6261514"/>
                </a:cubicBezTo>
                <a:cubicBezTo>
                  <a:pt x="5134310" y="6261514"/>
                  <a:pt x="5133019" y="6262805"/>
                  <a:pt x="5133019" y="6264324"/>
                </a:cubicBezTo>
                <a:cubicBezTo>
                  <a:pt x="5133019" y="6265919"/>
                  <a:pt x="5134310" y="6267134"/>
                  <a:pt x="5135829" y="6267134"/>
                </a:cubicBezTo>
                <a:cubicBezTo>
                  <a:pt x="5137348" y="6267134"/>
                  <a:pt x="5138639" y="6265919"/>
                  <a:pt x="5138639" y="6264324"/>
                </a:cubicBezTo>
                <a:moveTo>
                  <a:pt x="5232054" y="6107038"/>
                </a:moveTo>
                <a:cubicBezTo>
                  <a:pt x="5232054" y="6105139"/>
                  <a:pt x="5230535" y="6103620"/>
                  <a:pt x="5228637" y="6103620"/>
                </a:cubicBezTo>
                <a:cubicBezTo>
                  <a:pt x="5226738" y="6103620"/>
                  <a:pt x="5225219" y="6105139"/>
                  <a:pt x="5225219" y="6107038"/>
                </a:cubicBezTo>
                <a:cubicBezTo>
                  <a:pt x="5225219" y="6108937"/>
                  <a:pt x="5226738" y="6110456"/>
                  <a:pt x="5228637" y="6110456"/>
                </a:cubicBezTo>
                <a:cubicBezTo>
                  <a:pt x="5230535" y="6110456"/>
                  <a:pt x="5232054" y="6108861"/>
                  <a:pt x="5232054" y="6107038"/>
                </a:cubicBezTo>
                <a:moveTo>
                  <a:pt x="5316963" y="5944740"/>
                </a:moveTo>
                <a:cubicBezTo>
                  <a:pt x="5316963" y="5942233"/>
                  <a:pt x="5314912" y="5940182"/>
                  <a:pt x="5312406" y="5940182"/>
                </a:cubicBezTo>
                <a:cubicBezTo>
                  <a:pt x="5309899" y="5940182"/>
                  <a:pt x="5307925" y="5942233"/>
                  <a:pt x="5307925" y="5944740"/>
                </a:cubicBezTo>
                <a:cubicBezTo>
                  <a:pt x="5307925" y="5947245"/>
                  <a:pt x="5309976" y="5949220"/>
                  <a:pt x="5312406" y="5949220"/>
                </a:cubicBezTo>
                <a:cubicBezTo>
                  <a:pt x="5314988" y="5949220"/>
                  <a:pt x="5316963" y="5947245"/>
                  <a:pt x="5316963" y="5944740"/>
                </a:cubicBezTo>
                <a:moveTo>
                  <a:pt x="5393289" y="5777960"/>
                </a:moveTo>
                <a:cubicBezTo>
                  <a:pt x="5393289" y="5774542"/>
                  <a:pt x="5390479" y="5771732"/>
                  <a:pt x="5387062" y="5771732"/>
                </a:cubicBezTo>
                <a:cubicBezTo>
                  <a:pt x="5383644" y="5771732"/>
                  <a:pt x="5380834" y="5774466"/>
                  <a:pt x="5380834" y="5777960"/>
                </a:cubicBezTo>
                <a:cubicBezTo>
                  <a:pt x="5380834" y="5781378"/>
                  <a:pt x="5383644" y="5784188"/>
                  <a:pt x="5387062" y="5784188"/>
                </a:cubicBezTo>
                <a:cubicBezTo>
                  <a:pt x="5390479" y="5784188"/>
                  <a:pt x="5393289" y="5781454"/>
                  <a:pt x="5393289" y="5777960"/>
                </a:cubicBezTo>
                <a:moveTo>
                  <a:pt x="5459515" y="5607383"/>
                </a:moveTo>
                <a:cubicBezTo>
                  <a:pt x="5459515" y="5603358"/>
                  <a:pt x="5456249" y="5600017"/>
                  <a:pt x="5452148" y="5600017"/>
                </a:cubicBezTo>
                <a:cubicBezTo>
                  <a:pt x="5448047" y="5600017"/>
                  <a:pt x="5444781" y="5603282"/>
                  <a:pt x="5444781" y="5607383"/>
                </a:cubicBezTo>
                <a:cubicBezTo>
                  <a:pt x="5444781" y="5611409"/>
                  <a:pt x="5448047" y="5614750"/>
                  <a:pt x="5452148" y="5614750"/>
                </a:cubicBezTo>
                <a:cubicBezTo>
                  <a:pt x="5456249" y="5614750"/>
                  <a:pt x="5459515" y="5611409"/>
                  <a:pt x="5459515" y="5607383"/>
                </a:cubicBezTo>
                <a:moveTo>
                  <a:pt x="5516171" y="5433313"/>
                </a:moveTo>
                <a:cubicBezTo>
                  <a:pt x="5516171" y="5428605"/>
                  <a:pt x="5512374" y="5424883"/>
                  <a:pt x="5507741" y="5424883"/>
                </a:cubicBezTo>
                <a:cubicBezTo>
                  <a:pt x="5503108" y="5424883"/>
                  <a:pt x="5499311" y="5428681"/>
                  <a:pt x="5499311" y="5433313"/>
                </a:cubicBezTo>
                <a:cubicBezTo>
                  <a:pt x="5499311" y="5437946"/>
                  <a:pt x="5503108" y="5441743"/>
                  <a:pt x="5507741" y="5441743"/>
                </a:cubicBezTo>
                <a:cubicBezTo>
                  <a:pt x="5512374" y="5441743"/>
                  <a:pt x="5516171" y="5438022"/>
                  <a:pt x="5516171" y="5433313"/>
                </a:cubicBezTo>
                <a:moveTo>
                  <a:pt x="5563486" y="5256433"/>
                </a:moveTo>
                <a:cubicBezTo>
                  <a:pt x="5563486" y="5250813"/>
                  <a:pt x="5558929" y="5246256"/>
                  <a:pt x="5553310" y="5246256"/>
                </a:cubicBezTo>
                <a:cubicBezTo>
                  <a:pt x="5547689" y="5246256"/>
                  <a:pt x="5543132" y="5250813"/>
                  <a:pt x="5543132" y="5256433"/>
                </a:cubicBezTo>
                <a:cubicBezTo>
                  <a:pt x="5543132" y="5262053"/>
                  <a:pt x="5547689" y="5266610"/>
                  <a:pt x="5553310" y="5266610"/>
                </a:cubicBezTo>
                <a:cubicBezTo>
                  <a:pt x="5558929" y="5266610"/>
                  <a:pt x="5563486" y="5262053"/>
                  <a:pt x="5563486" y="5256433"/>
                </a:cubicBezTo>
                <a:moveTo>
                  <a:pt x="5600776" y="5077350"/>
                </a:moveTo>
                <a:cubicBezTo>
                  <a:pt x="5600776" y="5070819"/>
                  <a:pt x="5595460" y="5065503"/>
                  <a:pt x="5588929" y="5065503"/>
                </a:cubicBezTo>
                <a:cubicBezTo>
                  <a:pt x="5582397" y="5065503"/>
                  <a:pt x="5577081" y="5070819"/>
                  <a:pt x="5577081" y="5077350"/>
                </a:cubicBezTo>
                <a:cubicBezTo>
                  <a:pt x="5577081" y="5083882"/>
                  <a:pt x="5582397" y="5089198"/>
                  <a:pt x="5588929" y="5089198"/>
                </a:cubicBezTo>
                <a:cubicBezTo>
                  <a:pt x="5595460" y="5089198"/>
                  <a:pt x="5600776" y="5083882"/>
                  <a:pt x="5600776" y="5077350"/>
                </a:cubicBezTo>
                <a:moveTo>
                  <a:pt x="5628041" y="4896445"/>
                </a:moveTo>
                <a:cubicBezTo>
                  <a:pt x="5628041" y="4889002"/>
                  <a:pt x="5621965" y="4882927"/>
                  <a:pt x="5614523" y="4882927"/>
                </a:cubicBezTo>
                <a:cubicBezTo>
                  <a:pt x="5607080" y="4882927"/>
                  <a:pt x="5601004" y="4889002"/>
                  <a:pt x="5601004" y="4896445"/>
                </a:cubicBezTo>
                <a:cubicBezTo>
                  <a:pt x="5601004" y="4903888"/>
                  <a:pt x="5607080" y="4909964"/>
                  <a:pt x="5614523" y="4909964"/>
                </a:cubicBezTo>
                <a:cubicBezTo>
                  <a:pt x="5621965" y="4909964"/>
                  <a:pt x="5628041" y="4903888"/>
                  <a:pt x="5628041" y="4896445"/>
                </a:cubicBezTo>
                <a:moveTo>
                  <a:pt x="5645053" y="4714401"/>
                </a:moveTo>
                <a:cubicBezTo>
                  <a:pt x="5645053" y="4705971"/>
                  <a:pt x="5638218" y="4699135"/>
                  <a:pt x="5629788" y="4699135"/>
                </a:cubicBezTo>
                <a:cubicBezTo>
                  <a:pt x="5621358" y="4699135"/>
                  <a:pt x="5614523" y="4705971"/>
                  <a:pt x="5614523" y="4714401"/>
                </a:cubicBezTo>
                <a:cubicBezTo>
                  <a:pt x="5614523" y="4722831"/>
                  <a:pt x="5621358" y="4729666"/>
                  <a:pt x="5629788" y="4729666"/>
                </a:cubicBezTo>
                <a:cubicBezTo>
                  <a:pt x="5638218" y="4729666"/>
                  <a:pt x="5645053" y="4722831"/>
                  <a:pt x="5645053" y="4714401"/>
                </a:cubicBezTo>
                <a:moveTo>
                  <a:pt x="5651888" y="4531824"/>
                </a:moveTo>
                <a:cubicBezTo>
                  <a:pt x="5651888" y="4522483"/>
                  <a:pt x="5644294" y="4514888"/>
                  <a:pt x="5634952" y="4514888"/>
                </a:cubicBezTo>
                <a:cubicBezTo>
                  <a:pt x="5625611" y="4514888"/>
                  <a:pt x="5618016" y="4522483"/>
                  <a:pt x="5618016" y="4531824"/>
                </a:cubicBezTo>
                <a:cubicBezTo>
                  <a:pt x="5618016" y="4541166"/>
                  <a:pt x="5625611" y="4548761"/>
                  <a:pt x="5634952" y="4548761"/>
                </a:cubicBezTo>
                <a:cubicBezTo>
                  <a:pt x="5644294" y="4548761"/>
                  <a:pt x="5651888" y="4541242"/>
                  <a:pt x="5651888" y="4531824"/>
                </a:cubicBezTo>
                <a:moveTo>
                  <a:pt x="5648471" y="4349248"/>
                </a:moveTo>
                <a:cubicBezTo>
                  <a:pt x="5648471" y="4338996"/>
                  <a:pt x="5640117" y="4330641"/>
                  <a:pt x="5629864" y="4330641"/>
                </a:cubicBezTo>
                <a:cubicBezTo>
                  <a:pt x="5619611" y="4330641"/>
                  <a:pt x="5611257" y="4338996"/>
                  <a:pt x="5611257" y="4349248"/>
                </a:cubicBezTo>
                <a:cubicBezTo>
                  <a:pt x="5611257" y="4359501"/>
                  <a:pt x="5619611" y="4367855"/>
                  <a:pt x="5629864" y="4367855"/>
                </a:cubicBezTo>
                <a:cubicBezTo>
                  <a:pt x="5640117" y="4367931"/>
                  <a:pt x="5648471" y="4359577"/>
                  <a:pt x="5648471" y="4349248"/>
                </a:cubicBezTo>
                <a:moveTo>
                  <a:pt x="5634800" y="4167279"/>
                </a:moveTo>
                <a:cubicBezTo>
                  <a:pt x="5634800" y="4156039"/>
                  <a:pt x="5625687" y="4147002"/>
                  <a:pt x="5614447" y="4147002"/>
                </a:cubicBezTo>
                <a:cubicBezTo>
                  <a:pt x="5603207" y="4147002"/>
                  <a:pt x="5594093" y="4156115"/>
                  <a:pt x="5594093" y="4167279"/>
                </a:cubicBezTo>
                <a:cubicBezTo>
                  <a:pt x="5594093" y="4178520"/>
                  <a:pt x="5603207" y="4187633"/>
                  <a:pt x="5614447" y="4187633"/>
                </a:cubicBezTo>
                <a:cubicBezTo>
                  <a:pt x="5625687" y="4187557"/>
                  <a:pt x="5634800" y="4178520"/>
                  <a:pt x="5634800" y="4167279"/>
                </a:cubicBezTo>
                <a:moveTo>
                  <a:pt x="5610953" y="3986374"/>
                </a:moveTo>
                <a:cubicBezTo>
                  <a:pt x="5610953" y="3974222"/>
                  <a:pt x="5601080" y="3964349"/>
                  <a:pt x="5588929" y="3964349"/>
                </a:cubicBezTo>
                <a:cubicBezTo>
                  <a:pt x="5576777" y="3964349"/>
                  <a:pt x="5566904" y="3974222"/>
                  <a:pt x="5566904" y="3986374"/>
                </a:cubicBezTo>
                <a:cubicBezTo>
                  <a:pt x="5566904" y="3998526"/>
                  <a:pt x="5576777" y="4008399"/>
                  <a:pt x="5588929" y="4008399"/>
                </a:cubicBezTo>
                <a:cubicBezTo>
                  <a:pt x="5601080" y="4008399"/>
                  <a:pt x="5610953" y="3998526"/>
                  <a:pt x="5610953" y="3986374"/>
                </a:cubicBezTo>
                <a:moveTo>
                  <a:pt x="5577005" y="3807291"/>
                </a:moveTo>
                <a:cubicBezTo>
                  <a:pt x="5577005" y="3794229"/>
                  <a:pt x="5566372" y="3783596"/>
                  <a:pt x="5553310" y="3783596"/>
                </a:cubicBezTo>
                <a:cubicBezTo>
                  <a:pt x="5540246" y="3783596"/>
                  <a:pt x="5529614" y="3794229"/>
                  <a:pt x="5529614" y="3807291"/>
                </a:cubicBezTo>
                <a:cubicBezTo>
                  <a:pt x="5529614" y="3820354"/>
                  <a:pt x="5540246" y="3830987"/>
                  <a:pt x="5553310" y="3830987"/>
                </a:cubicBezTo>
                <a:cubicBezTo>
                  <a:pt x="5566372" y="3830987"/>
                  <a:pt x="5577005" y="3820354"/>
                  <a:pt x="5577005" y="3807291"/>
                </a:cubicBezTo>
                <a:moveTo>
                  <a:pt x="5533107" y="3630411"/>
                </a:moveTo>
                <a:cubicBezTo>
                  <a:pt x="5533107" y="3616361"/>
                  <a:pt x="5521715" y="3605045"/>
                  <a:pt x="5507741" y="3605045"/>
                </a:cubicBezTo>
                <a:cubicBezTo>
                  <a:pt x="5493691" y="3605045"/>
                  <a:pt x="5482375" y="3616437"/>
                  <a:pt x="5482375" y="3630411"/>
                </a:cubicBezTo>
                <a:cubicBezTo>
                  <a:pt x="5482375" y="3644461"/>
                  <a:pt x="5493767" y="3655777"/>
                  <a:pt x="5507741" y="3655777"/>
                </a:cubicBezTo>
                <a:cubicBezTo>
                  <a:pt x="5521715" y="3655777"/>
                  <a:pt x="5533107" y="3644385"/>
                  <a:pt x="5533107" y="3630411"/>
                </a:cubicBezTo>
                <a:moveTo>
                  <a:pt x="5478730" y="3456341"/>
                </a:moveTo>
                <a:cubicBezTo>
                  <a:pt x="5478730" y="3441683"/>
                  <a:pt x="5466882" y="3429836"/>
                  <a:pt x="5452224" y="3429836"/>
                </a:cubicBezTo>
                <a:cubicBezTo>
                  <a:pt x="5437566" y="3429836"/>
                  <a:pt x="5425718" y="3441683"/>
                  <a:pt x="5425718" y="3456341"/>
                </a:cubicBezTo>
                <a:cubicBezTo>
                  <a:pt x="5425718" y="3470999"/>
                  <a:pt x="5437566" y="3482847"/>
                  <a:pt x="5452224" y="3482847"/>
                </a:cubicBezTo>
                <a:cubicBezTo>
                  <a:pt x="5466882" y="3482847"/>
                  <a:pt x="5478730" y="3470999"/>
                  <a:pt x="5478730" y="3456341"/>
                </a:cubicBezTo>
                <a:moveTo>
                  <a:pt x="5414707" y="3285688"/>
                </a:moveTo>
                <a:cubicBezTo>
                  <a:pt x="5414707" y="3270423"/>
                  <a:pt x="5402327" y="3258044"/>
                  <a:pt x="5387062" y="3258044"/>
                </a:cubicBezTo>
                <a:cubicBezTo>
                  <a:pt x="5371796" y="3258044"/>
                  <a:pt x="5359417" y="3270423"/>
                  <a:pt x="5359417" y="3285688"/>
                </a:cubicBezTo>
                <a:cubicBezTo>
                  <a:pt x="5359417" y="3300954"/>
                  <a:pt x="5371796" y="3313333"/>
                  <a:pt x="5387062" y="3313333"/>
                </a:cubicBezTo>
                <a:cubicBezTo>
                  <a:pt x="5402327" y="3313409"/>
                  <a:pt x="5414707" y="3300954"/>
                  <a:pt x="5414707" y="3285688"/>
                </a:cubicBezTo>
                <a:moveTo>
                  <a:pt x="5341266" y="3118985"/>
                </a:moveTo>
                <a:cubicBezTo>
                  <a:pt x="5341266" y="3103112"/>
                  <a:pt x="5328355" y="3090201"/>
                  <a:pt x="5312482" y="3090201"/>
                </a:cubicBezTo>
                <a:cubicBezTo>
                  <a:pt x="5296609" y="3090201"/>
                  <a:pt x="5283698" y="3103112"/>
                  <a:pt x="5283698" y="3118985"/>
                </a:cubicBezTo>
                <a:cubicBezTo>
                  <a:pt x="5283698" y="3134858"/>
                  <a:pt x="5296609" y="3147769"/>
                  <a:pt x="5312482" y="3147769"/>
                </a:cubicBezTo>
                <a:cubicBezTo>
                  <a:pt x="5328355" y="3147769"/>
                  <a:pt x="5341266" y="3134858"/>
                  <a:pt x="5341266" y="3118985"/>
                </a:cubicBezTo>
                <a:moveTo>
                  <a:pt x="5258560" y="2956687"/>
                </a:moveTo>
                <a:cubicBezTo>
                  <a:pt x="5258560" y="2940206"/>
                  <a:pt x="5245193" y="2926764"/>
                  <a:pt x="5228637" y="2926764"/>
                </a:cubicBezTo>
                <a:cubicBezTo>
                  <a:pt x="5212156" y="2926764"/>
                  <a:pt x="5198714" y="2940130"/>
                  <a:pt x="5198714" y="2956687"/>
                </a:cubicBezTo>
                <a:cubicBezTo>
                  <a:pt x="5198714" y="2973243"/>
                  <a:pt x="5212080" y="2986610"/>
                  <a:pt x="5228637" y="2986610"/>
                </a:cubicBezTo>
                <a:cubicBezTo>
                  <a:pt x="5245117" y="2986610"/>
                  <a:pt x="5258560" y="2973243"/>
                  <a:pt x="5258560" y="2956687"/>
                </a:cubicBezTo>
                <a:moveTo>
                  <a:pt x="5166892" y="2799401"/>
                </a:moveTo>
                <a:cubicBezTo>
                  <a:pt x="5166892" y="2782237"/>
                  <a:pt x="5152994" y="2768338"/>
                  <a:pt x="5135829" y="2768338"/>
                </a:cubicBezTo>
                <a:cubicBezTo>
                  <a:pt x="5118665" y="2768338"/>
                  <a:pt x="5104767" y="2782237"/>
                  <a:pt x="5104767" y="2799401"/>
                </a:cubicBezTo>
                <a:cubicBezTo>
                  <a:pt x="5104767" y="2816565"/>
                  <a:pt x="5118665" y="2830463"/>
                  <a:pt x="5135829" y="2830463"/>
                </a:cubicBezTo>
                <a:cubicBezTo>
                  <a:pt x="5152994" y="2830463"/>
                  <a:pt x="5166892" y="2816565"/>
                  <a:pt x="5166892" y="2799401"/>
                </a:cubicBezTo>
                <a:moveTo>
                  <a:pt x="5065958" y="2647507"/>
                </a:moveTo>
                <a:cubicBezTo>
                  <a:pt x="5065958" y="2630039"/>
                  <a:pt x="5051832" y="2615913"/>
                  <a:pt x="5034365" y="2615913"/>
                </a:cubicBezTo>
                <a:cubicBezTo>
                  <a:pt x="5016897" y="2615913"/>
                  <a:pt x="5002770" y="2630039"/>
                  <a:pt x="5002770" y="2647507"/>
                </a:cubicBezTo>
                <a:cubicBezTo>
                  <a:pt x="5002770" y="2664975"/>
                  <a:pt x="5016897" y="2679101"/>
                  <a:pt x="5034365" y="2679101"/>
                </a:cubicBezTo>
                <a:cubicBezTo>
                  <a:pt x="5051832" y="2679101"/>
                  <a:pt x="5065958" y="2664975"/>
                  <a:pt x="5065958" y="2647507"/>
                </a:cubicBezTo>
                <a:moveTo>
                  <a:pt x="4956671" y="2501537"/>
                </a:moveTo>
                <a:cubicBezTo>
                  <a:pt x="4956671" y="2483766"/>
                  <a:pt x="4942241" y="2469412"/>
                  <a:pt x="4924469" y="2469412"/>
                </a:cubicBezTo>
                <a:cubicBezTo>
                  <a:pt x="4906698" y="2469412"/>
                  <a:pt x="4892268" y="2483842"/>
                  <a:pt x="4892268" y="2501537"/>
                </a:cubicBezTo>
                <a:cubicBezTo>
                  <a:pt x="4892268" y="2519309"/>
                  <a:pt x="4906698" y="2533739"/>
                  <a:pt x="4924469" y="2533739"/>
                </a:cubicBezTo>
                <a:cubicBezTo>
                  <a:pt x="4942317" y="2533739"/>
                  <a:pt x="4956671" y="2519309"/>
                  <a:pt x="4956671" y="2501537"/>
                </a:cubicBezTo>
                <a:moveTo>
                  <a:pt x="4838877" y="2362023"/>
                </a:moveTo>
                <a:cubicBezTo>
                  <a:pt x="4838877" y="2344251"/>
                  <a:pt x="4824447" y="2329898"/>
                  <a:pt x="4806676" y="2329898"/>
                </a:cubicBezTo>
                <a:cubicBezTo>
                  <a:pt x="4788904" y="2329898"/>
                  <a:pt x="4774474" y="2344327"/>
                  <a:pt x="4774474" y="2362023"/>
                </a:cubicBezTo>
                <a:cubicBezTo>
                  <a:pt x="4774474" y="2379794"/>
                  <a:pt x="4788904" y="2394224"/>
                  <a:pt x="4806676" y="2394224"/>
                </a:cubicBezTo>
                <a:cubicBezTo>
                  <a:pt x="4824447" y="2394148"/>
                  <a:pt x="4838877" y="2379794"/>
                  <a:pt x="4838877" y="2362023"/>
                </a:cubicBezTo>
                <a:moveTo>
                  <a:pt x="4713337" y="2229268"/>
                </a:moveTo>
                <a:cubicBezTo>
                  <a:pt x="4713337" y="2211496"/>
                  <a:pt x="4698908" y="2197142"/>
                  <a:pt x="4681136" y="2197142"/>
                </a:cubicBezTo>
                <a:cubicBezTo>
                  <a:pt x="4663364" y="2197142"/>
                  <a:pt x="4648934" y="2211572"/>
                  <a:pt x="4648934" y="2229268"/>
                </a:cubicBezTo>
                <a:cubicBezTo>
                  <a:pt x="4648934" y="2247039"/>
                  <a:pt x="4663364" y="2261469"/>
                  <a:pt x="4681136" y="2261469"/>
                </a:cubicBezTo>
                <a:cubicBezTo>
                  <a:pt x="4698983" y="2261469"/>
                  <a:pt x="4713337" y="2247039"/>
                  <a:pt x="4713337" y="2229268"/>
                </a:cubicBezTo>
                <a:moveTo>
                  <a:pt x="4580658" y="2103804"/>
                </a:moveTo>
                <a:cubicBezTo>
                  <a:pt x="4580658" y="2086032"/>
                  <a:pt x="4566228" y="2071678"/>
                  <a:pt x="4548457" y="2071678"/>
                </a:cubicBezTo>
                <a:cubicBezTo>
                  <a:pt x="4530685" y="2071678"/>
                  <a:pt x="4516255" y="2086108"/>
                  <a:pt x="4516255" y="2103804"/>
                </a:cubicBezTo>
                <a:cubicBezTo>
                  <a:pt x="4516255" y="2121575"/>
                  <a:pt x="4530685" y="2136005"/>
                  <a:pt x="4548457" y="2136005"/>
                </a:cubicBezTo>
                <a:cubicBezTo>
                  <a:pt x="4566228" y="2136005"/>
                  <a:pt x="4580658" y="2121575"/>
                  <a:pt x="4580658" y="2103804"/>
                </a:cubicBezTo>
                <a:moveTo>
                  <a:pt x="4441068" y="1985934"/>
                </a:moveTo>
                <a:cubicBezTo>
                  <a:pt x="4441068" y="1968163"/>
                  <a:pt x="4426638" y="1953809"/>
                  <a:pt x="4408867" y="1953809"/>
                </a:cubicBezTo>
                <a:cubicBezTo>
                  <a:pt x="4391095" y="1953809"/>
                  <a:pt x="4376665" y="1968238"/>
                  <a:pt x="4376665" y="1985934"/>
                </a:cubicBezTo>
                <a:cubicBezTo>
                  <a:pt x="4376665" y="2003706"/>
                  <a:pt x="4391095" y="2018136"/>
                  <a:pt x="4408867" y="2018136"/>
                </a:cubicBezTo>
                <a:cubicBezTo>
                  <a:pt x="4426714" y="2018136"/>
                  <a:pt x="4441068" y="2003706"/>
                  <a:pt x="4441068" y="1985934"/>
                </a:cubicBezTo>
                <a:moveTo>
                  <a:pt x="4294566" y="1876115"/>
                </a:moveTo>
                <a:cubicBezTo>
                  <a:pt x="4294566" y="1858647"/>
                  <a:pt x="4280440" y="1844521"/>
                  <a:pt x="4262972" y="1844521"/>
                </a:cubicBezTo>
                <a:cubicBezTo>
                  <a:pt x="4245505" y="1844521"/>
                  <a:pt x="4231379" y="1858647"/>
                  <a:pt x="4231379" y="1876115"/>
                </a:cubicBezTo>
                <a:cubicBezTo>
                  <a:pt x="4231379" y="1893583"/>
                  <a:pt x="4245505" y="1907709"/>
                  <a:pt x="4262972" y="1907709"/>
                </a:cubicBezTo>
                <a:cubicBezTo>
                  <a:pt x="4280440" y="1907709"/>
                  <a:pt x="4294566" y="1893583"/>
                  <a:pt x="4294566" y="1876115"/>
                </a:cubicBezTo>
                <a:moveTo>
                  <a:pt x="4142141" y="1774650"/>
                </a:moveTo>
                <a:cubicBezTo>
                  <a:pt x="4142141" y="1757486"/>
                  <a:pt x="4128243" y="1743588"/>
                  <a:pt x="4111079" y="1743588"/>
                </a:cubicBezTo>
                <a:cubicBezTo>
                  <a:pt x="4093915" y="1743588"/>
                  <a:pt x="4080016" y="1757486"/>
                  <a:pt x="4080016" y="1774650"/>
                </a:cubicBezTo>
                <a:cubicBezTo>
                  <a:pt x="4080016" y="1791814"/>
                  <a:pt x="4093915" y="1805712"/>
                  <a:pt x="4111079" y="1805712"/>
                </a:cubicBezTo>
                <a:cubicBezTo>
                  <a:pt x="4128243" y="1805712"/>
                  <a:pt x="4142141" y="1791814"/>
                  <a:pt x="4142141" y="1774650"/>
                </a:cubicBezTo>
                <a:moveTo>
                  <a:pt x="3983716" y="1681843"/>
                </a:moveTo>
                <a:cubicBezTo>
                  <a:pt x="3983716" y="1665362"/>
                  <a:pt x="3970349" y="1651920"/>
                  <a:pt x="3953793" y="1651920"/>
                </a:cubicBezTo>
                <a:cubicBezTo>
                  <a:pt x="3937312" y="1651920"/>
                  <a:pt x="3923869" y="1665287"/>
                  <a:pt x="3923869" y="1681843"/>
                </a:cubicBezTo>
                <a:cubicBezTo>
                  <a:pt x="3923869" y="1698399"/>
                  <a:pt x="3937236" y="1711766"/>
                  <a:pt x="3953793" y="1711766"/>
                </a:cubicBezTo>
                <a:cubicBezTo>
                  <a:pt x="3970273" y="1711766"/>
                  <a:pt x="3983716" y="1698399"/>
                  <a:pt x="3983716" y="1681843"/>
                </a:cubicBezTo>
                <a:moveTo>
                  <a:pt x="3820278" y="1597998"/>
                </a:moveTo>
                <a:cubicBezTo>
                  <a:pt x="3820278" y="1582125"/>
                  <a:pt x="3807367" y="1569214"/>
                  <a:pt x="3791494" y="1569214"/>
                </a:cubicBezTo>
                <a:cubicBezTo>
                  <a:pt x="3775622" y="1569214"/>
                  <a:pt x="3762711" y="1582125"/>
                  <a:pt x="3762711" y="1597998"/>
                </a:cubicBezTo>
                <a:cubicBezTo>
                  <a:pt x="3762711" y="1613870"/>
                  <a:pt x="3775622" y="1626781"/>
                  <a:pt x="3791494" y="1626781"/>
                </a:cubicBezTo>
                <a:cubicBezTo>
                  <a:pt x="3807367" y="1626781"/>
                  <a:pt x="3820278" y="1613946"/>
                  <a:pt x="3820278" y="1597998"/>
                </a:cubicBezTo>
                <a:moveTo>
                  <a:pt x="3652436" y="1523418"/>
                </a:moveTo>
                <a:cubicBezTo>
                  <a:pt x="3652436" y="1508152"/>
                  <a:pt x="3640056" y="1495773"/>
                  <a:pt x="3624791" y="1495773"/>
                </a:cubicBezTo>
                <a:cubicBezTo>
                  <a:pt x="3609526" y="1495773"/>
                  <a:pt x="3597146" y="1508152"/>
                  <a:pt x="3597146" y="1523418"/>
                </a:cubicBezTo>
                <a:cubicBezTo>
                  <a:pt x="3597146" y="1538683"/>
                  <a:pt x="3609526" y="1551062"/>
                  <a:pt x="3624791" y="1551062"/>
                </a:cubicBezTo>
                <a:cubicBezTo>
                  <a:pt x="3640056" y="1551062"/>
                  <a:pt x="3652436" y="1538683"/>
                  <a:pt x="3652436" y="1523418"/>
                </a:cubicBezTo>
                <a:moveTo>
                  <a:pt x="3480644" y="1458255"/>
                </a:moveTo>
                <a:cubicBezTo>
                  <a:pt x="3480644" y="1443598"/>
                  <a:pt x="3468796" y="1431750"/>
                  <a:pt x="3454138" y="1431750"/>
                </a:cubicBezTo>
                <a:cubicBezTo>
                  <a:pt x="3439481" y="1431750"/>
                  <a:pt x="3427633" y="1443598"/>
                  <a:pt x="3427633" y="1458255"/>
                </a:cubicBezTo>
                <a:cubicBezTo>
                  <a:pt x="3427633" y="1472913"/>
                  <a:pt x="3439481" y="1484761"/>
                  <a:pt x="3454138" y="1484761"/>
                </a:cubicBezTo>
                <a:cubicBezTo>
                  <a:pt x="3468796" y="1484761"/>
                  <a:pt x="3480644" y="1472913"/>
                  <a:pt x="3480644" y="1458255"/>
                </a:cubicBezTo>
                <a:moveTo>
                  <a:pt x="3305510" y="1402814"/>
                </a:moveTo>
                <a:cubicBezTo>
                  <a:pt x="3305510" y="1388764"/>
                  <a:pt x="3294118" y="1377448"/>
                  <a:pt x="3280144" y="1377448"/>
                </a:cubicBezTo>
                <a:cubicBezTo>
                  <a:pt x="3266094" y="1377448"/>
                  <a:pt x="3254778" y="1388840"/>
                  <a:pt x="3254778" y="1402814"/>
                </a:cubicBezTo>
                <a:cubicBezTo>
                  <a:pt x="3254778" y="1416864"/>
                  <a:pt x="3266170" y="1428180"/>
                  <a:pt x="3280144" y="1428180"/>
                </a:cubicBezTo>
                <a:cubicBezTo>
                  <a:pt x="3294118" y="1428180"/>
                  <a:pt x="3305510" y="1416864"/>
                  <a:pt x="3305510" y="1402814"/>
                </a:cubicBezTo>
                <a:moveTo>
                  <a:pt x="3126960" y="1357170"/>
                </a:moveTo>
                <a:cubicBezTo>
                  <a:pt x="3126960" y="1344107"/>
                  <a:pt x="3116327" y="1333475"/>
                  <a:pt x="3103264" y="1333475"/>
                </a:cubicBezTo>
                <a:cubicBezTo>
                  <a:pt x="3090201" y="1333475"/>
                  <a:pt x="3079569" y="1344107"/>
                  <a:pt x="3079569" y="1357170"/>
                </a:cubicBezTo>
                <a:cubicBezTo>
                  <a:pt x="3079569" y="1370309"/>
                  <a:pt x="3090201" y="1380866"/>
                  <a:pt x="3103264" y="1380866"/>
                </a:cubicBezTo>
                <a:cubicBezTo>
                  <a:pt x="3116327" y="1380866"/>
                  <a:pt x="3126960" y="1370309"/>
                  <a:pt x="3126960" y="1357170"/>
                </a:cubicBezTo>
                <a:moveTo>
                  <a:pt x="2946130" y="1321551"/>
                </a:moveTo>
                <a:cubicBezTo>
                  <a:pt x="2946130" y="1309400"/>
                  <a:pt x="2936257" y="1299527"/>
                  <a:pt x="2924105" y="1299527"/>
                </a:cubicBezTo>
                <a:cubicBezTo>
                  <a:pt x="2911954" y="1299527"/>
                  <a:pt x="2902081" y="1309400"/>
                  <a:pt x="2902081" y="1321551"/>
                </a:cubicBezTo>
                <a:cubicBezTo>
                  <a:pt x="2902081" y="1333703"/>
                  <a:pt x="2911954" y="1343576"/>
                  <a:pt x="2924105" y="1343576"/>
                </a:cubicBezTo>
                <a:cubicBezTo>
                  <a:pt x="2936257" y="1343576"/>
                  <a:pt x="2946130" y="1333703"/>
                  <a:pt x="2946130" y="1321551"/>
                </a:cubicBezTo>
                <a:moveTo>
                  <a:pt x="2763554" y="1296033"/>
                </a:moveTo>
                <a:cubicBezTo>
                  <a:pt x="2763554" y="1284793"/>
                  <a:pt x="2754440" y="1275755"/>
                  <a:pt x="2743200" y="1275755"/>
                </a:cubicBezTo>
                <a:cubicBezTo>
                  <a:pt x="2731960" y="1275755"/>
                  <a:pt x="2722846" y="1284869"/>
                  <a:pt x="2722846" y="1296033"/>
                </a:cubicBezTo>
                <a:cubicBezTo>
                  <a:pt x="2722846" y="1307273"/>
                  <a:pt x="2731960" y="1316387"/>
                  <a:pt x="2743200" y="1316387"/>
                </a:cubicBezTo>
                <a:cubicBezTo>
                  <a:pt x="2754440" y="1316311"/>
                  <a:pt x="2763554" y="1307273"/>
                  <a:pt x="2763554" y="1296033"/>
                </a:cubicBezTo>
                <a:moveTo>
                  <a:pt x="2579838" y="1280692"/>
                </a:moveTo>
                <a:cubicBezTo>
                  <a:pt x="2579838" y="1270439"/>
                  <a:pt x="2571484" y="1262085"/>
                  <a:pt x="2561231" y="1262085"/>
                </a:cubicBezTo>
                <a:cubicBezTo>
                  <a:pt x="2550979" y="1262085"/>
                  <a:pt x="2542625" y="1270439"/>
                  <a:pt x="2542625" y="1280692"/>
                </a:cubicBezTo>
                <a:cubicBezTo>
                  <a:pt x="2542625" y="1290944"/>
                  <a:pt x="2550979" y="1299299"/>
                  <a:pt x="2561231" y="1299299"/>
                </a:cubicBezTo>
                <a:cubicBezTo>
                  <a:pt x="2571484" y="1299299"/>
                  <a:pt x="2579838" y="1290944"/>
                  <a:pt x="2579838" y="1280692"/>
                </a:cubicBezTo>
                <a:moveTo>
                  <a:pt x="2395591" y="1275527"/>
                </a:moveTo>
                <a:cubicBezTo>
                  <a:pt x="2395591" y="1266186"/>
                  <a:pt x="2387997" y="1258591"/>
                  <a:pt x="2378655" y="1258591"/>
                </a:cubicBezTo>
                <a:cubicBezTo>
                  <a:pt x="2369314" y="1258591"/>
                  <a:pt x="2361719" y="1266186"/>
                  <a:pt x="2361719" y="1275527"/>
                </a:cubicBezTo>
                <a:cubicBezTo>
                  <a:pt x="2361719" y="1284869"/>
                  <a:pt x="2369314" y="1292464"/>
                  <a:pt x="2378655" y="1292464"/>
                </a:cubicBezTo>
                <a:cubicBezTo>
                  <a:pt x="2387997" y="1292464"/>
                  <a:pt x="2395591" y="1284869"/>
                  <a:pt x="2395591" y="1275527"/>
                </a:cubicBezTo>
                <a:moveTo>
                  <a:pt x="2211268" y="1280692"/>
                </a:moveTo>
                <a:cubicBezTo>
                  <a:pt x="2211268" y="1272262"/>
                  <a:pt x="2204433" y="1265426"/>
                  <a:pt x="2196003" y="1265426"/>
                </a:cubicBezTo>
                <a:cubicBezTo>
                  <a:pt x="2187573" y="1265426"/>
                  <a:pt x="2180738" y="1272262"/>
                  <a:pt x="2180738" y="1280692"/>
                </a:cubicBezTo>
                <a:cubicBezTo>
                  <a:pt x="2180738" y="1289122"/>
                  <a:pt x="2187573" y="1295957"/>
                  <a:pt x="2196003" y="1295957"/>
                </a:cubicBezTo>
                <a:cubicBezTo>
                  <a:pt x="2204433" y="1295881"/>
                  <a:pt x="2211268" y="1289046"/>
                  <a:pt x="2211268" y="1280692"/>
                </a:cubicBezTo>
                <a:moveTo>
                  <a:pt x="2027553" y="1296033"/>
                </a:moveTo>
                <a:cubicBezTo>
                  <a:pt x="2027553" y="1288590"/>
                  <a:pt x="2021477" y="1282514"/>
                  <a:pt x="2014034" y="1282514"/>
                </a:cubicBezTo>
                <a:cubicBezTo>
                  <a:pt x="2006592" y="1282514"/>
                  <a:pt x="2000516" y="1288590"/>
                  <a:pt x="2000516" y="1296033"/>
                </a:cubicBezTo>
                <a:cubicBezTo>
                  <a:pt x="2000516" y="1303552"/>
                  <a:pt x="2006592" y="1309552"/>
                  <a:pt x="2014034" y="1309552"/>
                </a:cubicBezTo>
                <a:cubicBezTo>
                  <a:pt x="2021477" y="1309552"/>
                  <a:pt x="2027553" y="1303476"/>
                  <a:pt x="2027553" y="1296033"/>
                </a:cubicBezTo>
                <a:moveTo>
                  <a:pt x="1845053" y="1321551"/>
                </a:moveTo>
                <a:cubicBezTo>
                  <a:pt x="1845053" y="1315020"/>
                  <a:pt x="1839736" y="1309703"/>
                  <a:pt x="1833205" y="1309703"/>
                </a:cubicBezTo>
                <a:cubicBezTo>
                  <a:pt x="1826674" y="1309703"/>
                  <a:pt x="1821357" y="1315020"/>
                  <a:pt x="1821357" y="1321551"/>
                </a:cubicBezTo>
                <a:cubicBezTo>
                  <a:pt x="1821357" y="1328082"/>
                  <a:pt x="1826674" y="1333399"/>
                  <a:pt x="1833205" y="1333399"/>
                </a:cubicBezTo>
                <a:cubicBezTo>
                  <a:pt x="1839736" y="1333399"/>
                  <a:pt x="1845053" y="1328082"/>
                  <a:pt x="1845053" y="1321551"/>
                </a:cubicBezTo>
                <a:moveTo>
                  <a:pt x="1664223" y="1357170"/>
                </a:moveTo>
                <a:cubicBezTo>
                  <a:pt x="1664223" y="1351550"/>
                  <a:pt x="1659666" y="1346993"/>
                  <a:pt x="1654046" y="1346993"/>
                </a:cubicBezTo>
                <a:cubicBezTo>
                  <a:pt x="1648426" y="1346993"/>
                  <a:pt x="1643869" y="1351550"/>
                  <a:pt x="1643869" y="1357170"/>
                </a:cubicBezTo>
                <a:cubicBezTo>
                  <a:pt x="1643869" y="1362790"/>
                  <a:pt x="1648426" y="1367347"/>
                  <a:pt x="1654046" y="1367347"/>
                </a:cubicBezTo>
                <a:cubicBezTo>
                  <a:pt x="1659666" y="1367347"/>
                  <a:pt x="1664223" y="1362790"/>
                  <a:pt x="1664223" y="1357170"/>
                </a:cubicBezTo>
                <a:moveTo>
                  <a:pt x="1485596" y="1402814"/>
                </a:moveTo>
                <a:cubicBezTo>
                  <a:pt x="1485596" y="1398105"/>
                  <a:pt x="1481799" y="1394384"/>
                  <a:pt x="1477166" y="1394384"/>
                </a:cubicBezTo>
                <a:cubicBezTo>
                  <a:pt x="1472457" y="1394384"/>
                  <a:pt x="1468736" y="1398181"/>
                  <a:pt x="1468736" y="1402814"/>
                </a:cubicBezTo>
                <a:cubicBezTo>
                  <a:pt x="1468736" y="1407523"/>
                  <a:pt x="1472533" y="1411244"/>
                  <a:pt x="1477166" y="1411244"/>
                </a:cubicBezTo>
                <a:cubicBezTo>
                  <a:pt x="1481875" y="1411244"/>
                  <a:pt x="1485596" y="1407447"/>
                  <a:pt x="1485596" y="1402814"/>
                </a:cubicBezTo>
                <a:moveTo>
                  <a:pt x="1310463" y="1458255"/>
                </a:moveTo>
                <a:cubicBezTo>
                  <a:pt x="1310463" y="1454230"/>
                  <a:pt x="1307197" y="1450889"/>
                  <a:pt x="1303096" y="1450889"/>
                </a:cubicBezTo>
                <a:cubicBezTo>
                  <a:pt x="1299071" y="1450889"/>
                  <a:pt x="1295729" y="1454154"/>
                  <a:pt x="1295729" y="1458255"/>
                </a:cubicBezTo>
                <a:cubicBezTo>
                  <a:pt x="1295729" y="1462281"/>
                  <a:pt x="1298995" y="1465622"/>
                  <a:pt x="1303096" y="1465622"/>
                </a:cubicBezTo>
                <a:cubicBezTo>
                  <a:pt x="1307197" y="1465622"/>
                  <a:pt x="1310463" y="1462357"/>
                  <a:pt x="1310463" y="1458255"/>
                </a:cubicBezTo>
                <a:moveTo>
                  <a:pt x="1138671" y="1523418"/>
                </a:moveTo>
                <a:cubicBezTo>
                  <a:pt x="1138671" y="1520000"/>
                  <a:pt x="1135861" y="1517190"/>
                  <a:pt x="1132443" y="1517190"/>
                </a:cubicBezTo>
                <a:cubicBezTo>
                  <a:pt x="1129026" y="1517190"/>
                  <a:pt x="1126216" y="1520000"/>
                  <a:pt x="1126216" y="1523418"/>
                </a:cubicBezTo>
                <a:cubicBezTo>
                  <a:pt x="1126216" y="1526835"/>
                  <a:pt x="1129026" y="1529645"/>
                  <a:pt x="1132443" y="1529645"/>
                </a:cubicBezTo>
                <a:cubicBezTo>
                  <a:pt x="1135937" y="1529645"/>
                  <a:pt x="1138671" y="1526835"/>
                  <a:pt x="1138671" y="1523418"/>
                </a:cubicBezTo>
                <a:moveTo>
                  <a:pt x="970297" y="1597998"/>
                </a:moveTo>
                <a:cubicBezTo>
                  <a:pt x="970297" y="1595491"/>
                  <a:pt x="968246" y="1593517"/>
                  <a:pt x="965740" y="1593517"/>
                </a:cubicBezTo>
                <a:cubicBezTo>
                  <a:pt x="963234" y="1593517"/>
                  <a:pt x="961259" y="1595567"/>
                  <a:pt x="961259" y="1597998"/>
                </a:cubicBezTo>
                <a:cubicBezTo>
                  <a:pt x="961259" y="1600504"/>
                  <a:pt x="963310" y="1602554"/>
                  <a:pt x="965740" y="1602554"/>
                </a:cubicBezTo>
                <a:cubicBezTo>
                  <a:pt x="968246" y="1602554"/>
                  <a:pt x="970297" y="1600504"/>
                  <a:pt x="970297" y="1597998"/>
                </a:cubicBezTo>
                <a:moveTo>
                  <a:pt x="806859" y="1681843"/>
                </a:moveTo>
                <a:cubicBezTo>
                  <a:pt x="806859" y="1679944"/>
                  <a:pt x="805340" y="1678425"/>
                  <a:pt x="803442" y="1678425"/>
                </a:cubicBezTo>
                <a:cubicBezTo>
                  <a:pt x="801543" y="1678425"/>
                  <a:pt x="800024" y="1679944"/>
                  <a:pt x="800024" y="1681843"/>
                </a:cubicBezTo>
                <a:cubicBezTo>
                  <a:pt x="800024" y="1683742"/>
                  <a:pt x="801543" y="1685260"/>
                  <a:pt x="803442" y="1685260"/>
                </a:cubicBezTo>
                <a:cubicBezTo>
                  <a:pt x="805340" y="1685260"/>
                  <a:pt x="806859" y="1683742"/>
                  <a:pt x="806859" y="1681843"/>
                </a:cubicBezTo>
                <a:moveTo>
                  <a:pt x="648966" y="1774650"/>
                </a:moveTo>
                <a:cubicBezTo>
                  <a:pt x="648966" y="1773055"/>
                  <a:pt x="647675" y="1771840"/>
                  <a:pt x="646156" y="1771840"/>
                </a:cubicBezTo>
                <a:cubicBezTo>
                  <a:pt x="644561" y="1771840"/>
                  <a:pt x="643346" y="1773131"/>
                  <a:pt x="643346" y="1774650"/>
                </a:cubicBezTo>
                <a:cubicBezTo>
                  <a:pt x="643346" y="1776245"/>
                  <a:pt x="644637" y="1777460"/>
                  <a:pt x="646156" y="1777460"/>
                </a:cubicBezTo>
                <a:cubicBezTo>
                  <a:pt x="647751" y="1777460"/>
                  <a:pt x="648966" y="1776245"/>
                  <a:pt x="648966" y="1774650"/>
                </a:cubicBezTo>
                <a:moveTo>
                  <a:pt x="496009" y="1876115"/>
                </a:moveTo>
                <a:cubicBezTo>
                  <a:pt x="496009" y="1875204"/>
                  <a:pt x="495249" y="1874444"/>
                  <a:pt x="494338" y="1874444"/>
                </a:cubicBezTo>
                <a:cubicBezTo>
                  <a:pt x="493427" y="1874444"/>
                  <a:pt x="492667" y="1875204"/>
                  <a:pt x="492667" y="1876115"/>
                </a:cubicBezTo>
                <a:cubicBezTo>
                  <a:pt x="492667" y="1877026"/>
                  <a:pt x="493427" y="1877786"/>
                  <a:pt x="494338" y="1877786"/>
                </a:cubicBezTo>
                <a:cubicBezTo>
                  <a:pt x="495249" y="1877786"/>
                  <a:pt x="496009" y="1877102"/>
                  <a:pt x="496009" y="1876115"/>
                </a:cubicBezTo>
                <a:moveTo>
                  <a:pt x="349507" y="1985934"/>
                </a:moveTo>
                <a:cubicBezTo>
                  <a:pt x="349507" y="1985326"/>
                  <a:pt x="348976" y="1984795"/>
                  <a:pt x="348368" y="1984795"/>
                </a:cubicBezTo>
                <a:cubicBezTo>
                  <a:pt x="347761" y="1984795"/>
                  <a:pt x="347229" y="1985326"/>
                  <a:pt x="347229" y="1985934"/>
                </a:cubicBezTo>
                <a:cubicBezTo>
                  <a:pt x="347229" y="1986542"/>
                  <a:pt x="347761" y="1987073"/>
                  <a:pt x="348368" y="1987073"/>
                </a:cubicBezTo>
                <a:cubicBezTo>
                  <a:pt x="348976" y="1987073"/>
                  <a:pt x="349507" y="1986618"/>
                  <a:pt x="349507" y="1985934"/>
                </a:cubicBezTo>
                <a:moveTo>
                  <a:pt x="209385" y="2103804"/>
                </a:moveTo>
                <a:cubicBezTo>
                  <a:pt x="209385" y="2103500"/>
                  <a:pt x="209158" y="2103272"/>
                  <a:pt x="208778" y="2103272"/>
                </a:cubicBezTo>
                <a:cubicBezTo>
                  <a:pt x="208474" y="2103272"/>
                  <a:pt x="208246" y="2103500"/>
                  <a:pt x="208246" y="2103804"/>
                </a:cubicBezTo>
                <a:cubicBezTo>
                  <a:pt x="208246" y="2104107"/>
                  <a:pt x="208474" y="2104335"/>
                  <a:pt x="208778" y="2104335"/>
                </a:cubicBezTo>
                <a:cubicBezTo>
                  <a:pt x="209082" y="2104335"/>
                  <a:pt x="209385" y="2104107"/>
                  <a:pt x="209385" y="2103804"/>
                </a:cubicBezTo>
                <a:moveTo>
                  <a:pt x="4966620" y="6828761"/>
                </a:moveTo>
                <a:cubicBezTo>
                  <a:pt x="4966620" y="6828457"/>
                  <a:pt x="4966392" y="6828229"/>
                  <a:pt x="4966088" y="6828229"/>
                </a:cubicBezTo>
                <a:cubicBezTo>
                  <a:pt x="4965784" y="6828229"/>
                  <a:pt x="4965557" y="6828457"/>
                  <a:pt x="4965557" y="6828761"/>
                </a:cubicBezTo>
                <a:cubicBezTo>
                  <a:pt x="4965557" y="6829065"/>
                  <a:pt x="4965784" y="6829292"/>
                  <a:pt x="4966088" y="6829292"/>
                </a:cubicBezTo>
                <a:cubicBezTo>
                  <a:pt x="4966392" y="6829292"/>
                  <a:pt x="4966620" y="6829065"/>
                  <a:pt x="4966620" y="6828761"/>
                </a:cubicBezTo>
                <a:moveTo>
                  <a:pt x="5084793" y="6689019"/>
                </a:moveTo>
                <a:cubicBezTo>
                  <a:pt x="5084793" y="6688411"/>
                  <a:pt x="5084262" y="6687879"/>
                  <a:pt x="5083654" y="6687879"/>
                </a:cubicBezTo>
                <a:cubicBezTo>
                  <a:pt x="5083046" y="6687879"/>
                  <a:pt x="5082515" y="6688411"/>
                  <a:pt x="5082515" y="6689019"/>
                </a:cubicBezTo>
                <a:cubicBezTo>
                  <a:pt x="5082515" y="6689626"/>
                  <a:pt x="5083046" y="6690158"/>
                  <a:pt x="5083654" y="6690158"/>
                </a:cubicBezTo>
                <a:cubicBezTo>
                  <a:pt x="5084262" y="6690158"/>
                  <a:pt x="5084793" y="6689626"/>
                  <a:pt x="5084793" y="6689019"/>
                </a:cubicBezTo>
                <a:moveTo>
                  <a:pt x="5195372" y="6543277"/>
                </a:moveTo>
                <a:cubicBezTo>
                  <a:pt x="5195372" y="6542365"/>
                  <a:pt x="5194612" y="6541606"/>
                  <a:pt x="5193701" y="6541606"/>
                </a:cubicBezTo>
                <a:cubicBezTo>
                  <a:pt x="5192790" y="6541606"/>
                  <a:pt x="5192030" y="6542365"/>
                  <a:pt x="5192030" y="6543277"/>
                </a:cubicBezTo>
                <a:cubicBezTo>
                  <a:pt x="5192030" y="6544188"/>
                  <a:pt x="5192790" y="6544947"/>
                  <a:pt x="5193701" y="6544947"/>
                </a:cubicBezTo>
                <a:cubicBezTo>
                  <a:pt x="5194612" y="6544947"/>
                  <a:pt x="5195372" y="6544188"/>
                  <a:pt x="5195372" y="6543277"/>
                </a:cubicBezTo>
                <a:moveTo>
                  <a:pt x="5298736" y="6391915"/>
                </a:moveTo>
                <a:cubicBezTo>
                  <a:pt x="5298736" y="6390320"/>
                  <a:pt x="5297445" y="6389105"/>
                  <a:pt x="5295926" y="6389105"/>
                </a:cubicBezTo>
                <a:cubicBezTo>
                  <a:pt x="5294407" y="6389105"/>
                  <a:pt x="5293116" y="6390396"/>
                  <a:pt x="5293116" y="6391915"/>
                </a:cubicBezTo>
                <a:cubicBezTo>
                  <a:pt x="5293116" y="6393509"/>
                  <a:pt x="5294407" y="6394725"/>
                  <a:pt x="5295926" y="6394725"/>
                </a:cubicBezTo>
                <a:cubicBezTo>
                  <a:pt x="5297445" y="6394725"/>
                  <a:pt x="5298736" y="6393433"/>
                  <a:pt x="5298736" y="6391915"/>
                </a:cubicBezTo>
                <a:moveTo>
                  <a:pt x="5393973" y="6235312"/>
                </a:moveTo>
                <a:cubicBezTo>
                  <a:pt x="5393973" y="6233110"/>
                  <a:pt x="5392226" y="6231363"/>
                  <a:pt x="5390024" y="6231363"/>
                </a:cubicBezTo>
                <a:cubicBezTo>
                  <a:pt x="5387821" y="6231363"/>
                  <a:pt x="5386074" y="6233110"/>
                  <a:pt x="5386074" y="6235312"/>
                </a:cubicBezTo>
                <a:cubicBezTo>
                  <a:pt x="5386074" y="6237515"/>
                  <a:pt x="5387821" y="6239261"/>
                  <a:pt x="5390024" y="6239261"/>
                </a:cubicBezTo>
                <a:cubicBezTo>
                  <a:pt x="5392226" y="6239261"/>
                  <a:pt x="5393973" y="6237515"/>
                  <a:pt x="5393973" y="6235312"/>
                </a:cubicBezTo>
                <a:moveTo>
                  <a:pt x="5480856" y="6074077"/>
                </a:moveTo>
                <a:cubicBezTo>
                  <a:pt x="5480856" y="6071267"/>
                  <a:pt x="5478578" y="6068988"/>
                  <a:pt x="5475768" y="6068988"/>
                </a:cubicBezTo>
                <a:cubicBezTo>
                  <a:pt x="5472958" y="6068988"/>
                  <a:pt x="5470679" y="6071267"/>
                  <a:pt x="5470679" y="6074077"/>
                </a:cubicBezTo>
                <a:cubicBezTo>
                  <a:pt x="5470679" y="6076887"/>
                  <a:pt x="5472958" y="6079166"/>
                  <a:pt x="5475768" y="6079166"/>
                </a:cubicBezTo>
                <a:cubicBezTo>
                  <a:pt x="5478578" y="6079090"/>
                  <a:pt x="5480856" y="6076811"/>
                  <a:pt x="5480856" y="6074077"/>
                </a:cubicBezTo>
                <a:moveTo>
                  <a:pt x="5559006" y="5908437"/>
                </a:moveTo>
                <a:cubicBezTo>
                  <a:pt x="5559006" y="5905019"/>
                  <a:pt x="5556196" y="5902209"/>
                  <a:pt x="5552778" y="5902209"/>
                </a:cubicBezTo>
                <a:cubicBezTo>
                  <a:pt x="5549360" y="5902209"/>
                  <a:pt x="5546550" y="5905019"/>
                  <a:pt x="5546550" y="5908437"/>
                </a:cubicBezTo>
                <a:cubicBezTo>
                  <a:pt x="5546550" y="5911854"/>
                  <a:pt x="5549360" y="5914664"/>
                  <a:pt x="5552778" y="5914664"/>
                </a:cubicBezTo>
                <a:cubicBezTo>
                  <a:pt x="5556271" y="5914664"/>
                  <a:pt x="5559006" y="5911854"/>
                  <a:pt x="5559006" y="5908437"/>
                </a:cubicBezTo>
                <a:moveTo>
                  <a:pt x="5628345" y="5738999"/>
                </a:moveTo>
                <a:cubicBezTo>
                  <a:pt x="5628345" y="5734974"/>
                  <a:pt x="5625079" y="5731633"/>
                  <a:pt x="5620978" y="5731633"/>
                </a:cubicBezTo>
                <a:cubicBezTo>
                  <a:pt x="5616953" y="5731633"/>
                  <a:pt x="5613611" y="5734898"/>
                  <a:pt x="5613611" y="5738999"/>
                </a:cubicBezTo>
                <a:cubicBezTo>
                  <a:pt x="5613611" y="5743101"/>
                  <a:pt x="5616877" y="5746366"/>
                  <a:pt x="5620978" y="5746366"/>
                </a:cubicBezTo>
                <a:cubicBezTo>
                  <a:pt x="5625079" y="5746366"/>
                  <a:pt x="5628345" y="5743025"/>
                  <a:pt x="5628345" y="5738999"/>
                </a:cubicBezTo>
                <a:moveTo>
                  <a:pt x="5689254" y="5566220"/>
                </a:moveTo>
                <a:cubicBezTo>
                  <a:pt x="5689254" y="5561208"/>
                  <a:pt x="5685229" y="5557183"/>
                  <a:pt x="5680216" y="5557183"/>
                </a:cubicBezTo>
                <a:cubicBezTo>
                  <a:pt x="5675204" y="5557183"/>
                  <a:pt x="5671179" y="5561208"/>
                  <a:pt x="5671179" y="5566220"/>
                </a:cubicBezTo>
                <a:cubicBezTo>
                  <a:pt x="5671179" y="5571233"/>
                  <a:pt x="5675204" y="5575258"/>
                  <a:pt x="5680216" y="5575258"/>
                </a:cubicBezTo>
                <a:cubicBezTo>
                  <a:pt x="5685229" y="5575258"/>
                  <a:pt x="5689254" y="5571157"/>
                  <a:pt x="5689254" y="5566220"/>
                </a:cubicBezTo>
                <a:moveTo>
                  <a:pt x="5740974" y="5390479"/>
                </a:moveTo>
                <a:cubicBezTo>
                  <a:pt x="5740974" y="5384556"/>
                  <a:pt x="5736189" y="5379771"/>
                  <a:pt x="5730266" y="5379771"/>
                </a:cubicBezTo>
                <a:cubicBezTo>
                  <a:pt x="5724341" y="5379771"/>
                  <a:pt x="5719557" y="5384556"/>
                  <a:pt x="5719557" y="5390479"/>
                </a:cubicBezTo>
                <a:cubicBezTo>
                  <a:pt x="5719557" y="5396403"/>
                  <a:pt x="5724341" y="5401188"/>
                  <a:pt x="5730266" y="5401188"/>
                </a:cubicBezTo>
                <a:cubicBezTo>
                  <a:pt x="5736114" y="5401264"/>
                  <a:pt x="5740974" y="5396403"/>
                  <a:pt x="5740974" y="5390479"/>
                </a:cubicBezTo>
                <a:moveTo>
                  <a:pt x="5783276" y="5212460"/>
                </a:moveTo>
                <a:cubicBezTo>
                  <a:pt x="5783276" y="5205625"/>
                  <a:pt x="5777732" y="5200005"/>
                  <a:pt x="5770821" y="5200005"/>
                </a:cubicBezTo>
                <a:cubicBezTo>
                  <a:pt x="5763986" y="5200005"/>
                  <a:pt x="5758366" y="5205549"/>
                  <a:pt x="5758366" y="5212460"/>
                </a:cubicBezTo>
                <a:cubicBezTo>
                  <a:pt x="5758366" y="5219295"/>
                  <a:pt x="5763910" y="5224915"/>
                  <a:pt x="5770821" y="5224915"/>
                </a:cubicBezTo>
                <a:cubicBezTo>
                  <a:pt x="5777732" y="5224839"/>
                  <a:pt x="5783276" y="5219295"/>
                  <a:pt x="5783276" y="5212460"/>
                </a:cubicBezTo>
                <a:moveTo>
                  <a:pt x="5816161" y="5032466"/>
                </a:moveTo>
                <a:cubicBezTo>
                  <a:pt x="5816161" y="5024643"/>
                  <a:pt x="5809858" y="5018340"/>
                  <a:pt x="5802035" y="5018340"/>
                </a:cubicBezTo>
                <a:cubicBezTo>
                  <a:pt x="5794213" y="5018340"/>
                  <a:pt x="5787909" y="5024643"/>
                  <a:pt x="5787909" y="5032466"/>
                </a:cubicBezTo>
                <a:cubicBezTo>
                  <a:pt x="5787909" y="5040288"/>
                  <a:pt x="5794213" y="5046592"/>
                  <a:pt x="5802035" y="5046592"/>
                </a:cubicBezTo>
                <a:cubicBezTo>
                  <a:pt x="5809858" y="5046592"/>
                  <a:pt x="5816161" y="5040212"/>
                  <a:pt x="5816161" y="5032466"/>
                </a:cubicBezTo>
                <a:moveTo>
                  <a:pt x="5839477" y="4851105"/>
                </a:moveTo>
                <a:cubicBezTo>
                  <a:pt x="5839477" y="4842371"/>
                  <a:pt x="5832414" y="4835308"/>
                  <a:pt x="5823680" y="4835308"/>
                </a:cubicBezTo>
                <a:cubicBezTo>
                  <a:pt x="5814946" y="4835308"/>
                  <a:pt x="5807883" y="4842371"/>
                  <a:pt x="5807883" y="4851105"/>
                </a:cubicBezTo>
                <a:cubicBezTo>
                  <a:pt x="5807883" y="4859839"/>
                  <a:pt x="5814946" y="4866902"/>
                  <a:pt x="5823680" y="4866902"/>
                </a:cubicBezTo>
                <a:cubicBezTo>
                  <a:pt x="5832414" y="4866902"/>
                  <a:pt x="5839477" y="4859839"/>
                  <a:pt x="5839477" y="4851105"/>
                </a:cubicBezTo>
                <a:moveTo>
                  <a:pt x="5853224" y="4668833"/>
                </a:moveTo>
                <a:cubicBezTo>
                  <a:pt x="5853224" y="4659187"/>
                  <a:pt x="5845401" y="4651365"/>
                  <a:pt x="5835756" y="4651365"/>
                </a:cubicBezTo>
                <a:cubicBezTo>
                  <a:pt x="5826110" y="4651365"/>
                  <a:pt x="5818288" y="4659187"/>
                  <a:pt x="5818288" y="4668833"/>
                </a:cubicBezTo>
                <a:cubicBezTo>
                  <a:pt x="5818288" y="4678478"/>
                  <a:pt x="5826110" y="4686300"/>
                  <a:pt x="5835756" y="4686300"/>
                </a:cubicBezTo>
                <a:cubicBezTo>
                  <a:pt x="5845401" y="4686300"/>
                  <a:pt x="5853224" y="4678478"/>
                  <a:pt x="5853224" y="4668833"/>
                </a:cubicBezTo>
                <a:moveTo>
                  <a:pt x="5857324" y="4486181"/>
                </a:moveTo>
                <a:cubicBezTo>
                  <a:pt x="5857324" y="4475548"/>
                  <a:pt x="5848742" y="4466966"/>
                  <a:pt x="5838110" y="4466966"/>
                </a:cubicBezTo>
                <a:cubicBezTo>
                  <a:pt x="5827477" y="4466966"/>
                  <a:pt x="5818895" y="4475548"/>
                  <a:pt x="5818895" y="4486181"/>
                </a:cubicBezTo>
                <a:cubicBezTo>
                  <a:pt x="5818895" y="4496813"/>
                  <a:pt x="5827477" y="4505395"/>
                  <a:pt x="5838110" y="4505395"/>
                </a:cubicBezTo>
                <a:cubicBezTo>
                  <a:pt x="5848742" y="4505395"/>
                  <a:pt x="5857324" y="4496813"/>
                  <a:pt x="5857324" y="4486181"/>
                </a:cubicBezTo>
                <a:moveTo>
                  <a:pt x="5852388" y="4303680"/>
                </a:moveTo>
                <a:cubicBezTo>
                  <a:pt x="5852388" y="4291832"/>
                  <a:pt x="5842743" y="4282263"/>
                  <a:pt x="5830971" y="4282263"/>
                </a:cubicBezTo>
                <a:cubicBezTo>
                  <a:pt x="5819123" y="4282263"/>
                  <a:pt x="5809554" y="4291832"/>
                  <a:pt x="5809554" y="4303680"/>
                </a:cubicBezTo>
                <a:cubicBezTo>
                  <a:pt x="5809554" y="4315528"/>
                  <a:pt x="5819123" y="4325097"/>
                  <a:pt x="5830971" y="4325097"/>
                </a:cubicBezTo>
                <a:cubicBezTo>
                  <a:pt x="5842743" y="4325097"/>
                  <a:pt x="5852388" y="4315528"/>
                  <a:pt x="5852388" y="4303680"/>
                </a:cubicBezTo>
                <a:moveTo>
                  <a:pt x="5837199" y="4121787"/>
                </a:moveTo>
                <a:cubicBezTo>
                  <a:pt x="5837199" y="4109028"/>
                  <a:pt x="5826870" y="4098623"/>
                  <a:pt x="5814035" y="4098623"/>
                </a:cubicBezTo>
                <a:cubicBezTo>
                  <a:pt x="5801276" y="4098623"/>
                  <a:pt x="5790871" y="4108952"/>
                  <a:pt x="5790871" y="4121787"/>
                </a:cubicBezTo>
                <a:cubicBezTo>
                  <a:pt x="5790871" y="4134546"/>
                  <a:pt x="5801276" y="4144951"/>
                  <a:pt x="5814035" y="4144951"/>
                </a:cubicBezTo>
                <a:cubicBezTo>
                  <a:pt x="5826870" y="4144951"/>
                  <a:pt x="5837199" y="4134546"/>
                  <a:pt x="5837199" y="4121787"/>
                </a:cubicBezTo>
                <a:moveTo>
                  <a:pt x="5812516" y="3941034"/>
                </a:moveTo>
                <a:cubicBezTo>
                  <a:pt x="5812516" y="3927287"/>
                  <a:pt x="5801428" y="3916199"/>
                  <a:pt x="5787681" y="3916199"/>
                </a:cubicBezTo>
                <a:cubicBezTo>
                  <a:pt x="5773935" y="3916199"/>
                  <a:pt x="5762847" y="3927287"/>
                  <a:pt x="5762847" y="3941034"/>
                </a:cubicBezTo>
                <a:cubicBezTo>
                  <a:pt x="5762847" y="3954780"/>
                  <a:pt x="5773935" y="3965868"/>
                  <a:pt x="5787681" y="3965868"/>
                </a:cubicBezTo>
                <a:cubicBezTo>
                  <a:pt x="5801352" y="3965868"/>
                  <a:pt x="5812516" y="3954780"/>
                  <a:pt x="5812516" y="3941034"/>
                </a:cubicBezTo>
                <a:moveTo>
                  <a:pt x="5778264" y="3761951"/>
                </a:moveTo>
                <a:cubicBezTo>
                  <a:pt x="5778264" y="3747293"/>
                  <a:pt x="5766416" y="3735446"/>
                  <a:pt x="5751759" y="3735446"/>
                </a:cubicBezTo>
                <a:cubicBezTo>
                  <a:pt x="5737100" y="3735446"/>
                  <a:pt x="5725253" y="3747293"/>
                  <a:pt x="5725253" y="3761951"/>
                </a:cubicBezTo>
                <a:cubicBezTo>
                  <a:pt x="5725253" y="3776609"/>
                  <a:pt x="5737100" y="3788457"/>
                  <a:pt x="5751759" y="3788457"/>
                </a:cubicBezTo>
                <a:cubicBezTo>
                  <a:pt x="5766340" y="3788457"/>
                  <a:pt x="5778264" y="3776609"/>
                  <a:pt x="5778264" y="3761951"/>
                </a:cubicBezTo>
                <a:moveTo>
                  <a:pt x="5734595" y="3584995"/>
                </a:moveTo>
                <a:cubicBezTo>
                  <a:pt x="5734595" y="3569426"/>
                  <a:pt x="5721987" y="3556819"/>
                  <a:pt x="5706342" y="3556819"/>
                </a:cubicBezTo>
                <a:cubicBezTo>
                  <a:pt x="5690697" y="3556819"/>
                  <a:pt x="5678090" y="3569426"/>
                  <a:pt x="5678090" y="3584995"/>
                </a:cubicBezTo>
                <a:cubicBezTo>
                  <a:pt x="5678090" y="3600564"/>
                  <a:pt x="5690697" y="3613247"/>
                  <a:pt x="5706342" y="3613247"/>
                </a:cubicBezTo>
                <a:cubicBezTo>
                  <a:pt x="5721987" y="3613247"/>
                  <a:pt x="5734595" y="3600640"/>
                  <a:pt x="5734595" y="3584995"/>
                </a:cubicBezTo>
                <a:moveTo>
                  <a:pt x="5681128" y="3410697"/>
                </a:moveTo>
                <a:cubicBezTo>
                  <a:pt x="5681128" y="3394520"/>
                  <a:pt x="5667989" y="3381381"/>
                  <a:pt x="5651812" y="3381381"/>
                </a:cubicBezTo>
                <a:cubicBezTo>
                  <a:pt x="5635636" y="3381381"/>
                  <a:pt x="5622497" y="3394520"/>
                  <a:pt x="5622497" y="3410697"/>
                </a:cubicBezTo>
                <a:cubicBezTo>
                  <a:pt x="5622497" y="3426874"/>
                  <a:pt x="5635636" y="3440012"/>
                  <a:pt x="5651812" y="3440012"/>
                </a:cubicBezTo>
                <a:cubicBezTo>
                  <a:pt x="5667989" y="3440088"/>
                  <a:pt x="5681128" y="3426950"/>
                  <a:pt x="5681128" y="3410697"/>
                </a:cubicBezTo>
                <a:moveTo>
                  <a:pt x="5619079" y="3239513"/>
                </a:moveTo>
                <a:cubicBezTo>
                  <a:pt x="5619079" y="3222349"/>
                  <a:pt x="5605181" y="3208451"/>
                  <a:pt x="5588017" y="3208451"/>
                </a:cubicBezTo>
                <a:cubicBezTo>
                  <a:pt x="5570853" y="3208451"/>
                  <a:pt x="5556955" y="3222349"/>
                  <a:pt x="5556955" y="3239513"/>
                </a:cubicBezTo>
                <a:cubicBezTo>
                  <a:pt x="5556955" y="3256677"/>
                  <a:pt x="5570853" y="3270575"/>
                  <a:pt x="5588017" y="3270575"/>
                </a:cubicBezTo>
                <a:cubicBezTo>
                  <a:pt x="5605181" y="3270575"/>
                  <a:pt x="5619079" y="3256677"/>
                  <a:pt x="5619079" y="3239513"/>
                </a:cubicBezTo>
                <a:moveTo>
                  <a:pt x="5547537" y="3071974"/>
                </a:moveTo>
                <a:cubicBezTo>
                  <a:pt x="5547537" y="3054203"/>
                  <a:pt x="5533107" y="3039773"/>
                  <a:pt x="5515336" y="3039773"/>
                </a:cubicBezTo>
                <a:cubicBezTo>
                  <a:pt x="5497564" y="3039773"/>
                  <a:pt x="5483134" y="3054203"/>
                  <a:pt x="5483134" y="3071974"/>
                </a:cubicBezTo>
                <a:cubicBezTo>
                  <a:pt x="5483134" y="3089746"/>
                  <a:pt x="5497564" y="3104175"/>
                  <a:pt x="5515336" y="3104175"/>
                </a:cubicBezTo>
                <a:cubicBezTo>
                  <a:pt x="5533183" y="3104099"/>
                  <a:pt x="5547537" y="3089746"/>
                  <a:pt x="5547537" y="3071974"/>
                </a:cubicBezTo>
                <a:moveTo>
                  <a:pt x="5467262" y="2908461"/>
                </a:moveTo>
                <a:cubicBezTo>
                  <a:pt x="5467262" y="2890081"/>
                  <a:pt x="5452376" y="2875196"/>
                  <a:pt x="5433921" y="2875196"/>
                </a:cubicBezTo>
                <a:cubicBezTo>
                  <a:pt x="5415466" y="2875196"/>
                  <a:pt x="5400656" y="2890081"/>
                  <a:pt x="5400656" y="2908461"/>
                </a:cubicBezTo>
                <a:cubicBezTo>
                  <a:pt x="5400656" y="2926840"/>
                  <a:pt x="5415542" y="2941725"/>
                  <a:pt x="5433921" y="2941725"/>
                </a:cubicBezTo>
                <a:cubicBezTo>
                  <a:pt x="5452300" y="2941725"/>
                  <a:pt x="5467262" y="2926840"/>
                  <a:pt x="5467262" y="2908461"/>
                </a:cubicBezTo>
                <a:moveTo>
                  <a:pt x="5378480" y="2749504"/>
                </a:moveTo>
                <a:cubicBezTo>
                  <a:pt x="5378480" y="2730517"/>
                  <a:pt x="5363062" y="2715100"/>
                  <a:pt x="5344076" y="2715100"/>
                </a:cubicBezTo>
                <a:cubicBezTo>
                  <a:pt x="5325089" y="2715100"/>
                  <a:pt x="5309672" y="2730517"/>
                  <a:pt x="5309672" y="2749504"/>
                </a:cubicBezTo>
                <a:cubicBezTo>
                  <a:pt x="5309672" y="2768491"/>
                  <a:pt x="5325089" y="2783908"/>
                  <a:pt x="5344076" y="2783908"/>
                </a:cubicBezTo>
                <a:cubicBezTo>
                  <a:pt x="5363062" y="2783908"/>
                  <a:pt x="5378480" y="2768491"/>
                  <a:pt x="5378480" y="2749504"/>
                </a:cubicBezTo>
                <a:moveTo>
                  <a:pt x="5280812" y="2595484"/>
                </a:moveTo>
                <a:cubicBezTo>
                  <a:pt x="5280812" y="2576193"/>
                  <a:pt x="5265167" y="2560472"/>
                  <a:pt x="5245800" y="2560472"/>
                </a:cubicBezTo>
                <a:cubicBezTo>
                  <a:pt x="5226434" y="2560472"/>
                  <a:pt x="5210789" y="2576117"/>
                  <a:pt x="5210789" y="2595484"/>
                </a:cubicBezTo>
                <a:cubicBezTo>
                  <a:pt x="5210789" y="2614774"/>
                  <a:pt x="5226434" y="2630495"/>
                  <a:pt x="5245800" y="2630495"/>
                </a:cubicBezTo>
                <a:cubicBezTo>
                  <a:pt x="5265167" y="2630419"/>
                  <a:pt x="5280812" y="2614774"/>
                  <a:pt x="5280812" y="2595484"/>
                </a:cubicBezTo>
                <a:moveTo>
                  <a:pt x="5175170" y="2446856"/>
                </a:moveTo>
                <a:cubicBezTo>
                  <a:pt x="5175170" y="2427261"/>
                  <a:pt x="5159221" y="2411313"/>
                  <a:pt x="5139627" y="2411313"/>
                </a:cubicBezTo>
                <a:cubicBezTo>
                  <a:pt x="5119957" y="2411313"/>
                  <a:pt x="5104084" y="2427261"/>
                  <a:pt x="5104084" y="2446856"/>
                </a:cubicBezTo>
                <a:cubicBezTo>
                  <a:pt x="5104084" y="2466526"/>
                  <a:pt x="5119957" y="2482399"/>
                  <a:pt x="5139627" y="2482399"/>
                </a:cubicBezTo>
                <a:cubicBezTo>
                  <a:pt x="5159297" y="2482399"/>
                  <a:pt x="5175170" y="2466450"/>
                  <a:pt x="5175170" y="2446856"/>
                </a:cubicBezTo>
                <a:moveTo>
                  <a:pt x="5061857" y="2304000"/>
                </a:moveTo>
                <a:cubicBezTo>
                  <a:pt x="5061857" y="2284026"/>
                  <a:pt x="5045681" y="2267849"/>
                  <a:pt x="5025707" y="2267849"/>
                </a:cubicBezTo>
                <a:cubicBezTo>
                  <a:pt x="5005732" y="2267849"/>
                  <a:pt x="4989556" y="2284026"/>
                  <a:pt x="4989556" y="2304000"/>
                </a:cubicBezTo>
                <a:cubicBezTo>
                  <a:pt x="4989556" y="2323974"/>
                  <a:pt x="5005732" y="2340150"/>
                  <a:pt x="5025707" y="2340150"/>
                </a:cubicBezTo>
                <a:cubicBezTo>
                  <a:pt x="5045681" y="2340150"/>
                  <a:pt x="5061857" y="2323974"/>
                  <a:pt x="5061857" y="2304000"/>
                </a:cubicBezTo>
                <a:moveTo>
                  <a:pt x="4941178" y="2167447"/>
                </a:moveTo>
                <a:cubicBezTo>
                  <a:pt x="4941178" y="2147169"/>
                  <a:pt x="4924773" y="2130765"/>
                  <a:pt x="4904496" y="2130765"/>
                </a:cubicBezTo>
                <a:cubicBezTo>
                  <a:pt x="4884218" y="2130765"/>
                  <a:pt x="4867813" y="2147169"/>
                  <a:pt x="4867813" y="2167447"/>
                </a:cubicBezTo>
                <a:cubicBezTo>
                  <a:pt x="4867813" y="2187725"/>
                  <a:pt x="4884218" y="2204129"/>
                  <a:pt x="4904496" y="2204129"/>
                </a:cubicBezTo>
                <a:cubicBezTo>
                  <a:pt x="4924773" y="2204129"/>
                  <a:pt x="4941178" y="2187725"/>
                  <a:pt x="4941178" y="2167447"/>
                </a:cubicBezTo>
                <a:moveTo>
                  <a:pt x="4812903" y="2037426"/>
                </a:moveTo>
                <a:cubicBezTo>
                  <a:pt x="4812903" y="2017148"/>
                  <a:pt x="4796499" y="2000744"/>
                  <a:pt x="4776221" y="2000744"/>
                </a:cubicBezTo>
                <a:cubicBezTo>
                  <a:pt x="4755943" y="2000744"/>
                  <a:pt x="4739539" y="2017148"/>
                  <a:pt x="4739539" y="2037426"/>
                </a:cubicBezTo>
                <a:cubicBezTo>
                  <a:pt x="4739539" y="2057704"/>
                  <a:pt x="4755943" y="2074108"/>
                  <a:pt x="4776221" y="2074108"/>
                </a:cubicBezTo>
                <a:cubicBezTo>
                  <a:pt x="4796423" y="2074108"/>
                  <a:pt x="4812903" y="2057704"/>
                  <a:pt x="4812903" y="2037426"/>
                </a:cubicBezTo>
                <a:moveTo>
                  <a:pt x="4677338" y="1914392"/>
                </a:moveTo>
                <a:cubicBezTo>
                  <a:pt x="4677338" y="1894418"/>
                  <a:pt x="4661162" y="1878241"/>
                  <a:pt x="4641188" y="1878241"/>
                </a:cubicBezTo>
                <a:cubicBezTo>
                  <a:pt x="4621214" y="1878241"/>
                  <a:pt x="4605037" y="1894418"/>
                  <a:pt x="4605037" y="1914392"/>
                </a:cubicBezTo>
                <a:cubicBezTo>
                  <a:pt x="4605037" y="1934366"/>
                  <a:pt x="4621214" y="1950543"/>
                  <a:pt x="4641188" y="1950543"/>
                </a:cubicBezTo>
                <a:cubicBezTo>
                  <a:pt x="4661162" y="1950467"/>
                  <a:pt x="4677338" y="1934290"/>
                  <a:pt x="4677338" y="1914392"/>
                </a:cubicBezTo>
                <a:moveTo>
                  <a:pt x="4536001" y="1798573"/>
                </a:moveTo>
                <a:cubicBezTo>
                  <a:pt x="4536001" y="1778599"/>
                  <a:pt x="4519825" y="1762499"/>
                  <a:pt x="4499851" y="1762499"/>
                </a:cubicBezTo>
                <a:cubicBezTo>
                  <a:pt x="4479877" y="1762499"/>
                  <a:pt x="4463700" y="1778675"/>
                  <a:pt x="4463700" y="1798573"/>
                </a:cubicBezTo>
                <a:cubicBezTo>
                  <a:pt x="4463700" y="1818547"/>
                  <a:pt x="4479877" y="1834724"/>
                  <a:pt x="4499851" y="1834724"/>
                </a:cubicBezTo>
                <a:cubicBezTo>
                  <a:pt x="4519825" y="1834724"/>
                  <a:pt x="4536001" y="1818547"/>
                  <a:pt x="4536001" y="1798573"/>
                </a:cubicBezTo>
                <a:moveTo>
                  <a:pt x="4388285" y="1690501"/>
                </a:moveTo>
                <a:cubicBezTo>
                  <a:pt x="4388285" y="1670831"/>
                  <a:pt x="4372336" y="1654958"/>
                  <a:pt x="4352742" y="1654958"/>
                </a:cubicBezTo>
                <a:cubicBezTo>
                  <a:pt x="4333071" y="1654958"/>
                  <a:pt x="4317199" y="1670907"/>
                  <a:pt x="4317199" y="1690501"/>
                </a:cubicBezTo>
                <a:cubicBezTo>
                  <a:pt x="4317199" y="1710171"/>
                  <a:pt x="4333147" y="1726044"/>
                  <a:pt x="4352742" y="1726044"/>
                </a:cubicBezTo>
                <a:cubicBezTo>
                  <a:pt x="4372336" y="1726044"/>
                  <a:pt x="4388285" y="1710095"/>
                  <a:pt x="4388285" y="1690501"/>
                </a:cubicBezTo>
                <a:moveTo>
                  <a:pt x="4234416" y="1590251"/>
                </a:moveTo>
                <a:cubicBezTo>
                  <a:pt x="4234416" y="1571264"/>
                  <a:pt x="4218999" y="1555847"/>
                  <a:pt x="4200013" y="1555847"/>
                </a:cubicBezTo>
                <a:cubicBezTo>
                  <a:pt x="4181026" y="1555847"/>
                  <a:pt x="4165608" y="1571264"/>
                  <a:pt x="4165608" y="1590251"/>
                </a:cubicBezTo>
                <a:cubicBezTo>
                  <a:pt x="4165608" y="1609238"/>
                  <a:pt x="4181026" y="1624655"/>
                  <a:pt x="4200013" y="1624655"/>
                </a:cubicBezTo>
                <a:cubicBezTo>
                  <a:pt x="4218999" y="1624655"/>
                  <a:pt x="4234416" y="1609238"/>
                  <a:pt x="4234416" y="1590251"/>
                </a:cubicBezTo>
                <a:moveTo>
                  <a:pt x="4075536" y="1498203"/>
                </a:moveTo>
                <a:cubicBezTo>
                  <a:pt x="4075536" y="1479824"/>
                  <a:pt x="4060650" y="1464939"/>
                  <a:pt x="4042271" y="1464939"/>
                </a:cubicBezTo>
                <a:cubicBezTo>
                  <a:pt x="4023892" y="1464939"/>
                  <a:pt x="4008930" y="1479824"/>
                  <a:pt x="4008930" y="1498203"/>
                </a:cubicBezTo>
                <a:cubicBezTo>
                  <a:pt x="4008930" y="1516583"/>
                  <a:pt x="4023816" y="1531468"/>
                  <a:pt x="4042271" y="1531468"/>
                </a:cubicBezTo>
                <a:cubicBezTo>
                  <a:pt x="4060574" y="1531544"/>
                  <a:pt x="4075536" y="1516583"/>
                  <a:pt x="4075536" y="1498203"/>
                </a:cubicBezTo>
                <a:moveTo>
                  <a:pt x="3911946" y="1414662"/>
                </a:moveTo>
                <a:cubicBezTo>
                  <a:pt x="3911946" y="1396890"/>
                  <a:pt x="3897516" y="1382536"/>
                  <a:pt x="3879745" y="1382536"/>
                </a:cubicBezTo>
                <a:cubicBezTo>
                  <a:pt x="3861973" y="1382536"/>
                  <a:pt x="3847543" y="1396966"/>
                  <a:pt x="3847543" y="1414662"/>
                </a:cubicBezTo>
                <a:cubicBezTo>
                  <a:pt x="3847543" y="1432433"/>
                  <a:pt x="3861973" y="1446863"/>
                  <a:pt x="3879745" y="1446863"/>
                </a:cubicBezTo>
                <a:cubicBezTo>
                  <a:pt x="3897592" y="1446787"/>
                  <a:pt x="3911946" y="1432433"/>
                  <a:pt x="3911946" y="1414662"/>
                </a:cubicBezTo>
                <a:moveTo>
                  <a:pt x="3744255" y="1339778"/>
                </a:moveTo>
                <a:cubicBezTo>
                  <a:pt x="3744255" y="1322614"/>
                  <a:pt x="3730357" y="1308716"/>
                  <a:pt x="3713193" y="1308716"/>
                </a:cubicBezTo>
                <a:cubicBezTo>
                  <a:pt x="3696029" y="1308716"/>
                  <a:pt x="3682131" y="1322614"/>
                  <a:pt x="3682131" y="1339778"/>
                </a:cubicBezTo>
                <a:cubicBezTo>
                  <a:pt x="3682131" y="1356942"/>
                  <a:pt x="3696029" y="1370841"/>
                  <a:pt x="3713193" y="1370841"/>
                </a:cubicBezTo>
                <a:cubicBezTo>
                  <a:pt x="3730357" y="1370841"/>
                  <a:pt x="3744255" y="1356942"/>
                  <a:pt x="3744255" y="1339778"/>
                </a:cubicBezTo>
                <a:moveTo>
                  <a:pt x="3572767" y="1273781"/>
                </a:moveTo>
                <a:cubicBezTo>
                  <a:pt x="3572767" y="1257300"/>
                  <a:pt x="3559401" y="1243857"/>
                  <a:pt x="3542844" y="1243857"/>
                </a:cubicBezTo>
                <a:cubicBezTo>
                  <a:pt x="3526364" y="1243857"/>
                  <a:pt x="3512921" y="1257224"/>
                  <a:pt x="3512921" y="1273781"/>
                </a:cubicBezTo>
                <a:cubicBezTo>
                  <a:pt x="3512921" y="1290337"/>
                  <a:pt x="3526288" y="1303704"/>
                  <a:pt x="3542844" y="1303704"/>
                </a:cubicBezTo>
                <a:cubicBezTo>
                  <a:pt x="3559401" y="1303704"/>
                  <a:pt x="3572767" y="1290337"/>
                  <a:pt x="3572767" y="1273781"/>
                </a:cubicBezTo>
                <a:moveTo>
                  <a:pt x="3398090" y="1216896"/>
                </a:moveTo>
                <a:cubicBezTo>
                  <a:pt x="3398090" y="1201023"/>
                  <a:pt x="3385179" y="1188113"/>
                  <a:pt x="3369306" y="1188113"/>
                </a:cubicBezTo>
                <a:cubicBezTo>
                  <a:pt x="3353433" y="1188113"/>
                  <a:pt x="3340522" y="1201023"/>
                  <a:pt x="3340522" y="1216896"/>
                </a:cubicBezTo>
                <a:cubicBezTo>
                  <a:pt x="3340522" y="1232769"/>
                  <a:pt x="3353433" y="1245680"/>
                  <a:pt x="3369306" y="1245680"/>
                </a:cubicBezTo>
                <a:cubicBezTo>
                  <a:pt x="3385179" y="1245680"/>
                  <a:pt x="3398090" y="1232769"/>
                  <a:pt x="3398090" y="1216896"/>
                </a:cubicBezTo>
                <a:moveTo>
                  <a:pt x="3220070" y="1169202"/>
                </a:moveTo>
                <a:cubicBezTo>
                  <a:pt x="3220070" y="1154240"/>
                  <a:pt x="3207919" y="1142089"/>
                  <a:pt x="3192957" y="1142089"/>
                </a:cubicBezTo>
                <a:cubicBezTo>
                  <a:pt x="3177996" y="1142089"/>
                  <a:pt x="3165844" y="1154240"/>
                  <a:pt x="3165844" y="1169202"/>
                </a:cubicBezTo>
                <a:cubicBezTo>
                  <a:pt x="3165844" y="1184163"/>
                  <a:pt x="3177996" y="1196315"/>
                  <a:pt x="3192957" y="1196315"/>
                </a:cubicBezTo>
                <a:cubicBezTo>
                  <a:pt x="3207919" y="1196315"/>
                  <a:pt x="3220070" y="1184163"/>
                  <a:pt x="3220070" y="1169202"/>
                </a:cubicBezTo>
                <a:moveTo>
                  <a:pt x="3039773" y="1130925"/>
                </a:moveTo>
                <a:cubicBezTo>
                  <a:pt x="3039773" y="1116874"/>
                  <a:pt x="3028380" y="1105558"/>
                  <a:pt x="3014406" y="1105558"/>
                </a:cubicBezTo>
                <a:cubicBezTo>
                  <a:pt x="3000356" y="1105558"/>
                  <a:pt x="2989040" y="1116950"/>
                  <a:pt x="2989040" y="1130925"/>
                </a:cubicBezTo>
                <a:cubicBezTo>
                  <a:pt x="2989040" y="1144975"/>
                  <a:pt x="3000432" y="1156291"/>
                  <a:pt x="3014406" y="1156291"/>
                </a:cubicBezTo>
                <a:cubicBezTo>
                  <a:pt x="3028380" y="1156367"/>
                  <a:pt x="3039773" y="1144975"/>
                  <a:pt x="3039773" y="1130925"/>
                </a:cubicBezTo>
                <a:moveTo>
                  <a:pt x="2857728" y="1102141"/>
                </a:moveTo>
                <a:cubicBezTo>
                  <a:pt x="2857728" y="1089078"/>
                  <a:pt x="2847095" y="1078445"/>
                  <a:pt x="2834033" y="1078445"/>
                </a:cubicBezTo>
                <a:cubicBezTo>
                  <a:pt x="2820970" y="1078445"/>
                  <a:pt x="2810337" y="1089078"/>
                  <a:pt x="2810337" y="1102141"/>
                </a:cubicBezTo>
                <a:cubicBezTo>
                  <a:pt x="2810337" y="1115203"/>
                  <a:pt x="2820970" y="1125836"/>
                  <a:pt x="2834033" y="1125836"/>
                </a:cubicBezTo>
                <a:cubicBezTo>
                  <a:pt x="2847095" y="1125836"/>
                  <a:pt x="2857728" y="1115203"/>
                  <a:pt x="2857728" y="1102141"/>
                </a:cubicBezTo>
                <a:moveTo>
                  <a:pt x="2674392" y="1082850"/>
                </a:moveTo>
                <a:cubicBezTo>
                  <a:pt x="2674392" y="1070699"/>
                  <a:pt x="2664519" y="1060826"/>
                  <a:pt x="2652368" y="1060826"/>
                </a:cubicBezTo>
                <a:cubicBezTo>
                  <a:pt x="2640216" y="1060826"/>
                  <a:pt x="2630343" y="1070699"/>
                  <a:pt x="2630343" y="1082850"/>
                </a:cubicBezTo>
                <a:cubicBezTo>
                  <a:pt x="2630343" y="1095002"/>
                  <a:pt x="2640216" y="1104875"/>
                  <a:pt x="2652368" y="1104875"/>
                </a:cubicBezTo>
                <a:cubicBezTo>
                  <a:pt x="2664519" y="1104875"/>
                  <a:pt x="2674392" y="1095002"/>
                  <a:pt x="2674392" y="1082850"/>
                </a:cubicBezTo>
                <a:moveTo>
                  <a:pt x="2489690" y="1073205"/>
                </a:moveTo>
                <a:cubicBezTo>
                  <a:pt x="2489690" y="1062269"/>
                  <a:pt x="2480804" y="1053459"/>
                  <a:pt x="2469943" y="1053459"/>
                </a:cubicBezTo>
                <a:cubicBezTo>
                  <a:pt x="2459007" y="1053459"/>
                  <a:pt x="2450197" y="1062269"/>
                  <a:pt x="2450197" y="1073205"/>
                </a:cubicBezTo>
                <a:cubicBezTo>
                  <a:pt x="2450197" y="1084141"/>
                  <a:pt x="2459007" y="1092951"/>
                  <a:pt x="2469943" y="1092951"/>
                </a:cubicBezTo>
                <a:cubicBezTo>
                  <a:pt x="2480880" y="1092951"/>
                  <a:pt x="2489690" y="1084141"/>
                  <a:pt x="2489690" y="1073205"/>
                </a:cubicBezTo>
                <a:moveTo>
                  <a:pt x="2305366" y="1073205"/>
                </a:moveTo>
                <a:cubicBezTo>
                  <a:pt x="2305366" y="1063256"/>
                  <a:pt x="2297316" y="1055130"/>
                  <a:pt x="2287291" y="1055130"/>
                </a:cubicBezTo>
                <a:cubicBezTo>
                  <a:pt x="2277266" y="1055130"/>
                  <a:pt x="2269216" y="1063256"/>
                  <a:pt x="2269216" y="1073205"/>
                </a:cubicBezTo>
                <a:cubicBezTo>
                  <a:pt x="2269216" y="1083154"/>
                  <a:pt x="2277342" y="1091280"/>
                  <a:pt x="2287291" y="1091280"/>
                </a:cubicBezTo>
                <a:cubicBezTo>
                  <a:pt x="2297240" y="1091280"/>
                  <a:pt x="2305366" y="1083230"/>
                  <a:pt x="2305366" y="1073205"/>
                </a:cubicBezTo>
                <a:moveTo>
                  <a:pt x="2121271" y="1082850"/>
                </a:moveTo>
                <a:cubicBezTo>
                  <a:pt x="2121271" y="1073812"/>
                  <a:pt x="2113905" y="1066522"/>
                  <a:pt x="2104943" y="1066522"/>
                </a:cubicBezTo>
                <a:cubicBezTo>
                  <a:pt x="2095905" y="1066522"/>
                  <a:pt x="2088538" y="1073888"/>
                  <a:pt x="2088538" y="1082850"/>
                </a:cubicBezTo>
                <a:cubicBezTo>
                  <a:pt x="2088538" y="1091888"/>
                  <a:pt x="2095905" y="1099255"/>
                  <a:pt x="2104943" y="1099255"/>
                </a:cubicBezTo>
                <a:cubicBezTo>
                  <a:pt x="2113905" y="1099255"/>
                  <a:pt x="2121271" y="1091888"/>
                  <a:pt x="2121271" y="1082850"/>
                </a:cubicBezTo>
                <a:moveTo>
                  <a:pt x="1937936" y="1102141"/>
                </a:moveTo>
                <a:cubicBezTo>
                  <a:pt x="1937936" y="1094014"/>
                  <a:pt x="1931404" y="1087483"/>
                  <a:pt x="1923278" y="1087483"/>
                </a:cubicBezTo>
                <a:cubicBezTo>
                  <a:pt x="1915152" y="1087483"/>
                  <a:pt x="1908620" y="1094090"/>
                  <a:pt x="1908620" y="1102141"/>
                </a:cubicBezTo>
                <a:cubicBezTo>
                  <a:pt x="1908620" y="1110267"/>
                  <a:pt x="1915152" y="1116798"/>
                  <a:pt x="1923278" y="1116798"/>
                </a:cubicBezTo>
                <a:cubicBezTo>
                  <a:pt x="1931328" y="1116798"/>
                  <a:pt x="1937936" y="1110191"/>
                  <a:pt x="1937936" y="1102141"/>
                </a:cubicBezTo>
                <a:moveTo>
                  <a:pt x="1755283" y="1130925"/>
                </a:moveTo>
                <a:cubicBezTo>
                  <a:pt x="1755283" y="1124089"/>
                  <a:pt x="1749739" y="1118545"/>
                  <a:pt x="1742828" y="1118545"/>
                </a:cubicBezTo>
                <a:cubicBezTo>
                  <a:pt x="1735993" y="1118545"/>
                  <a:pt x="1730449" y="1124089"/>
                  <a:pt x="1730449" y="1130925"/>
                </a:cubicBezTo>
                <a:cubicBezTo>
                  <a:pt x="1730449" y="1137760"/>
                  <a:pt x="1735993" y="1143380"/>
                  <a:pt x="1742828" y="1143380"/>
                </a:cubicBezTo>
                <a:cubicBezTo>
                  <a:pt x="1749739" y="1143380"/>
                  <a:pt x="1755283" y="1137760"/>
                  <a:pt x="1755283" y="1130925"/>
                </a:cubicBezTo>
                <a:moveTo>
                  <a:pt x="1574986" y="1169202"/>
                </a:moveTo>
                <a:cubicBezTo>
                  <a:pt x="1574986" y="1163278"/>
                  <a:pt x="1570201" y="1158493"/>
                  <a:pt x="1564277" y="1158493"/>
                </a:cubicBezTo>
                <a:cubicBezTo>
                  <a:pt x="1558353" y="1158493"/>
                  <a:pt x="1553569" y="1163278"/>
                  <a:pt x="1553569" y="1169202"/>
                </a:cubicBezTo>
                <a:cubicBezTo>
                  <a:pt x="1553569" y="1175126"/>
                  <a:pt x="1558353" y="1179910"/>
                  <a:pt x="1564277" y="1179910"/>
                </a:cubicBezTo>
                <a:cubicBezTo>
                  <a:pt x="1570201" y="1179910"/>
                  <a:pt x="1574986" y="1175126"/>
                  <a:pt x="1574986" y="1169202"/>
                </a:cubicBezTo>
                <a:moveTo>
                  <a:pt x="1396966" y="1216896"/>
                </a:moveTo>
                <a:cubicBezTo>
                  <a:pt x="1396966" y="1211884"/>
                  <a:pt x="1392941" y="1207859"/>
                  <a:pt x="1387929" y="1207859"/>
                </a:cubicBezTo>
                <a:cubicBezTo>
                  <a:pt x="1382916" y="1207859"/>
                  <a:pt x="1378891" y="1211884"/>
                  <a:pt x="1378891" y="1216896"/>
                </a:cubicBezTo>
                <a:cubicBezTo>
                  <a:pt x="1378891" y="1221909"/>
                  <a:pt x="1382916" y="1225934"/>
                  <a:pt x="1387929" y="1225934"/>
                </a:cubicBezTo>
                <a:cubicBezTo>
                  <a:pt x="1392941" y="1225934"/>
                  <a:pt x="1396966" y="1221833"/>
                  <a:pt x="1396966" y="1216896"/>
                </a:cubicBezTo>
                <a:moveTo>
                  <a:pt x="1222289" y="1273781"/>
                </a:moveTo>
                <a:cubicBezTo>
                  <a:pt x="1222289" y="1269452"/>
                  <a:pt x="1218719" y="1265882"/>
                  <a:pt x="1214390" y="1265882"/>
                </a:cubicBezTo>
                <a:cubicBezTo>
                  <a:pt x="1210061" y="1265882"/>
                  <a:pt x="1206492" y="1269452"/>
                  <a:pt x="1206492" y="1273781"/>
                </a:cubicBezTo>
                <a:cubicBezTo>
                  <a:pt x="1206492" y="1278109"/>
                  <a:pt x="1210061" y="1281679"/>
                  <a:pt x="1214390" y="1281679"/>
                </a:cubicBezTo>
                <a:cubicBezTo>
                  <a:pt x="1218719" y="1281679"/>
                  <a:pt x="1222289" y="1278109"/>
                  <a:pt x="1222289" y="1273781"/>
                </a:cubicBezTo>
                <a:moveTo>
                  <a:pt x="1050269" y="1339778"/>
                </a:moveTo>
                <a:cubicBezTo>
                  <a:pt x="1050269" y="1336361"/>
                  <a:pt x="1047459" y="1333551"/>
                  <a:pt x="1044041" y="1333551"/>
                </a:cubicBezTo>
                <a:cubicBezTo>
                  <a:pt x="1040624" y="1333551"/>
                  <a:pt x="1037814" y="1336361"/>
                  <a:pt x="1037814" y="1339778"/>
                </a:cubicBezTo>
                <a:cubicBezTo>
                  <a:pt x="1037814" y="1343196"/>
                  <a:pt x="1040548" y="1346006"/>
                  <a:pt x="1044041" y="1346006"/>
                </a:cubicBezTo>
                <a:cubicBezTo>
                  <a:pt x="1047459" y="1346006"/>
                  <a:pt x="1050269" y="1343196"/>
                  <a:pt x="1050269" y="1339778"/>
                </a:cubicBezTo>
                <a:moveTo>
                  <a:pt x="882578" y="1414662"/>
                </a:moveTo>
                <a:cubicBezTo>
                  <a:pt x="882578" y="1411852"/>
                  <a:pt x="880300" y="1409574"/>
                  <a:pt x="877490" y="1409574"/>
                </a:cubicBezTo>
                <a:cubicBezTo>
                  <a:pt x="874680" y="1409574"/>
                  <a:pt x="872401" y="1411852"/>
                  <a:pt x="872401" y="1414662"/>
                </a:cubicBezTo>
                <a:cubicBezTo>
                  <a:pt x="872401" y="1417472"/>
                  <a:pt x="874680" y="1419750"/>
                  <a:pt x="877490" y="1419750"/>
                </a:cubicBezTo>
                <a:cubicBezTo>
                  <a:pt x="880300" y="1419750"/>
                  <a:pt x="882578" y="1417472"/>
                  <a:pt x="882578" y="1414662"/>
                </a:cubicBezTo>
                <a:moveTo>
                  <a:pt x="718989" y="1498203"/>
                </a:moveTo>
                <a:cubicBezTo>
                  <a:pt x="718989" y="1496001"/>
                  <a:pt x="717242" y="1494254"/>
                  <a:pt x="715040" y="1494254"/>
                </a:cubicBezTo>
                <a:cubicBezTo>
                  <a:pt x="712837" y="1494254"/>
                  <a:pt x="711090" y="1496001"/>
                  <a:pt x="711090" y="1498203"/>
                </a:cubicBezTo>
                <a:cubicBezTo>
                  <a:pt x="711090" y="1500406"/>
                  <a:pt x="712837" y="1502153"/>
                  <a:pt x="715040" y="1502153"/>
                </a:cubicBezTo>
                <a:cubicBezTo>
                  <a:pt x="717242" y="1502153"/>
                  <a:pt x="718989" y="1500406"/>
                  <a:pt x="718989" y="1498203"/>
                </a:cubicBezTo>
                <a:moveTo>
                  <a:pt x="560108" y="1590251"/>
                </a:moveTo>
                <a:cubicBezTo>
                  <a:pt x="560108" y="1588732"/>
                  <a:pt x="558817" y="1587441"/>
                  <a:pt x="557298" y="1587441"/>
                </a:cubicBezTo>
                <a:cubicBezTo>
                  <a:pt x="555703" y="1587441"/>
                  <a:pt x="554488" y="1588732"/>
                  <a:pt x="554488" y="1590251"/>
                </a:cubicBezTo>
                <a:cubicBezTo>
                  <a:pt x="554488" y="1591846"/>
                  <a:pt x="555779" y="1593061"/>
                  <a:pt x="557298" y="1593061"/>
                </a:cubicBezTo>
                <a:cubicBezTo>
                  <a:pt x="558817" y="1593061"/>
                  <a:pt x="560108" y="1591770"/>
                  <a:pt x="560108" y="1590251"/>
                </a:cubicBezTo>
                <a:moveTo>
                  <a:pt x="406847" y="1690501"/>
                </a:moveTo>
                <a:cubicBezTo>
                  <a:pt x="406847" y="1689286"/>
                  <a:pt x="405860" y="1688222"/>
                  <a:pt x="404569" y="1688222"/>
                </a:cubicBezTo>
                <a:cubicBezTo>
                  <a:pt x="403278" y="1688222"/>
                  <a:pt x="402290" y="1689210"/>
                  <a:pt x="402290" y="1690501"/>
                </a:cubicBezTo>
                <a:cubicBezTo>
                  <a:pt x="402290" y="1691716"/>
                  <a:pt x="403278" y="1692779"/>
                  <a:pt x="404569" y="1692779"/>
                </a:cubicBezTo>
                <a:cubicBezTo>
                  <a:pt x="405860" y="1692779"/>
                  <a:pt x="406847" y="1691716"/>
                  <a:pt x="406847" y="1690501"/>
                </a:cubicBezTo>
                <a:moveTo>
                  <a:pt x="258447" y="1798573"/>
                </a:moveTo>
                <a:cubicBezTo>
                  <a:pt x="258447" y="1797966"/>
                  <a:pt x="257915" y="1797434"/>
                  <a:pt x="257308" y="1797434"/>
                </a:cubicBezTo>
                <a:cubicBezTo>
                  <a:pt x="256700" y="1797434"/>
                  <a:pt x="256169" y="1797966"/>
                  <a:pt x="256169" y="1798573"/>
                </a:cubicBezTo>
                <a:cubicBezTo>
                  <a:pt x="256169" y="1799181"/>
                  <a:pt x="256700" y="1799712"/>
                  <a:pt x="257308" y="1799712"/>
                </a:cubicBezTo>
                <a:cubicBezTo>
                  <a:pt x="257991" y="1799712"/>
                  <a:pt x="258447" y="1799257"/>
                  <a:pt x="258447" y="1798573"/>
                </a:cubicBezTo>
                <a:moveTo>
                  <a:pt x="5243902" y="6815926"/>
                </a:moveTo>
                <a:cubicBezTo>
                  <a:pt x="5243902" y="6815318"/>
                  <a:pt x="5243370" y="6814787"/>
                  <a:pt x="5242763" y="6814787"/>
                </a:cubicBezTo>
                <a:cubicBezTo>
                  <a:pt x="5242155" y="6814787"/>
                  <a:pt x="5241623" y="6815318"/>
                  <a:pt x="5241623" y="6815926"/>
                </a:cubicBezTo>
                <a:cubicBezTo>
                  <a:pt x="5241623" y="6816533"/>
                  <a:pt x="5242155" y="6817065"/>
                  <a:pt x="5242763" y="6817065"/>
                </a:cubicBezTo>
                <a:cubicBezTo>
                  <a:pt x="5243370" y="6817065"/>
                  <a:pt x="5243902" y="6816533"/>
                  <a:pt x="5243902" y="6815926"/>
                </a:cubicBezTo>
                <a:moveTo>
                  <a:pt x="5354708" y="6670336"/>
                </a:moveTo>
                <a:cubicBezTo>
                  <a:pt x="5354708" y="6669424"/>
                  <a:pt x="5353949" y="6668665"/>
                  <a:pt x="5353038" y="6668665"/>
                </a:cubicBezTo>
                <a:cubicBezTo>
                  <a:pt x="5352126" y="6668665"/>
                  <a:pt x="5351367" y="6669424"/>
                  <a:pt x="5351367" y="6670336"/>
                </a:cubicBezTo>
                <a:cubicBezTo>
                  <a:pt x="5351367" y="6671247"/>
                  <a:pt x="5352126" y="6672007"/>
                  <a:pt x="5353038" y="6672007"/>
                </a:cubicBezTo>
                <a:cubicBezTo>
                  <a:pt x="5353949" y="6672007"/>
                  <a:pt x="5354708" y="6671247"/>
                  <a:pt x="5354708" y="6670336"/>
                </a:cubicBezTo>
                <a:moveTo>
                  <a:pt x="5458756" y="6519429"/>
                </a:moveTo>
                <a:cubicBezTo>
                  <a:pt x="5458756" y="6517834"/>
                  <a:pt x="5457465" y="6516619"/>
                  <a:pt x="5455946" y="6516619"/>
                </a:cubicBezTo>
                <a:cubicBezTo>
                  <a:pt x="5454427" y="6516619"/>
                  <a:pt x="5453136" y="6517910"/>
                  <a:pt x="5453136" y="6519429"/>
                </a:cubicBezTo>
                <a:cubicBezTo>
                  <a:pt x="5453136" y="6521024"/>
                  <a:pt x="5454427" y="6522239"/>
                  <a:pt x="5455946" y="6522239"/>
                </a:cubicBezTo>
                <a:cubicBezTo>
                  <a:pt x="5457465" y="6522239"/>
                  <a:pt x="5458756" y="6520948"/>
                  <a:pt x="5458756" y="6519429"/>
                </a:cubicBezTo>
                <a:moveTo>
                  <a:pt x="5555132" y="6363511"/>
                </a:moveTo>
                <a:cubicBezTo>
                  <a:pt x="5555132" y="6361308"/>
                  <a:pt x="5553385" y="6359561"/>
                  <a:pt x="5551183" y="6359561"/>
                </a:cubicBezTo>
                <a:cubicBezTo>
                  <a:pt x="5548980" y="6359561"/>
                  <a:pt x="5547233" y="6361308"/>
                  <a:pt x="5547233" y="6363511"/>
                </a:cubicBezTo>
                <a:cubicBezTo>
                  <a:pt x="5547233" y="6365713"/>
                  <a:pt x="5548980" y="6367459"/>
                  <a:pt x="5551183" y="6367459"/>
                </a:cubicBezTo>
                <a:cubicBezTo>
                  <a:pt x="5553385" y="6367459"/>
                  <a:pt x="5555132" y="6365713"/>
                  <a:pt x="5555132" y="6363511"/>
                </a:cubicBezTo>
                <a:moveTo>
                  <a:pt x="5643610" y="6203110"/>
                </a:moveTo>
                <a:cubicBezTo>
                  <a:pt x="5643610" y="6200300"/>
                  <a:pt x="5641332" y="6198022"/>
                  <a:pt x="5638522" y="6198022"/>
                </a:cubicBezTo>
                <a:cubicBezTo>
                  <a:pt x="5635712" y="6198022"/>
                  <a:pt x="5633433" y="6200300"/>
                  <a:pt x="5633433" y="6203110"/>
                </a:cubicBezTo>
                <a:cubicBezTo>
                  <a:pt x="5633433" y="6205921"/>
                  <a:pt x="5635712" y="6208199"/>
                  <a:pt x="5638522" y="6208199"/>
                </a:cubicBezTo>
                <a:cubicBezTo>
                  <a:pt x="5641332" y="6208199"/>
                  <a:pt x="5643610" y="6205921"/>
                  <a:pt x="5643610" y="6203110"/>
                </a:cubicBezTo>
                <a:moveTo>
                  <a:pt x="5724038" y="6038534"/>
                </a:moveTo>
                <a:cubicBezTo>
                  <a:pt x="5724038" y="6035116"/>
                  <a:pt x="5721228" y="6032306"/>
                  <a:pt x="5717810" y="6032306"/>
                </a:cubicBezTo>
                <a:cubicBezTo>
                  <a:pt x="5714392" y="6032306"/>
                  <a:pt x="5711582" y="6035116"/>
                  <a:pt x="5711582" y="6038534"/>
                </a:cubicBezTo>
                <a:cubicBezTo>
                  <a:pt x="5711582" y="6041951"/>
                  <a:pt x="5714316" y="6044761"/>
                  <a:pt x="5717810" y="6044761"/>
                </a:cubicBezTo>
                <a:cubicBezTo>
                  <a:pt x="5721228" y="6044761"/>
                  <a:pt x="5724038" y="6041951"/>
                  <a:pt x="5724038" y="6038534"/>
                </a:cubicBezTo>
                <a:moveTo>
                  <a:pt x="5796643" y="5870236"/>
                </a:moveTo>
                <a:cubicBezTo>
                  <a:pt x="5796643" y="5865907"/>
                  <a:pt x="5793074" y="5862337"/>
                  <a:pt x="5788745" y="5862337"/>
                </a:cubicBezTo>
                <a:cubicBezTo>
                  <a:pt x="5784416" y="5862337"/>
                  <a:pt x="5780846" y="5865907"/>
                  <a:pt x="5780846" y="5870236"/>
                </a:cubicBezTo>
                <a:cubicBezTo>
                  <a:pt x="5780846" y="5874565"/>
                  <a:pt x="5784416" y="5878134"/>
                  <a:pt x="5788745" y="5878134"/>
                </a:cubicBezTo>
                <a:cubicBezTo>
                  <a:pt x="5793074" y="5878134"/>
                  <a:pt x="5796643" y="5874565"/>
                  <a:pt x="5796643" y="5870236"/>
                </a:cubicBezTo>
                <a:moveTo>
                  <a:pt x="5860287" y="5698596"/>
                </a:moveTo>
                <a:cubicBezTo>
                  <a:pt x="5860287" y="5693583"/>
                  <a:pt x="5856261" y="5689558"/>
                  <a:pt x="5851249" y="5689558"/>
                </a:cubicBezTo>
                <a:cubicBezTo>
                  <a:pt x="5846237" y="5689558"/>
                  <a:pt x="5842211" y="5693583"/>
                  <a:pt x="5842211" y="5698596"/>
                </a:cubicBezTo>
                <a:cubicBezTo>
                  <a:pt x="5842211" y="5703608"/>
                  <a:pt x="5846237" y="5707633"/>
                  <a:pt x="5851249" y="5707633"/>
                </a:cubicBezTo>
                <a:cubicBezTo>
                  <a:pt x="5856261" y="5707633"/>
                  <a:pt x="5860287" y="5703608"/>
                  <a:pt x="5860287" y="5698596"/>
                </a:cubicBezTo>
                <a:moveTo>
                  <a:pt x="5915804" y="5524070"/>
                </a:moveTo>
                <a:cubicBezTo>
                  <a:pt x="5915804" y="5518146"/>
                  <a:pt x="5911019" y="5513362"/>
                  <a:pt x="5905095" y="5513362"/>
                </a:cubicBezTo>
                <a:cubicBezTo>
                  <a:pt x="5899171" y="5513362"/>
                  <a:pt x="5894387" y="5518146"/>
                  <a:pt x="5894387" y="5524070"/>
                </a:cubicBezTo>
                <a:cubicBezTo>
                  <a:pt x="5894387" y="5529994"/>
                  <a:pt x="5899171" y="5534778"/>
                  <a:pt x="5905095" y="5534778"/>
                </a:cubicBezTo>
                <a:cubicBezTo>
                  <a:pt x="5911019" y="5534778"/>
                  <a:pt x="5915804" y="5529994"/>
                  <a:pt x="5915804" y="5524070"/>
                </a:cubicBezTo>
                <a:moveTo>
                  <a:pt x="5962587" y="5347038"/>
                </a:moveTo>
                <a:cubicBezTo>
                  <a:pt x="5962587" y="5340202"/>
                  <a:pt x="5957043" y="5334582"/>
                  <a:pt x="5950132" y="5334582"/>
                </a:cubicBezTo>
                <a:cubicBezTo>
                  <a:pt x="5943296" y="5334582"/>
                  <a:pt x="5937676" y="5340127"/>
                  <a:pt x="5937676" y="5347038"/>
                </a:cubicBezTo>
                <a:cubicBezTo>
                  <a:pt x="5937676" y="5353873"/>
                  <a:pt x="5943220" y="5359493"/>
                  <a:pt x="5950132" y="5359493"/>
                </a:cubicBezTo>
                <a:cubicBezTo>
                  <a:pt x="5956967" y="5359417"/>
                  <a:pt x="5962587" y="5353873"/>
                  <a:pt x="5962587" y="5347038"/>
                </a:cubicBezTo>
                <a:moveTo>
                  <a:pt x="6001016" y="5167955"/>
                </a:moveTo>
                <a:cubicBezTo>
                  <a:pt x="6001016" y="5159829"/>
                  <a:pt x="5994484" y="5153297"/>
                  <a:pt x="5986358" y="5153297"/>
                </a:cubicBezTo>
                <a:cubicBezTo>
                  <a:pt x="5978232" y="5153297"/>
                  <a:pt x="5971700" y="5159905"/>
                  <a:pt x="5971700" y="5167955"/>
                </a:cubicBezTo>
                <a:cubicBezTo>
                  <a:pt x="5971700" y="5176081"/>
                  <a:pt x="5978232" y="5182613"/>
                  <a:pt x="5986358" y="5182613"/>
                </a:cubicBezTo>
                <a:cubicBezTo>
                  <a:pt x="5994408" y="5182689"/>
                  <a:pt x="6001016" y="5176081"/>
                  <a:pt x="6001016" y="5167955"/>
                </a:cubicBezTo>
                <a:moveTo>
                  <a:pt x="6029951" y="4987354"/>
                </a:moveTo>
                <a:cubicBezTo>
                  <a:pt x="6029951" y="4978316"/>
                  <a:pt x="6022585" y="4971025"/>
                  <a:pt x="6013623" y="4971025"/>
                </a:cubicBezTo>
                <a:cubicBezTo>
                  <a:pt x="6004586" y="4971025"/>
                  <a:pt x="5997218" y="4978392"/>
                  <a:pt x="5997218" y="4987354"/>
                </a:cubicBezTo>
                <a:cubicBezTo>
                  <a:pt x="5997218" y="4996391"/>
                  <a:pt x="6004509" y="5003758"/>
                  <a:pt x="6013623" y="5003758"/>
                </a:cubicBezTo>
                <a:cubicBezTo>
                  <a:pt x="6022585" y="5003758"/>
                  <a:pt x="6029951" y="4996391"/>
                  <a:pt x="6029951" y="4987354"/>
                </a:cubicBezTo>
                <a:moveTo>
                  <a:pt x="6049774" y="4805613"/>
                </a:moveTo>
                <a:cubicBezTo>
                  <a:pt x="6049774" y="4795664"/>
                  <a:pt x="6041724" y="4787538"/>
                  <a:pt x="6031699" y="4787538"/>
                </a:cubicBezTo>
                <a:cubicBezTo>
                  <a:pt x="6021750" y="4787538"/>
                  <a:pt x="6013623" y="4795664"/>
                  <a:pt x="6013623" y="4805613"/>
                </a:cubicBezTo>
                <a:cubicBezTo>
                  <a:pt x="6013623" y="4815562"/>
                  <a:pt x="6021750" y="4823688"/>
                  <a:pt x="6031699" y="4823688"/>
                </a:cubicBezTo>
                <a:cubicBezTo>
                  <a:pt x="6041724" y="4823688"/>
                  <a:pt x="6049774" y="4815562"/>
                  <a:pt x="6049774" y="4805613"/>
                </a:cubicBezTo>
                <a:moveTo>
                  <a:pt x="6061166" y="4623188"/>
                </a:moveTo>
                <a:cubicBezTo>
                  <a:pt x="6061166" y="4611948"/>
                  <a:pt x="6052052" y="4602911"/>
                  <a:pt x="6040812" y="4602911"/>
                </a:cubicBezTo>
                <a:cubicBezTo>
                  <a:pt x="6029572" y="4602911"/>
                  <a:pt x="6020458" y="4612024"/>
                  <a:pt x="6020458" y="4623188"/>
                </a:cubicBezTo>
                <a:cubicBezTo>
                  <a:pt x="6020458" y="4634428"/>
                  <a:pt x="6029572" y="4643542"/>
                  <a:pt x="6040812" y="4643542"/>
                </a:cubicBezTo>
                <a:cubicBezTo>
                  <a:pt x="6052052" y="4643542"/>
                  <a:pt x="6061166" y="4634428"/>
                  <a:pt x="6061166" y="4623188"/>
                </a:cubicBezTo>
                <a:moveTo>
                  <a:pt x="6062837" y="4440536"/>
                </a:moveTo>
                <a:cubicBezTo>
                  <a:pt x="6062837" y="4428385"/>
                  <a:pt x="6052964" y="4418512"/>
                  <a:pt x="6040812" y="4418512"/>
                </a:cubicBezTo>
                <a:cubicBezTo>
                  <a:pt x="6028661" y="4418512"/>
                  <a:pt x="6018788" y="4428385"/>
                  <a:pt x="6018788" y="4440536"/>
                </a:cubicBezTo>
                <a:cubicBezTo>
                  <a:pt x="6018788" y="4452688"/>
                  <a:pt x="6028661" y="4462561"/>
                  <a:pt x="6040812" y="4462561"/>
                </a:cubicBezTo>
                <a:cubicBezTo>
                  <a:pt x="6052964" y="4462561"/>
                  <a:pt x="6062837" y="4452688"/>
                  <a:pt x="6062837" y="4440536"/>
                </a:cubicBezTo>
                <a:moveTo>
                  <a:pt x="6055470" y="4258112"/>
                </a:moveTo>
                <a:cubicBezTo>
                  <a:pt x="6055470" y="4245049"/>
                  <a:pt x="6044837" y="4234417"/>
                  <a:pt x="6031775" y="4234417"/>
                </a:cubicBezTo>
                <a:cubicBezTo>
                  <a:pt x="6018712" y="4234417"/>
                  <a:pt x="6008079" y="4245049"/>
                  <a:pt x="6008079" y="4258112"/>
                </a:cubicBezTo>
                <a:cubicBezTo>
                  <a:pt x="6008079" y="4271175"/>
                  <a:pt x="6018712" y="4281807"/>
                  <a:pt x="6031775" y="4281807"/>
                </a:cubicBezTo>
                <a:cubicBezTo>
                  <a:pt x="6044837" y="4281807"/>
                  <a:pt x="6055470" y="4271175"/>
                  <a:pt x="6055470" y="4258112"/>
                </a:cubicBezTo>
                <a:moveTo>
                  <a:pt x="6039521" y="4076371"/>
                </a:moveTo>
                <a:cubicBezTo>
                  <a:pt x="6039521" y="4062017"/>
                  <a:pt x="6027901" y="4050397"/>
                  <a:pt x="6013547" y="4050397"/>
                </a:cubicBezTo>
                <a:cubicBezTo>
                  <a:pt x="5999193" y="4050397"/>
                  <a:pt x="5987573" y="4062017"/>
                  <a:pt x="5987573" y="4076371"/>
                </a:cubicBezTo>
                <a:cubicBezTo>
                  <a:pt x="5987573" y="4090725"/>
                  <a:pt x="5999193" y="4102345"/>
                  <a:pt x="6013547" y="4102345"/>
                </a:cubicBezTo>
                <a:cubicBezTo>
                  <a:pt x="6027901" y="4102269"/>
                  <a:pt x="6039521" y="4090649"/>
                  <a:pt x="6039521" y="4076371"/>
                </a:cubicBezTo>
                <a:moveTo>
                  <a:pt x="6014003" y="3895694"/>
                </a:moveTo>
                <a:cubicBezTo>
                  <a:pt x="6014003" y="3880428"/>
                  <a:pt x="6001623" y="3868049"/>
                  <a:pt x="5986358" y="3868049"/>
                </a:cubicBezTo>
                <a:cubicBezTo>
                  <a:pt x="5971093" y="3868049"/>
                  <a:pt x="5958714" y="3880428"/>
                  <a:pt x="5958714" y="3895694"/>
                </a:cubicBezTo>
                <a:cubicBezTo>
                  <a:pt x="5958714" y="3910959"/>
                  <a:pt x="5971093" y="3923338"/>
                  <a:pt x="5986358" y="3923338"/>
                </a:cubicBezTo>
                <a:cubicBezTo>
                  <a:pt x="6001623" y="3923414"/>
                  <a:pt x="6014003" y="3911035"/>
                  <a:pt x="6014003" y="3895694"/>
                </a:cubicBezTo>
                <a:moveTo>
                  <a:pt x="5979523" y="3716687"/>
                </a:moveTo>
                <a:cubicBezTo>
                  <a:pt x="5979523" y="3700510"/>
                  <a:pt x="5966384" y="3687371"/>
                  <a:pt x="5950207" y="3687371"/>
                </a:cubicBezTo>
                <a:cubicBezTo>
                  <a:pt x="5934031" y="3687371"/>
                  <a:pt x="5920892" y="3700510"/>
                  <a:pt x="5920892" y="3716687"/>
                </a:cubicBezTo>
                <a:cubicBezTo>
                  <a:pt x="5920892" y="3732863"/>
                  <a:pt x="5934031" y="3746002"/>
                  <a:pt x="5950207" y="3746002"/>
                </a:cubicBezTo>
                <a:cubicBezTo>
                  <a:pt x="5966384" y="3746002"/>
                  <a:pt x="5979523" y="3732863"/>
                  <a:pt x="5979523" y="3716687"/>
                </a:cubicBezTo>
                <a:moveTo>
                  <a:pt x="5936081" y="3539655"/>
                </a:moveTo>
                <a:cubicBezTo>
                  <a:pt x="5936081" y="3522491"/>
                  <a:pt x="5922183" y="3508592"/>
                  <a:pt x="5905019" y="3508592"/>
                </a:cubicBezTo>
                <a:cubicBezTo>
                  <a:pt x="5887855" y="3508592"/>
                  <a:pt x="5873957" y="3522491"/>
                  <a:pt x="5873957" y="3539655"/>
                </a:cubicBezTo>
                <a:cubicBezTo>
                  <a:pt x="5873957" y="3556819"/>
                  <a:pt x="5887855" y="3570717"/>
                  <a:pt x="5905019" y="3570717"/>
                </a:cubicBezTo>
                <a:cubicBezTo>
                  <a:pt x="5922183" y="3570717"/>
                  <a:pt x="5936081" y="3556819"/>
                  <a:pt x="5936081" y="3539655"/>
                </a:cubicBezTo>
                <a:moveTo>
                  <a:pt x="5883982" y="3365129"/>
                </a:moveTo>
                <a:cubicBezTo>
                  <a:pt x="5883982" y="3347054"/>
                  <a:pt x="5869324" y="3332396"/>
                  <a:pt x="5851249" y="3332396"/>
                </a:cubicBezTo>
                <a:cubicBezTo>
                  <a:pt x="5833173" y="3332396"/>
                  <a:pt x="5818516" y="3347054"/>
                  <a:pt x="5818516" y="3365129"/>
                </a:cubicBezTo>
                <a:cubicBezTo>
                  <a:pt x="5818516" y="3383204"/>
                  <a:pt x="5833173" y="3397862"/>
                  <a:pt x="5851249" y="3397862"/>
                </a:cubicBezTo>
                <a:cubicBezTo>
                  <a:pt x="5869324" y="3397862"/>
                  <a:pt x="5883982" y="3383204"/>
                  <a:pt x="5883982" y="3365129"/>
                </a:cubicBezTo>
                <a:moveTo>
                  <a:pt x="5823148" y="3193489"/>
                </a:moveTo>
                <a:cubicBezTo>
                  <a:pt x="5823148" y="3174502"/>
                  <a:pt x="5807731" y="3159085"/>
                  <a:pt x="5788745" y="3159085"/>
                </a:cubicBezTo>
                <a:cubicBezTo>
                  <a:pt x="5769758" y="3159085"/>
                  <a:pt x="5754341" y="3174502"/>
                  <a:pt x="5754341" y="3193489"/>
                </a:cubicBezTo>
                <a:cubicBezTo>
                  <a:pt x="5754341" y="3212476"/>
                  <a:pt x="5769758" y="3227893"/>
                  <a:pt x="5788745" y="3227893"/>
                </a:cubicBezTo>
                <a:cubicBezTo>
                  <a:pt x="5807807" y="3227893"/>
                  <a:pt x="5823148" y="3212476"/>
                  <a:pt x="5823148" y="3193489"/>
                </a:cubicBezTo>
                <a:moveTo>
                  <a:pt x="5753353" y="3025191"/>
                </a:moveTo>
                <a:cubicBezTo>
                  <a:pt x="5753353" y="3005597"/>
                  <a:pt x="5737405" y="2989648"/>
                  <a:pt x="5717810" y="2989648"/>
                </a:cubicBezTo>
                <a:cubicBezTo>
                  <a:pt x="5698140" y="2989648"/>
                  <a:pt x="5682267" y="3005597"/>
                  <a:pt x="5682267" y="3025191"/>
                </a:cubicBezTo>
                <a:cubicBezTo>
                  <a:pt x="5682267" y="3044861"/>
                  <a:pt x="5698140" y="3060734"/>
                  <a:pt x="5717810" y="3060734"/>
                </a:cubicBezTo>
                <a:cubicBezTo>
                  <a:pt x="5737405" y="3060734"/>
                  <a:pt x="5753353" y="3044785"/>
                  <a:pt x="5753353" y="3025191"/>
                </a:cubicBezTo>
                <a:moveTo>
                  <a:pt x="5675812" y="2860614"/>
                </a:moveTo>
                <a:cubicBezTo>
                  <a:pt x="5675812" y="2840032"/>
                  <a:pt x="5659103" y="2823400"/>
                  <a:pt x="5638598" y="2823400"/>
                </a:cubicBezTo>
                <a:cubicBezTo>
                  <a:pt x="5618092" y="2823400"/>
                  <a:pt x="5601308" y="2840108"/>
                  <a:pt x="5601308" y="2860614"/>
                </a:cubicBezTo>
                <a:cubicBezTo>
                  <a:pt x="5601308" y="2881196"/>
                  <a:pt x="5618016" y="2897828"/>
                  <a:pt x="5638598" y="2897828"/>
                </a:cubicBezTo>
                <a:cubicBezTo>
                  <a:pt x="5659179" y="2897828"/>
                  <a:pt x="5675812" y="2881196"/>
                  <a:pt x="5675812" y="2860614"/>
                </a:cubicBezTo>
                <a:moveTo>
                  <a:pt x="5589004" y="2700214"/>
                </a:moveTo>
                <a:cubicBezTo>
                  <a:pt x="5589004" y="2679329"/>
                  <a:pt x="5572068" y="2662393"/>
                  <a:pt x="5551183" y="2662393"/>
                </a:cubicBezTo>
                <a:cubicBezTo>
                  <a:pt x="5530297" y="2662393"/>
                  <a:pt x="5513361" y="2679329"/>
                  <a:pt x="5513361" y="2700214"/>
                </a:cubicBezTo>
                <a:cubicBezTo>
                  <a:pt x="5513361" y="2721100"/>
                  <a:pt x="5530297" y="2738036"/>
                  <a:pt x="5551183" y="2738036"/>
                </a:cubicBezTo>
                <a:cubicBezTo>
                  <a:pt x="5572068" y="2738036"/>
                  <a:pt x="5589004" y="2721100"/>
                  <a:pt x="5589004" y="2700214"/>
                </a:cubicBezTo>
                <a:moveTo>
                  <a:pt x="5494906" y="2544295"/>
                </a:moveTo>
                <a:cubicBezTo>
                  <a:pt x="5494906" y="2522802"/>
                  <a:pt x="5477438" y="2505335"/>
                  <a:pt x="5455946" y="2505335"/>
                </a:cubicBezTo>
                <a:cubicBezTo>
                  <a:pt x="5434453" y="2505335"/>
                  <a:pt x="5416985" y="2522802"/>
                  <a:pt x="5416985" y="2544295"/>
                </a:cubicBezTo>
                <a:cubicBezTo>
                  <a:pt x="5416985" y="2565788"/>
                  <a:pt x="5434376" y="2583256"/>
                  <a:pt x="5455946" y="2583256"/>
                </a:cubicBezTo>
                <a:cubicBezTo>
                  <a:pt x="5477514" y="2583256"/>
                  <a:pt x="5494906" y="2565788"/>
                  <a:pt x="5494906" y="2544295"/>
                </a:cubicBezTo>
                <a:moveTo>
                  <a:pt x="5392530" y="2393389"/>
                </a:moveTo>
                <a:cubicBezTo>
                  <a:pt x="5392530" y="2371592"/>
                  <a:pt x="5374834" y="2353897"/>
                  <a:pt x="5353038" y="2353897"/>
                </a:cubicBezTo>
                <a:cubicBezTo>
                  <a:pt x="5331241" y="2353897"/>
                  <a:pt x="5313545" y="2371592"/>
                  <a:pt x="5313545" y="2393389"/>
                </a:cubicBezTo>
                <a:cubicBezTo>
                  <a:pt x="5313545" y="2415186"/>
                  <a:pt x="5331241" y="2432881"/>
                  <a:pt x="5353038" y="2432881"/>
                </a:cubicBezTo>
                <a:cubicBezTo>
                  <a:pt x="5374834" y="2432881"/>
                  <a:pt x="5392530" y="2415186"/>
                  <a:pt x="5392530" y="2393389"/>
                </a:cubicBezTo>
                <a:moveTo>
                  <a:pt x="5282787" y="2247799"/>
                </a:moveTo>
                <a:cubicBezTo>
                  <a:pt x="5282787" y="2225698"/>
                  <a:pt x="5264863" y="2207775"/>
                  <a:pt x="5242687" y="2207775"/>
                </a:cubicBezTo>
                <a:cubicBezTo>
                  <a:pt x="5220586" y="2207775"/>
                  <a:pt x="5202587" y="2225698"/>
                  <a:pt x="5202587" y="2247799"/>
                </a:cubicBezTo>
                <a:cubicBezTo>
                  <a:pt x="5202587" y="2269899"/>
                  <a:pt x="5220510" y="2287899"/>
                  <a:pt x="5242687" y="2287899"/>
                </a:cubicBezTo>
                <a:cubicBezTo>
                  <a:pt x="5264863" y="2287823"/>
                  <a:pt x="5282787" y="2269899"/>
                  <a:pt x="5282787" y="2247799"/>
                </a:cubicBezTo>
                <a:moveTo>
                  <a:pt x="5165981" y="2107905"/>
                </a:moveTo>
                <a:cubicBezTo>
                  <a:pt x="5165981" y="2085500"/>
                  <a:pt x="5147753" y="2067273"/>
                  <a:pt x="5125349" y="2067273"/>
                </a:cubicBezTo>
                <a:cubicBezTo>
                  <a:pt x="5102944" y="2067273"/>
                  <a:pt x="5084717" y="2085500"/>
                  <a:pt x="5084717" y="2107905"/>
                </a:cubicBezTo>
                <a:cubicBezTo>
                  <a:pt x="5084717" y="2130385"/>
                  <a:pt x="5102944" y="2148536"/>
                  <a:pt x="5125349" y="2148536"/>
                </a:cubicBezTo>
                <a:cubicBezTo>
                  <a:pt x="5147753" y="2148536"/>
                  <a:pt x="5165981" y="2130309"/>
                  <a:pt x="5165981" y="2107905"/>
                </a:cubicBezTo>
                <a:moveTo>
                  <a:pt x="5041731" y="1973934"/>
                </a:moveTo>
                <a:cubicBezTo>
                  <a:pt x="5041731" y="1951530"/>
                  <a:pt x="5023504" y="1933303"/>
                  <a:pt x="5001100" y="1933303"/>
                </a:cubicBezTo>
                <a:cubicBezTo>
                  <a:pt x="4978695" y="1933303"/>
                  <a:pt x="4960468" y="1951530"/>
                  <a:pt x="4960468" y="1973934"/>
                </a:cubicBezTo>
                <a:cubicBezTo>
                  <a:pt x="4960468" y="1996415"/>
                  <a:pt x="4978695" y="2014566"/>
                  <a:pt x="5001100" y="2014566"/>
                </a:cubicBezTo>
                <a:cubicBezTo>
                  <a:pt x="5023504" y="2014642"/>
                  <a:pt x="5041731" y="1996415"/>
                  <a:pt x="5041731" y="1973934"/>
                </a:cubicBezTo>
                <a:moveTo>
                  <a:pt x="4910951" y="1846420"/>
                </a:moveTo>
                <a:cubicBezTo>
                  <a:pt x="4910951" y="1824015"/>
                  <a:pt x="4892724" y="1805788"/>
                  <a:pt x="4870320" y="1805788"/>
                </a:cubicBezTo>
                <a:cubicBezTo>
                  <a:pt x="4847915" y="1805788"/>
                  <a:pt x="4829688" y="1824015"/>
                  <a:pt x="4829688" y="1846420"/>
                </a:cubicBezTo>
                <a:cubicBezTo>
                  <a:pt x="4829688" y="1868900"/>
                  <a:pt x="4847839" y="1887051"/>
                  <a:pt x="4870320" y="1887051"/>
                </a:cubicBezTo>
                <a:cubicBezTo>
                  <a:pt x="4892800" y="1887051"/>
                  <a:pt x="4910951" y="1868900"/>
                  <a:pt x="4910951" y="1846420"/>
                </a:cubicBezTo>
                <a:moveTo>
                  <a:pt x="4774019" y="1725588"/>
                </a:moveTo>
                <a:cubicBezTo>
                  <a:pt x="4774019" y="1703184"/>
                  <a:pt x="4755792" y="1684957"/>
                  <a:pt x="4733387" y="1684957"/>
                </a:cubicBezTo>
                <a:cubicBezTo>
                  <a:pt x="4710983" y="1684957"/>
                  <a:pt x="4692756" y="1703184"/>
                  <a:pt x="4692756" y="1725588"/>
                </a:cubicBezTo>
                <a:cubicBezTo>
                  <a:pt x="4692756" y="1747993"/>
                  <a:pt x="4710983" y="1766220"/>
                  <a:pt x="4733387" y="1766220"/>
                </a:cubicBezTo>
                <a:cubicBezTo>
                  <a:pt x="4755792" y="1766220"/>
                  <a:pt x="4774019" y="1747993"/>
                  <a:pt x="4774019" y="1725588"/>
                </a:cubicBezTo>
                <a:moveTo>
                  <a:pt x="4630631" y="1611668"/>
                </a:moveTo>
                <a:cubicBezTo>
                  <a:pt x="4630631" y="1589568"/>
                  <a:pt x="4612708" y="1571568"/>
                  <a:pt x="4590531" y="1571568"/>
                </a:cubicBezTo>
                <a:cubicBezTo>
                  <a:pt x="4568431" y="1571568"/>
                  <a:pt x="4550431" y="1589492"/>
                  <a:pt x="4550431" y="1611668"/>
                </a:cubicBezTo>
                <a:cubicBezTo>
                  <a:pt x="4550431" y="1633769"/>
                  <a:pt x="4568355" y="1651768"/>
                  <a:pt x="4590531" y="1651768"/>
                </a:cubicBezTo>
                <a:cubicBezTo>
                  <a:pt x="4612708" y="1651768"/>
                  <a:pt x="4630631" y="1633845"/>
                  <a:pt x="4630631" y="1611668"/>
                </a:cubicBezTo>
                <a:moveTo>
                  <a:pt x="4481775" y="1505039"/>
                </a:moveTo>
                <a:cubicBezTo>
                  <a:pt x="4481775" y="1483242"/>
                  <a:pt x="4464080" y="1465546"/>
                  <a:pt x="4442283" y="1465546"/>
                </a:cubicBezTo>
                <a:cubicBezTo>
                  <a:pt x="4420486" y="1465546"/>
                  <a:pt x="4402790" y="1483242"/>
                  <a:pt x="4402790" y="1505039"/>
                </a:cubicBezTo>
                <a:cubicBezTo>
                  <a:pt x="4402790" y="1526835"/>
                  <a:pt x="4420486" y="1544531"/>
                  <a:pt x="4442283" y="1544531"/>
                </a:cubicBezTo>
                <a:cubicBezTo>
                  <a:pt x="4464080" y="1544531"/>
                  <a:pt x="4481775" y="1526835"/>
                  <a:pt x="4481775" y="1505039"/>
                </a:cubicBezTo>
                <a:moveTo>
                  <a:pt x="4327224" y="1405928"/>
                </a:moveTo>
                <a:cubicBezTo>
                  <a:pt x="4327224" y="1384739"/>
                  <a:pt x="4310060" y="1367575"/>
                  <a:pt x="4288870" y="1367575"/>
                </a:cubicBezTo>
                <a:cubicBezTo>
                  <a:pt x="4267681" y="1367575"/>
                  <a:pt x="4250517" y="1384739"/>
                  <a:pt x="4250517" y="1405928"/>
                </a:cubicBezTo>
                <a:cubicBezTo>
                  <a:pt x="4250517" y="1427117"/>
                  <a:pt x="4267681" y="1444281"/>
                  <a:pt x="4288870" y="1444281"/>
                </a:cubicBezTo>
                <a:cubicBezTo>
                  <a:pt x="4310060" y="1444281"/>
                  <a:pt x="4327224" y="1427117"/>
                  <a:pt x="4327224" y="1405928"/>
                </a:cubicBezTo>
                <a:moveTo>
                  <a:pt x="4168494" y="1314640"/>
                </a:moveTo>
                <a:cubicBezTo>
                  <a:pt x="4168494" y="1293755"/>
                  <a:pt x="4151558" y="1276818"/>
                  <a:pt x="4130673" y="1276818"/>
                </a:cubicBezTo>
                <a:cubicBezTo>
                  <a:pt x="4109788" y="1276818"/>
                  <a:pt x="4092851" y="1293755"/>
                  <a:pt x="4092851" y="1314640"/>
                </a:cubicBezTo>
                <a:cubicBezTo>
                  <a:pt x="4092851" y="1335525"/>
                  <a:pt x="4109788" y="1352461"/>
                  <a:pt x="4130673" y="1352461"/>
                </a:cubicBezTo>
                <a:cubicBezTo>
                  <a:pt x="4151558" y="1352461"/>
                  <a:pt x="4168494" y="1335525"/>
                  <a:pt x="4168494" y="1314640"/>
                </a:cubicBezTo>
                <a:moveTo>
                  <a:pt x="4004753" y="1231326"/>
                </a:moveTo>
                <a:cubicBezTo>
                  <a:pt x="4004753" y="1211048"/>
                  <a:pt x="3988349" y="1194644"/>
                  <a:pt x="3968071" y="1194644"/>
                </a:cubicBezTo>
                <a:cubicBezTo>
                  <a:pt x="3947793" y="1194644"/>
                  <a:pt x="3931389" y="1211048"/>
                  <a:pt x="3931389" y="1231326"/>
                </a:cubicBezTo>
                <a:cubicBezTo>
                  <a:pt x="3931389" y="1251604"/>
                  <a:pt x="3947793" y="1268009"/>
                  <a:pt x="3968071" y="1268009"/>
                </a:cubicBezTo>
                <a:cubicBezTo>
                  <a:pt x="3988349" y="1268009"/>
                  <a:pt x="4004753" y="1251528"/>
                  <a:pt x="4004753" y="1231326"/>
                </a:cubicBezTo>
                <a:moveTo>
                  <a:pt x="3836607" y="1156139"/>
                </a:moveTo>
                <a:cubicBezTo>
                  <a:pt x="3836607" y="1136848"/>
                  <a:pt x="3820962" y="1121127"/>
                  <a:pt x="3801595" y="1121127"/>
                </a:cubicBezTo>
                <a:cubicBezTo>
                  <a:pt x="3782229" y="1121127"/>
                  <a:pt x="3766584" y="1136772"/>
                  <a:pt x="3766584" y="1156139"/>
                </a:cubicBezTo>
                <a:cubicBezTo>
                  <a:pt x="3766584" y="1175505"/>
                  <a:pt x="3782229" y="1191150"/>
                  <a:pt x="3801595" y="1191150"/>
                </a:cubicBezTo>
                <a:cubicBezTo>
                  <a:pt x="3820962" y="1191150"/>
                  <a:pt x="3836607" y="1175505"/>
                  <a:pt x="3836607" y="1156139"/>
                </a:cubicBezTo>
                <a:moveTo>
                  <a:pt x="3664891" y="1089458"/>
                </a:moveTo>
                <a:cubicBezTo>
                  <a:pt x="3664891" y="1071078"/>
                  <a:pt x="3650005" y="1056193"/>
                  <a:pt x="3631626" y="1056193"/>
                </a:cubicBezTo>
                <a:cubicBezTo>
                  <a:pt x="3613247" y="1056193"/>
                  <a:pt x="3598361" y="1071078"/>
                  <a:pt x="3598361" y="1089458"/>
                </a:cubicBezTo>
                <a:cubicBezTo>
                  <a:pt x="3598361" y="1107837"/>
                  <a:pt x="3613247" y="1122722"/>
                  <a:pt x="3631626" y="1122722"/>
                </a:cubicBezTo>
                <a:cubicBezTo>
                  <a:pt x="3649929" y="1122722"/>
                  <a:pt x="3664891" y="1107837"/>
                  <a:pt x="3664891" y="1089458"/>
                </a:cubicBezTo>
                <a:moveTo>
                  <a:pt x="3490593" y="1031282"/>
                </a:moveTo>
                <a:cubicBezTo>
                  <a:pt x="3490593" y="1013511"/>
                  <a:pt x="3476163" y="999157"/>
                  <a:pt x="3458391" y="999157"/>
                </a:cubicBezTo>
                <a:cubicBezTo>
                  <a:pt x="3440620" y="999157"/>
                  <a:pt x="3426190" y="1013587"/>
                  <a:pt x="3426190" y="1031282"/>
                </a:cubicBezTo>
                <a:cubicBezTo>
                  <a:pt x="3426190" y="1049054"/>
                  <a:pt x="3440620" y="1063484"/>
                  <a:pt x="3458391" y="1063484"/>
                </a:cubicBezTo>
                <a:cubicBezTo>
                  <a:pt x="3476163" y="1063484"/>
                  <a:pt x="3490593" y="1049054"/>
                  <a:pt x="3490593" y="1031282"/>
                </a:cubicBezTo>
                <a:moveTo>
                  <a:pt x="3313029" y="981765"/>
                </a:moveTo>
                <a:cubicBezTo>
                  <a:pt x="3313029" y="964905"/>
                  <a:pt x="3299359" y="951310"/>
                  <a:pt x="3282575" y="951310"/>
                </a:cubicBezTo>
                <a:cubicBezTo>
                  <a:pt x="3265714" y="951310"/>
                  <a:pt x="3252120" y="964981"/>
                  <a:pt x="3252120" y="981765"/>
                </a:cubicBezTo>
                <a:cubicBezTo>
                  <a:pt x="3252120" y="998625"/>
                  <a:pt x="3265790" y="1012220"/>
                  <a:pt x="3282575" y="1012220"/>
                </a:cubicBezTo>
                <a:cubicBezTo>
                  <a:pt x="3299435" y="1012295"/>
                  <a:pt x="3313029" y="998625"/>
                  <a:pt x="3313029" y="981765"/>
                </a:cubicBezTo>
                <a:moveTo>
                  <a:pt x="3133263" y="941133"/>
                </a:moveTo>
                <a:cubicBezTo>
                  <a:pt x="3133263" y="925260"/>
                  <a:pt x="3120352" y="912349"/>
                  <a:pt x="3104479" y="912349"/>
                </a:cubicBezTo>
                <a:cubicBezTo>
                  <a:pt x="3088606" y="912349"/>
                  <a:pt x="3075695" y="925260"/>
                  <a:pt x="3075695" y="941133"/>
                </a:cubicBezTo>
                <a:cubicBezTo>
                  <a:pt x="3075695" y="957006"/>
                  <a:pt x="3088606" y="969917"/>
                  <a:pt x="3104479" y="969917"/>
                </a:cubicBezTo>
                <a:cubicBezTo>
                  <a:pt x="3120428" y="969917"/>
                  <a:pt x="3133263" y="957006"/>
                  <a:pt x="3133263" y="941133"/>
                </a:cubicBezTo>
                <a:moveTo>
                  <a:pt x="2951750" y="909388"/>
                </a:moveTo>
                <a:cubicBezTo>
                  <a:pt x="2951750" y="894426"/>
                  <a:pt x="2939599" y="882274"/>
                  <a:pt x="2924637" y="882274"/>
                </a:cubicBezTo>
                <a:cubicBezTo>
                  <a:pt x="2909676" y="882274"/>
                  <a:pt x="2897524" y="894426"/>
                  <a:pt x="2897524" y="909388"/>
                </a:cubicBezTo>
                <a:cubicBezTo>
                  <a:pt x="2897524" y="924349"/>
                  <a:pt x="2909676" y="936501"/>
                  <a:pt x="2924637" y="936501"/>
                </a:cubicBezTo>
                <a:cubicBezTo>
                  <a:pt x="2939599" y="936501"/>
                  <a:pt x="2951750" y="924349"/>
                  <a:pt x="2951750" y="909388"/>
                </a:cubicBezTo>
                <a:moveTo>
                  <a:pt x="2768187" y="886679"/>
                </a:moveTo>
                <a:cubicBezTo>
                  <a:pt x="2768187" y="872933"/>
                  <a:pt x="2757098" y="861845"/>
                  <a:pt x="2743352" y="861845"/>
                </a:cubicBezTo>
                <a:cubicBezTo>
                  <a:pt x="2729606" y="861845"/>
                  <a:pt x="2718517" y="872933"/>
                  <a:pt x="2718517" y="886679"/>
                </a:cubicBezTo>
                <a:cubicBezTo>
                  <a:pt x="2718517" y="900426"/>
                  <a:pt x="2729606" y="911514"/>
                  <a:pt x="2743352" y="911514"/>
                </a:cubicBezTo>
                <a:cubicBezTo>
                  <a:pt x="2757098" y="911514"/>
                  <a:pt x="2768187" y="900426"/>
                  <a:pt x="2768187" y="886679"/>
                </a:cubicBezTo>
                <a:moveTo>
                  <a:pt x="2584395" y="873085"/>
                </a:moveTo>
                <a:cubicBezTo>
                  <a:pt x="2584395" y="860326"/>
                  <a:pt x="2574066" y="849921"/>
                  <a:pt x="2561231" y="849921"/>
                </a:cubicBezTo>
                <a:cubicBezTo>
                  <a:pt x="2548472" y="849921"/>
                  <a:pt x="2538068" y="860250"/>
                  <a:pt x="2538068" y="873085"/>
                </a:cubicBezTo>
                <a:cubicBezTo>
                  <a:pt x="2538068" y="885844"/>
                  <a:pt x="2548472" y="896249"/>
                  <a:pt x="2561231" y="896249"/>
                </a:cubicBezTo>
                <a:cubicBezTo>
                  <a:pt x="2573991" y="896173"/>
                  <a:pt x="2584395" y="885844"/>
                  <a:pt x="2584395" y="873085"/>
                </a:cubicBezTo>
                <a:moveTo>
                  <a:pt x="2399541" y="868528"/>
                </a:moveTo>
                <a:cubicBezTo>
                  <a:pt x="2399541" y="856984"/>
                  <a:pt x="2390199" y="847643"/>
                  <a:pt x="2378655" y="847643"/>
                </a:cubicBezTo>
                <a:cubicBezTo>
                  <a:pt x="2367111" y="847643"/>
                  <a:pt x="2357770" y="856984"/>
                  <a:pt x="2357770" y="868528"/>
                </a:cubicBezTo>
                <a:cubicBezTo>
                  <a:pt x="2357770" y="880072"/>
                  <a:pt x="2367111" y="889414"/>
                  <a:pt x="2378655" y="889414"/>
                </a:cubicBezTo>
                <a:cubicBezTo>
                  <a:pt x="2390199" y="889414"/>
                  <a:pt x="2399541" y="880072"/>
                  <a:pt x="2399541" y="868528"/>
                </a:cubicBezTo>
                <a:moveTo>
                  <a:pt x="2215218" y="873085"/>
                </a:moveTo>
                <a:cubicBezTo>
                  <a:pt x="2215218" y="862452"/>
                  <a:pt x="2206636" y="853870"/>
                  <a:pt x="2196003" y="853870"/>
                </a:cubicBezTo>
                <a:cubicBezTo>
                  <a:pt x="2185371" y="853870"/>
                  <a:pt x="2176788" y="862452"/>
                  <a:pt x="2176788" y="873085"/>
                </a:cubicBezTo>
                <a:cubicBezTo>
                  <a:pt x="2176788" y="883718"/>
                  <a:pt x="2185371" y="892299"/>
                  <a:pt x="2196003" y="892299"/>
                </a:cubicBezTo>
                <a:cubicBezTo>
                  <a:pt x="2206636" y="892224"/>
                  <a:pt x="2215218" y="883642"/>
                  <a:pt x="2215218" y="873085"/>
                </a:cubicBezTo>
                <a:moveTo>
                  <a:pt x="2030819" y="886679"/>
                </a:moveTo>
                <a:cubicBezTo>
                  <a:pt x="2030819" y="877338"/>
                  <a:pt x="2023224" y="869743"/>
                  <a:pt x="2013883" y="869743"/>
                </a:cubicBezTo>
                <a:cubicBezTo>
                  <a:pt x="2004541" y="869743"/>
                  <a:pt x="1996946" y="877338"/>
                  <a:pt x="1996946" y="886679"/>
                </a:cubicBezTo>
                <a:cubicBezTo>
                  <a:pt x="1996946" y="896021"/>
                  <a:pt x="2004541" y="903616"/>
                  <a:pt x="2013883" y="903616"/>
                </a:cubicBezTo>
                <a:cubicBezTo>
                  <a:pt x="2023224" y="903616"/>
                  <a:pt x="2030819" y="896021"/>
                  <a:pt x="2030819" y="886679"/>
                </a:cubicBezTo>
                <a:moveTo>
                  <a:pt x="1847863" y="909388"/>
                </a:moveTo>
                <a:cubicBezTo>
                  <a:pt x="1847863" y="900957"/>
                  <a:pt x="1841028" y="894122"/>
                  <a:pt x="1832597" y="894122"/>
                </a:cubicBezTo>
                <a:cubicBezTo>
                  <a:pt x="1824167" y="894122"/>
                  <a:pt x="1817332" y="900957"/>
                  <a:pt x="1817332" y="909388"/>
                </a:cubicBezTo>
                <a:cubicBezTo>
                  <a:pt x="1817332" y="917818"/>
                  <a:pt x="1824167" y="924653"/>
                  <a:pt x="1832597" y="924653"/>
                </a:cubicBezTo>
                <a:cubicBezTo>
                  <a:pt x="1841028" y="924653"/>
                  <a:pt x="1847863" y="917818"/>
                  <a:pt x="1847863" y="909388"/>
                </a:cubicBezTo>
                <a:moveTo>
                  <a:pt x="1666274" y="941133"/>
                </a:moveTo>
                <a:cubicBezTo>
                  <a:pt x="1666274" y="933691"/>
                  <a:pt x="1660198" y="927615"/>
                  <a:pt x="1652755" y="927615"/>
                </a:cubicBezTo>
                <a:cubicBezTo>
                  <a:pt x="1645312" y="927615"/>
                  <a:pt x="1639237" y="933691"/>
                  <a:pt x="1639237" y="941133"/>
                </a:cubicBezTo>
                <a:cubicBezTo>
                  <a:pt x="1639237" y="948576"/>
                  <a:pt x="1645312" y="954652"/>
                  <a:pt x="1652755" y="954652"/>
                </a:cubicBezTo>
                <a:cubicBezTo>
                  <a:pt x="1660198" y="954652"/>
                  <a:pt x="1666274" y="948576"/>
                  <a:pt x="1666274" y="941133"/>
                </a:cubicBezTo>
                <a:moveTo>
                  <a:pt x="1486508" y="981765"/>
                </a:moveTo>
                <a:cubicBezTo>
                  <a:pt x="1486508" y="975233"/>
                  <a:pt x="1481191" y="969917"/>
                  <a:pt x="1474660" y="969917"/>
                </a:cubicBezTo>
                <a:cubicBezTo>
                  <a:pt x="1468128" y="969917"/>
                  <a:pt x="1462812" y="975233"/>
                  <a:pt x="1462812" y="981765"/>
                </a:cubicBezTo>
                <a:cubicBezTo>
                  <a:pt x="1462812" y="988296"/>
                  <a:pt x="1468128" y="993613"/>
                  <a:pt x="1474660" y="993613"/>
                </a:cubicBezTo>
                <a:cubicBezTo>
                  <a:pt x="1481191" y="993613"/>
                  <a:pt x="1486508" y="988296"/>
                  <a:pt x="1486508" y="981765"/>
                </a:cubicBezTo>
                <a:moveTo>
                  <a:pt x="1309020" y="1031282"/>
                </a:moveTo>
                <a:cubicBezTo>
                  <a:pt x="1309020" y="1025662"/>
                  <a:pt x="1304463" y="1021105"/>
                  <a:pt x="1298843" y="1021105"/>
                </a:cubicBezTo>
                <a:cubicBezTo>
                  <a:pt x="1293223" y="1021105"/>
                  <a:pt x="1288666" y="1025662"/>
                  <a:pt x="1288666" y="1031282"/>
                </a:cubicBezTo>
                <a:cubicBezTo>
                  <a:pt x="1288666" y="1036902"/>
                  <a:pt x="1293223" y="1041459"/>
                  <a:pt x="1298843" y="1041459"/>
                </a:cubicBezTo>
                <a:cubicBezTo>
                  <a:pt x="1304463" y="1041383"/>
                  <a:pt x="1309020" y="1036826"/>
                  <a:pt x="1309020" y="1031282"/>
                </a:cubicBezTo>
                <a:moveTo>
                  <a:pt x="1134114" y="1089458"/>
                </a:moveTo>
                <a:cubicBezTo>
                  <a:pt x="1134114" y="1084749"/>
                  <a:pt x="1130317" y="1081027"/>
                  <a:pt x="1125684" y="1081027"/>
                </a:cubicBezTo>
                <a:cubicBezTo>
                  <a:pt x="1120976" y="1081027"/>
                  <a:pt x="1117254" y="1084825"/>
                  <a:pt x="1117254" y="1089458"/>
                </a:cubicBezTo>
                <a:cubicBezTo>
                  <a:pt x="1117254" y="1094166"/>
                  <a:pt x="1121051" y="1097888"/>
                  <a:pt x="1125684" y="1097888"/>
                </a:cubicBezTo>
                <a:cubicBezTo>
                  <a:pt x="1130393" y="1097888"/>
                  <a:pt x="1134114" y="1094090"/>
                  <a:pt x="1134114" y="1089458"/>
                </a:cubicBezTo>
                <a:moveTo>
                  <a:pt x="962398" y="1156139"/>
                </a:moveTo>
                <a:cubicBezTo>
                  <a:pt x="962398" y="1152418"/>
                  <a:pt x="959361" y="1149380"/>
                  <a:pt x="955639" y="1149380"/>
                </a:cubicBezTo>
                <a:cubicBezTo>
                  <a:pt x="951918" y="1149380"/>
                  <a:pt x="948880" y="1152418"/>
                  <a:pt x="948880" y="1156139"/>
                </a:cubicBezTo>
                <a:cubicBezTo>
                  <a:pt x="948880" y="1159860"/>
                  <a:pt x="951918" y="1162898"/>
                  <a:pt x="955639" y="1162898"/>
                </a:cubicBezTo>
                <a:cubicBezTo>
                  <a:pt x="959361" y="1162898"/>
                  <a:pt x="962398" y="1159936"/>
                  <a:pt x="962398" y="1156139"/>
                </a:cubicBezTo>
                <a:moveTo>
                  <a:pt x="794784" y="1231326"/>
                </a:moveTo>
                <a:cubicBezTo>
                  <a:pt x="794784" y="1228212"/>
                  <a:pt x="792277" y="1225706"/>
                  <a:pt x="789164" y="1225706"/>
                </a:cubicBezTo>
                <a:cubicBezTo>
                  <a:pt x="786050" y="1225706"/>
                  <a:pt x="783544" y="1228212"/>
                  <a:pt x="783544" y="1231326"/>
                </a:cubicBezTo>
                <a:cubicBezTo>
                  <a:pt x="783544" y="1234440"/>
                  <a:pt x="786050" y="1236946"/>
                  <a:pt x="789164" y="1236946"/>
                </a:cubicBezTo>
                <a:cubicBezTo>
                  <a:pt x="792277" y="1236946"/>
                  <a:pt x="794784" y="1234440"/>
                  <a:pt x="794784" y="1231326"/>
                </a:cubicBezTo>
                <a:moveTo>
                  <a:pt x="631118" y="1314640"/>
                </a:moveTo>
                <a:cubicBezTo>
                  <a:pt x="631118" y="1312134"/>
                  <a:pt x="629068" y="1310159"/>
                  <a:pt x="626637" y="1310159"/>
                </a:cubicBezTo>
                <a:cubicBezTo>
                  <a:pt x="624131" y="1310159"/>
                  <a:pt x="622157" y="1312210"/>
                  <a:pt x="622157" y="1314640"/>
                </a:cubicBezTo>
                <a:cubicBezTo>
                  <a:pt x="622157" y="1317146"/>
                  <a:pt x="624207" y="1319197"/>
                  <a:pt x="626637" y="1319197"/>
                </a:cubicBezTo>
                <a:cubicBezTo>
                  <a:pt x="629144" y="1319121"/>
                  <a:pt x="631118" y="1317070"/>
                  <a:pt x="631118" y="1314640"/>
                </a:cubicBezTo>
                <a:moveTo>
                  <a:pt x="471782" y="1405928"/>
                </a:moveTo>
                <a:cubicBezTo>
                  <a:pt x="471782" y="1404029"/>
                  <a:pt x="470263" y="1402510"/>
                  <a:pt x="468364" y="1402510"/>
                </a:cubicBezTo>
                <a:cubicBezTo>
                  <a:pt x="466466" y="1402510"/>
                  <a:pt x="464947" y="1404029"/>
                  <a:pt x="464947" y="1405928"/>
                </a:cubicBezTo>
                <a:cubicBezTo>
                  <a:pt x="464947" y="1407827"/>
                  <a:pt x="466466" y="1409346"/>
                  <a:pt x="468364" y="1409346"/>
                </a:cubicBezTo>
                <a:cubicBezTo>
                  <a:pt x="470263" y="1409346"/>
                  <a:pt x="471782" y="1407827"/>
                  <a:pt x="471782" y="1405928"/>
                </a:cubicBezTo>
                <a:moveTo>
                  <a:pt x="317230" y="1505039"/>
                </a:moveTo>
                <a:cubicBezTo>
                  <a:pt x="317230" y="1503823"/>
                  <a:pt x="316243" y="1502760"/>
                  <a:pt x="314952" y="1502760"/>
                </a:cubicBezTo>
                <a:cubicBezTo>
                  <a:pt x="313660" y="1502760"/>
                  <a:pt x="312673" y="1503748"/>
                  <a:pt x="312673" y="1505039"/>
                </a:cubicBezTo>
                <a:cubicBezTo>
                  <a:pt x="312673" y="1506330"/>
                  <a:pt x="313660" y="1507317"/>
                  <a:pt x="314952" y="1507317"/>
                </a:cubicBezTo>
                <a:cubicBezTo>
                  <a:pt x="316243" y="1507317"/>
                  <a:pt x="317230" y="1506330"/>
                  <a:pt x="317230" y="1505039"/>
                </a:cubicBezTo>
                <a:moveTo>
                  <a:pt x="5514652" y="6797319"/>
                </a:moveTo>
                <a:cubicBezTo>
                  <a:pt x="5514652" y="6796103"/>
                  <a:pt x="5513665" y="6795040"/>
                  <a:pt x="5512374" y="6795040"/>
                </a:cubicBezTo>
                <a:cubicBezTo>
                  <a:pt x="5511159" y="6795040"/>
                  <a:pt x="5510096" y="6796027"/>
                  <a:pt x="5510096" y="6797319"/>
                </a:cubicBezTo>
                <a:cubicBezTo>
                  <a:pt x="5510096" y="6798610"/>
                  <a:pt x="5511083" y="6799597"/>
                  <a:pt x="5512374" y="6799597"/>
                </a:cubicBezTo>
                <a:cubicBezTo>
                  <a:pt x="5513589" y="6799597"/>
                  <a:pt x="5514652" y="6798610"/>
                  <a:pt x="5514652" y="6797319"/>
                </a:cubicBezTo>
                <a:moveTo>
                  <a:pt x="5618700" y="6646868"/>
                </a:moveTo>
                <a:cubicBezTo>
                  <a:pt x="5618700" y="6645349"/>
                  <a:pt x="5617409" y="6644058"/>
                  <a:pt x="5615890" y="6644058"/>
                </a:cubicBezTo>
                <a:cubicBezTo>
                  <a:pt x="5614371" y="6644058"/>
                  <a:pt x="5613080" y="6645349"/>
                  <a:pt x="5613080" y="6646868"/>
                </a:cubicBezTo>
                <a:cubicBezTo>
                  <a:pt x="5613080" y="6648463"/>
                  <a:pt x="5614371" y="6649678"/>
                  <a:pt x="5615890" y="6649678"/>
                </a:cubicBezTo>
                <a:cubicBezTo>
                  <a:pt x="5617409" y="6649678"/>
                  <a:pt x="5618700" y="6648387"/>
                  <a:pt x="5618700" y="6646868"/>
                </a:cubicBezTo>
                <a:moveTo>
                  <a:pt x="5716064" y="6491633"/>
                </a:moveTo>
                <a:cubicBezTo>
                  <a:pt x="5716064" y="6489430"/>
                  <a:pt x="5714316" y="6487683"/>
                  <a:pt x="5712114" y="6487683"/>
                </a:cubicBezTo>
                <a:cubicBezTo>
                  <a:pt x="5709912" y="6487683"/>
                  <a:pt x="5708165" y="6489430"/>
                  <a:pt x="5708165" y="6491633"/>
                </a:cubicBezTo>
                <a:cubicBezTo>
                  <a:pt x="5708165" y="6493835"/>
                  <a:pt x="5709912" y="6495582"/>
                  <a:pt x="5712114" y="6495582"/>
                </a:cubicBezTo>
                <a:cubicBezTo>
                  <a:pt x="5714316" y="6495582"/>
                  <a:pt x="5716064" y="6493759"/>
                  <a:pt x="5716064" y="6491633"/>
                </a:cubicBezTo>
                <a:moveTo>
                  <a:pt x="5806060" y="6331992"/>
                </a:moveTo>
                <a:cubicBezTo>
                  <a:pt x="5806060" y="6329182"/>
                  <a:pt x="5803782" y="6326904"/>
                  <a:pt x="5800972" y="6326904"/>
                </a:cubicBezTo>
                <a:cubicBezTo>
                  <a:pt x="5798162" y="6326904"/>
                  <a:pt x="5795884" y="6329182"/>
                  <a:pt x="5795884" y="6331992"/>
                </a:cubicBezTo>
                <a:cubicBezTo>
                  <a:pt x="5795884" y="6334802"/>
                  <a:pt x="5798162" y="6337081"/>
                  <a:pt x="5800972" y="6337081"/>
                </a:cubicBezTo>
                <a:cubicBezTo>
                  <a:pt x="5803782" y="6337081"/>
                  <a:pt x="5806060" y="6334802"/>
                  <a:pt x="5806060" y="6331992"/>
                </a:cubicBezTo>
                <a:moveTo>
                  <a:pt x="5888919" y="6168403"/>
                </a:moveTo>
                <a:cubicBezTo>
                  <a:pt x="5888919" y="6164681"/>
                  <a:pt x="5885881" y="6161644"/>
                  <a:pt x="5882159" y="6161644"/>
                </a:cubicBezTo>
                <a:cubicBezTo>
                  <a:pt x="5878438" y="6161644"/>
                  <a:pt x="5875400" y="6164681"/>
                  <a:pt x="5875400" y="6168403"/>
                </a:cubicBezTo>
                <a:cubicBezTo>
                  <a:pt x="5875400" y="6172124"/>
                  <a:pt x="5878438" y="6175162"/>
                  <a:pt x="5882159" y="6175162"/>
                </a:cubicBezTo>
                <a:cubicBezTo>
                  <a:pt x="5885881" y="6175162"/>
                  <a:pt x="5888919" y="6172124"/>
                  <a:pt x="5888919" y="6168403"/>
                </a:cubicBezTo>
                <a:moveTo>
                  <a:pt x="5963422" y="6001092"/>
                </a:moveTo>
                <a:cubicBezTo>
                  <a:pt x="5963422" y="5996763"/>
                  <a:pt x="5959853" y="5993194"/>
                  <a:pt x="5955524" y="5993194"/>
                </a:cubicBezTo>
                <a:cubicBezTo>
                  <a:pt x="5951195" y="5993194"/>
                  <a:pt x="5947625" y="5996763"/>
                  <a:pt x="5947625" y="6001092"/>
                </a:cubicBezTo>
                <a:cubicBezTo>
                  <a:pt x="5947625" y="6005421"/>
                  <a:pt x="5951195" y="6008990"/>
                  <a:pt x="5955524" y="6008990"/>
                </a:cubicBezTo>
                <a:cubicBezTo>
                  <a:pt x="5959853" y="6008990"/>
                  <a:pt x="5963422" y="6005421"/>
                  <a:pt x="5963422" y="6001092"/>
                </a:cubicBezTo>
                <a:moveTo>
                  <a:pt x="6030483" y="5830515"/>
                </a:moveTo>
                <a:cubicBezTo>
                  <a:pt x="6030483" y="5825199"/>
                  <a:pt x="6026154" y="5820946"/>
                  <a:pt x="6020914" y="5820946"/>
                </a:cubicBezTo>
                <a:cubicBezTo>
                  <a:pt x="6015598" y="5820946"/>
                  <a:pt x="6011345" y="5825275"/>
                  <a:pt x="6011345" y="5830515"/>
                </a:cubicBezTo>
                <a:cubicBezTo>
                  <a:pt x="6011345" y="5835832"/>
                  <a:pt x="6015598" y="5840085"/>
                  <a:pt x="6020914" y="5840085"/>
                </a:cubicBezTo>
                <a:cubicBezTo>
                  <a:pt x="6026230" y="5840161"/>
                  <a:pt x="6030483" y="5835832"/>
                  <a:pt x="6030483" y="5830515"/>
                </a:cubicBezTo>
                <a:moveTo>
                  <a:pt x="6089418" y="5657053"/>
                </a:moveTo>
                <a:cubicBezTo>
                  <a:pt x="6089418" y="5650825"/>
                  <a:pt x="6084330" y="5645737"/>
                  <a:pt x="6078102" y="5645737"/>
                </a:cubicBezTo>
                <a:cubicBezTo>
                  <a:pt x="6071874" y="5645737"/>
                  <a:pt x="6066786" y="5650749"/>
                  <a:pt x="6066786" y="5657053"/>
                </a:cubicBezTo>
                <a:cubicBezTo>
                  <a:pt x="6066786" y="5663281"/>
                  <a:pt x="6071874" y="5668369"/>
                  <a:pt x="6078102" y="5668369"/>
                </a:cubicBezTo>
                <a:cubicBezTo>
                  <a:pt x="6084406" y="5668369"/>
                  <a:pt x="6089418" y="5663281"/>
                  <a:pt x="6089418" y="5657053"/>
                </a:cubicBezTo>
                <a:moveTo>
                  <a:pt x="6140150" y="5481160"/>
                </a:moveTo>
                <a:cubicBezTo>
                  <a:pt x="6140150" y="5474021"/>
                  <a:pt x="6134303" y="5468173"/>
                  <a:pt x="6127164" y="5468173"/>
                </a:cubicBezTo>
                <a:cubicBezTo>
                  <a:pt x="6120025" y="5468173"/>
                  <a:pt x="6114177" y="5474021"/>
                  <a:pt x="6114177" y="5481160"/>
                </a:cubicBezTo>
                <a:cubicBezTo>
                  <a:pt x="6114177" y="5488299"/>
                  <a:pt x="6120025" y="5494147"/>
                  <a:pt x="6127164" y="5494147"/>
                </a:cubicBezTo>
                <a:cubicBezTo>
                  <a:pt x="6134378" y="5494071"/>
                  <a:pt x="6140150" y="5488299"/>
                  <a:pt x="6140150" y="5481160"/>
                </a:cubicBezTo>
                <a:moveTo>
                  <a:pt x="6182529" y="5303065"/>
                </a:moveTo>
                <a:cubicBezTo>
                  <a:pt x="6182529" y="5294938"/>
                  <a:pt x="6175922" y="5288407"/>
                  <a:pt x="6167871" y="5288407"/>
                </a:cubicBezTo>
                <a:cubicBezTo>
                  <a:pt x="6159745" y="5288407"/>
                  <a:pt x="6153214" y="5295014"/>
                  <a:pt x="6153214" y="5303065"/>
                </a:cubicBezTo>
                <a:cubicBezTo>
                  <a:pt x="6153214" y="5311191"/>
                  <a:pt x="6159745" y="5317722"/>
                  <a:pt x="6167871" y="5317722"/>
                </a:cubicBezTo>
                <a:cubicBezTo>
                  <a:pt x="6175922" y="5317722"/>
                  <a:pt x="6182529" y="5311115"/>
                  <a:pt x="6182529" y="5303065"/>
                </a:cubicBezTo>
                <a:moveTo>
                  <a:pt x="6216933" y="5123222"/>
                </a:moveTo>
                <a:cubicBezTo>
                  <a:pt x="6216933" y="5113881"/>
                  <a:pt x="6209338" y="5106286"/>
                  <a:pt x="6199997" y="5106286"/>
                </a:cubicBezTo>
                <a:cubicBezTo>
                  <a:pt x="6190655" y="5106286"/>
                  <a:pt x="6183061" y="5113881"/>
                  <a:pt x="6183061" y="5123222"/>
                </a:cubicBezTo>
                <a:cubicBezTo>
                  <a:pt x="6183061" y="5132564"/>
                  <a:pt x="6190655" y="5140159"/>
                  <a:pt x="6199997" y="5140159"/>
                </a:cubicBezTo>
                <a:cubicBezTo>
                  <a:pt x="6209338" y="5140159"/>
                  <a:pt x="6216933" y="5132564"/>
                  <a:pt x="6216933" y="5123222"/>
                </a:cubicBezTo>
                <a:moveTo>
                  <a:pt x="6242299" y="4942089"/>
                </a:moveTo>
                <a:cubicBezTo>
                  <a:pt x="6242299" y="4931837"/>
                  <a:pt x="6233945" y="4923482"/>
                  <a:pt x="6223692" y="4923482"/>
                </a:cubicBezTo>
                <a:cubicBezTo>
                  <a:pt x="6213439" y="4923482"/>
                  <a:pt x="6205085" y="4931837"/>
                  <a:pt x="6205085" y="4942089"/>
                </a:cubicBezTo>
                <a:cubicBezTo>
                  <a:pt x="6205085" y="4952342"/>
                  <a:pt x="6213439" y="4960696"/>
                  <a:pt x="6223692" y="4960696"/>
                </a:cubicBezTo>
                <a:cubicBezTo>
                  <a:pt x="6233945" y="4960696"/>
                  <a:pt x="6242299" y="4952418"/>
                  <a:pt x="6242299" y="4942089"/>
                </a:cubicBezTo>
                <a:moveTo>
                  <a:pt x="6259615" y="4760045"/>
                </a:moveTo>
                <a:cubicBezTo>
                  <a:pt x="6259615" y="4748501"/>
                  <a:pt x="6250273" y="4739159"/>
                  <a:pt x="6238730" y="4739159"/>
                </a:cubicBezTo>
                <a:cubicBezTo>
                  <a:pt x="6227186" y="4739159"/>
                  <a:pt x="6217844" y="4748501"/>
                  <a:pt x="6217844" y="4760045"/>
                </a:cubicBezTo>
                <a:cubicBezTo>
                  <a:pt x="6217844" y="4771588"/>
                  <a:pt x="6227186" y="4780930"/>
                  <a:pt x="6238730" y="4780930"/>
                </a:cubicBezTo>
                <a:cubicBezTo>
                  <a:pt x="6250273" y="4780930"/>
                  <a:pt x="6259615" y="4771588"/>
                  <a:pt x="6259615" y="4760045"/>
                </a:cubicBezTo>
                <a:moveTo>
                  <a:pt x="6267817" y="4577544"/>
                </a:moveTo>
                <a:cubicBezTo>
                  <a:pt x="6267817" y="4565089"/>
                  <a:pt x="6257716" y="4554988"/>
                  <a:pt x="6245261" y="4554988"/>
                </a:cubicBezTo>
                <a:cubicBezTo>
                  <a:pt x="6232806" y="4554988"/>
                  <a:pt x="6222705" y="4565089"/>
                  <a:pt x="6222705" y="4577544"/>
                </a:cubicBezTo>
                <a:cubicBezTo>
                  <a:pt x="6222705" y="4590000"/>
                  <a:pt x="6232806" y="4600101"/>
                  <a:pt x="6245261" y="4600101"/>
                </a:cubicBezTo>
                <a:cubicBezTo>
                  <a:pt x="6257716" y="4600101"/>
                  <a:pt x="6267817" y="4590000"/>
                  <a:pt x="6267817" y="4577544"/>
                </a:cubicBezTo>
                <a:moveTo>
                  <a:pt x="6267893" y="4394892"/>
                </a:moveTo>
                <a:cubicBezTo>
                  <a:pt x="6267893" y="4381146"/>
                  <a:pt x="6256805" y="4370057"/>
                  <a:pt x="6243059" y="4370057"/>
                </a:cubicBezTo>
                <a:cubicBezTo>
                  <a:pt x="6229312" y="4370057"/>
                  <a:pt x="6218224" y="4381146"/>
                  <a:pt x="6218224" y="4394892"/>
                </a:cubicBezTo>
                <a:cubicBezTo>
                  <a:pt x="6218224" y="4408639"/>
                  <a:pt x="6229312" y="4419727"/>
                  <a:pt x="6243059" y="4419727"/>
                </a:cubicBezTo>
                <a:cubicBezTo>
                  <a:pt x="6256805" y="4419727"/>
                  <a:pt x="6267893" y="4408563"/>
                  <a:pt x="6267893" y="4394892"/>
                </a:cubicBezTo>
                <a:moveTo>
                  <a:pt x="6259387" y="4212544"/>
                </a:moveTo>
                <a:cubicBezTo>
                  <a:pt x="6259387" y="4197583"/>
                  <a:pt x="6247236" y="4185431"/>
                  <a:pt x="6232274" y="4185431"/>
                </a:cubicBezTo>
                <a:cubicBezTo>
                  <a:pt x="6217313" y="4185431"/>
                  <a:pt x="6205161" y="4197583"/>
                  <a:pt x="6205161" y="4212544"/>
                </a:cubicBezTo>
                <a:cubicBezTo>
                  <a:pt x="6205161" y="4227506"/>
                  <a:pt x="6217313" y="4239657"/>
                  <a:pt x="6232274" y="4239657"/>
                </a:cubicBezTo>
                <a:cubicBezTo>
                  <a:pt x="6247236" y="4239657"/>
                  <a:pt x="6259387" y="4227506"/>
                  <a:pt x="6259387" y="4212544"/>
                </a:cubicBezTo>
                <a:moveTo>
                  <a:pt x="6241691" y="4030879"/>
                </a:moveTo>
                <a:cubicBezTo>
                  <a:pt x="6241691" y="4015006"/>
                  <a:pt x="6228781" y="4002095"/>
                  <a:pt x="6212908" y="4002095"/>
                </a:cubicBezTo>
                <a:cubicBezTo>
                  <a:pt x="6197035" y="4002095"/>
                  <a:pt x="6184124" y="4015006"/>
                  <a:pt x="6184124" y="4030879"/>
                </a:cubicBezTo>
                <a:cubicBezTo>
                  <a:pt x="6184124" y="4046752"/>
                  <a:pt x="6197035" y="4059663"/>
                  <a:pt x="6212908" y="4059663"/>
                </a:cubicBezTo>
                <a:cubicBezTo>
                  <a:pt x="6228781" y="4059663"/>
                  <a:pt x="6241691" y="4046828"/>
                  <a:pt x="6241691" y="4030879"/>
                </a:cubicBezTo>
                <a:moveTo>
                  <a:pt x="6216021" y="3850353"/>
                </a:moveTo>
                <a:cubicBezTo>
                  <a:pt x="6216021" y="3833189"/>
                  <a:pt x="6202123" y="3819291"/>
                  <a:pt x="6184959" y="3819291"/>
                </a:cubicBezTo>
                <a:cubicBezTo>
                  <a:pt x="6167795" y="3819291"/>
                  <a:pt x="6153897" y="3833189"/>
                  <a:pt x="6153897" y="3850353"/>
                </a:cubicBezTo>
                <a:cubicBezTo>
                  <a:pt x="6153897" y="3867517"/>
                  <a:pt x="6167795" y="3881415"/>
                  <a:pt x="6184959" y="3881415"/>
                </a:cubicBezTo>
                <a:cubicBezTo>
                  <a:pt x="6202123" y="3881415"/>
                  <a:pt x="6216021" y="3867517"/>
                  <a:pt x="6216021" y="3850353"/>
                </a:cubicBezTo>
                <a:moveTo>
                  <a:pt x="6181314" y="3671422"/>
                </a:moveTo>
                <a:cubicBezTo>
                  <a:pt x="6181314" y="3653347"/>
                  <a:pt x="6166656" y="3638689"/>
                  <a:pt x="6148581" y="3638689"/>
                </a:cubicBezTo>
                <a:cubicBezTo>
                  <a:pt x="6130506" y="3638689"/>
                  <a:pt x="6115848" y="3653347"/>
                  <a:pt x="6115848" y="3671422"/>
                </a:cubicBezTo>
                <a:cubicBezTo>
                  <a:pt x="6115848" y="3689498"/>
                  <a:pt x="6130506" y="3704156"/>
                  <a:pt x="6148581" y="3704156"/>
                </a:cubicBezTo>
                <a:cubicBezTo>
                  <a:pt x="6166656" y="3704156"/>
                  <a:pt x="6181314" y="3689498"/>
                  <a:pt x="6181314" y="3671422"/>
                </a:cubicBezTo>
                <a:moveTo>
                  <a:pt x="6138176" y="3494314"/>
                </a:moveTo>
                <a:cubicBezTo>
                  <a:pt x="6138176" y="3475328"/>
                  <a:pt x="6122759" y="3459910"/>
                  <a:pt x="6103772" y="3459910"/>
                </a:cubicBezTo>
                <a:cubicBezTo>
                  <a:pt x="6084785" y="3459910"/>
                  <a:pt x="6069368" y="3475328"/>
                  <a:pt x="6069368" y="3494314"/>
                </a:cubicBezTo>
                <a:cubicBezTo>
                  <a:pt x="6069368" y="3513301"/>
                  <a:pt x="6084785" y="3528718"/>
                  <a:pt x="6103772" y="3528718"/>
                </a:cubicBezTo>
                <a:cubicBezTo>
                  <a:pt x="6122759" y="3528718"/>
                  <a:pt x="6138176" y="3513301"/>
                  <a:pt x="6138176" y="3494314"/>
                </a:cubicBezTo>
                <a:moveTo>
                  <a:pt x="6086684" y="3319561"/>
                </a:moveTo>
                <a:cubicBezTo>
                  <a:pt x="6086684" y="3299587"/>
                  <a:pt x="6070507" y="3283410"/>
                  <a:pt x="6050533" y="3283410"/>
                </a:cubicBezTo>
                <a:cubicBezTo>
                  <a:pt x="6030559" y="3283410"/>
                  <a:pt x="6014382" y="3299587"/>
                  <a:pt x="6014382" y="3319561"/>
                </a:cubicBezTo>
                <a:cubicBezTo>
                  <a:pt x="6014382" y="3339535"/>
                  <a:pt x="6030559" y="3355711"/>
                  <a:pt x="6050533" y="3355711"/>
                </a:cubicBezTo>
                <a:cubicBezTo>
                  <a:pt x="6070507" y="3355711"/>
                  <a:pt x="6086684" y="3339535"/>
                  <a:pt x="6086684" y="3319561"/>
                </a:cubicBezTo>
                <a:moveTo>
                  <a:pt x="6026990" y="3147541"/>
                </a:moveTo>
                <a:cubicBezTo>
                  <a:pt x="6026990" y="3126656"/>
                  <a:pt x="6010053" y="3109720"/>
                  <a:pt x="5989168" y="3109720"/>
                </a:cubicBezTo>
                <a:cubicBezTo>
                  <a:pt x="5968283" y="3109720"/>
                  <a:pt x="5951347" y="3126656"/>
                  <a:pt x="5951347" y="3147541"/>
                </a:cubicBezTo>
                <a:cubicBezTo>
                  <a:pt x="5951347" y="3168426"/>
                  <a:pt x="5968283" y="3185363"/>
                  <a:pt x="5989168" y="3185363"/>
                </a:cubicBezTo>
                <a:cubicBezTo>
                  <a:pt x="6010053" y="3185363"/>
                  <a:pt x="6026990" y="3168426"/>
                  <a:pt x="6026990" y="3147541"/>
                </a:cubicBezTo>
                <a:moveTo>
                  <a:pt x="5959321" y="2978559"/>
                </a:moveTo>
                <a:cubicBezTo>
                  <a:pt x="5959321" y="2956763"/>
                  <a:pt x="5941626" y="2939067"/>
                  <a:pt x="5919829" y="2939067"/>
                </a:cubicBezTo>
                <a:cubicBezTo>
                  <a:pt x="5898032" y="2939067"/>
                  <a:pt x="5880337" y="2956763"/>
                  <a:pt x="5880337" y="2978559"/>
                </a:cubicBezTo>
                <a:cubicBezTo>
                  <a:pt x="5880337" y="3000356"/>
                  <a:pt x="5898032" y="3018052"/>
                  <a:pt x="5919829" y="3018052"/>
                </a:cubicBezTo>
                <a:cubicBezTo>
                  <a:pt x="5941626" y="3018052"/>
                  <a:pt x="5959321" y="3000356"/>
                  <a:pt x="5959321" y="2978559"/>
                </a:cubicBezTo>
                <a:moveTo>
                  <a:pt x="5883147" y="2813071"/>
                </a:moveTo>
                <a:cubicBezTo>
                  <a:pt x="5883147" y="2790667"/>
                  <a:pt x="5864919" y="2772440"/>
                  <a:pt x="5842515" y="2772440"/>
                </a:cubicBezTo>
                <a:cubicBezTo>
                  <a:pt x="5820111" y="2772440"/>
                  <a:pt x="5801883" y="2790667"/>
                  <a:pt x="5801883" y="2813071"/>
                </a:cubicBezTo>
                <a:cubicBezTo>
                  <a:pt x="5801883" y="2835551"/>
                  <a:pt x="5820111" y="2853703"/>
                  <a:pt x="5842515" y="2853703"/>
                </a:cubicBezTo>
                <a:cubicBezTo>
                  <a:pt x="5864919" y="2853703"/>
                  <a:pt x="5883147" y="2835475"/>
                  <a:pt x="5883147" y="2813071"/>
                </a:cubicBezTo>
                <a:moveTo>
                  <a:pt x="5799225" y="2651380"/>
                </a:moveTo>
                <a:cubicBezTo>
                  <a:pt x="5799225" y="2628292"/>
                  <a:pt x="5780542" y="2609610"/>
                  <a:pt x="5757455" y="2609610"/>
                </a:cubicBezTo>
                <a:cubicBezTo>
                  <a:pt x="5734367" y="2609610"/>
                  <a:pt x="5715684" y="2628292"/>
                  <a:pt x="5715684" y="2651380"/>
                </a:cubicBezTo>
                <a:cubicBezTo>
                  <a:pt x="5715684" y="2674468"/>
                  <a:pt x="5734367" y="2693151"/>
                  <a:pt x="5757455" y="2693151"/>
                </a:cubicBezTo>
                <a:cubicBezTo>
                  <a:pt x="5780542" y="2693151"/>
                  <a:pt x="5799225" y="2674468"/>
                  <a:pt x="5799225" y="2651380"/>
                </a:cubicBezTo>
                <a:moveTo>
                  <a:pt x="5707785" y="2493943"/>
                </a:moveTo>
                <a:cubicBezTo>
                  <a:pt x="5707785" y="2470247"/>
                  <a:pt x="5688571" y="2451033"/>
                  <a:pt x="5664875" y="2451033"/>
                </a:cubicBezTo>
                <a:cubicBezTo>
                  <a:pt x="5641180" y="2451033"/>
                  <a:pt x="5621965" y="2470247"/>
                  <a:pt x="5621965" y="2493943"/>
                </a:cubicBezTo>
                <a:cubicBezTo>
                  <a:pt x="5621965" y="2517638"/>
                  <a:pt x="5641180" y="2536853"/>
                  <a:pt x="5664875" y="2536853"/>
                </a:cubicBezTo>
                <a:cubicBezTo>
                  <a:pt x="5688571" y="2536853"/>
                  <a:pt x="5707785" y="2517638"/>
                  <a:pt x="5707785" y="2493943"/>
                </a:cubicBezTo>
                <a:moveTo>
                  <a:pt x="5608447" y="2340986"/>
                </a:moveTo>
                <a:cubicBezTo>
                  <a:pt x="5608447" y="2316986"/>
                  <a:pt x="5589004" y="2297544"/>
                  <a:pt x="5565005" y="2297544"/>
                </a:cubicBezTo>
                <a:cubicBezTo>
                  <a:pt x="5541006" y="2297544"/>
                  <a:pt x="5521564" y="2316986"/>
                  <a:pt x="5521564" y="2340986"/>
                </a:cubicBezTo>
                <a:cubicBezTo>
                  <a:pt x="5521564" y="2364985"/>
                  <a:pt x="5541006" y="2384427"/>
                  <a:pt x="5565005" y="2384427"/>
                </a:cubicBezTo>
                <a:cubicBezTo>
                  <a:pt x="5589004" y="2384427"/>
                  <a:pt x="5608447" y="2364985"/>
                  <a:pt x="5608447" y="2340986"/>
                </a:cubicBezTo>
                <a:moveTo>
                  <a:pt x="5501969" y="2192965"/>
                </a:moveTo>
                <a:cubicBezTo>
                  <a:pt x="5501969" y="2168662"/>
                  <a:pt x="5482223" y="2148916"/>
                  <a:pt x="5457920" y="2148916"/>
                </a:cubicBezTo>
                <a:cubicBezTo>
                  <a:pt x="5433617" y="2148916"/>
                  <a:pt x="5413871" y="2168662"/>
                  <a:pt x="5413871" y="2192965"/>
                </a:cubicBezTo>
                <a:cubicBezTo>
                  <a:pt x="5413871" y="2217268"/>
                  <a:pt x="5433541" y="2237014"/>
                  <a:pt x="5457920" y="2237014"/>
                </a:cubicBezTo>
                <a:cubicBezTo>
                  <a:pt x="5482299" y="2237014"/>
                  <a:pt x="5501969" y="2217268"/>
                  <a:pt x="5501969" y="2192965"/>
                </a:cubicBezTo>
                <a:moveTo>
                  <a:pt x="5388657" y="2050185"/>
                </a:moveTo>
                <a:cubicBezTo>
                  <a:pt x="5388657" y="2025578"/>
                  <a:pt x="5368683" y="2005604"/>
                  <a:pt x="5344076" y="2005604"/>
                </a:cubicBezTo>
                <a:cubicBezTo>
                  <a:pt x="5319469" y="2005604"/>
                  <a:pt x="5299495" y="2025578"/>
                  <a:pt x="5299495" y="2050185"/>
                </a:cubicBezTo>
                <a:cubicBezTo>
                  <a:pt x="5299495" y="2074792"/>
                  <a:pt x="5319469" y="2094766"/>
                  <a:pt x="5344076" y="2094766"/>
                </a:cubicBezTo>
                <a:cubicBezTo>
                  <a:pt x="5368683" y="2094766"/>
                  <a:pt x="5388657" y="2074792"/>
                  <a:pt x="5388657" y="2050185"/>
                </a:cubicBezTo>
                <a:moveTo>
                  <a:pt x="5268736" y="1912873"/>
                </a:moveTo>
                <a:cubicBezTo>
                  <a:pt x="5268736" y="1887963"/>
                  <a:pt x="5248535" y="1867761"/>
                  <a:pt x="5223624" y="1867761"/>
                </a:cubicBezTo>
                <a:cubicBezTo>
                  <a:pt x="5198714" y="1867761"/>
                  <a:pt x="5178436" y="1887963"/>
                  <a:pt x="5178436" y="1912873"/>
                </a:cubicBezTo>
                <a:cubicBezTo>
                  <a:pt x="5178436" y="1937784"/>
                  <a:pt x="5198638" y="1957986"/>
                  <a:pt x="5223624" y="1957986"/>
                </a:cubicBezTo>
                <a:cubicBezTo>
                  <a:pt x="5248535" y="1958062"/>
                  <a:pt x="5268736" y="1937860"/>
                  <a:pt x="5268736" y="1912873"/>
                </a:cubicBezTo>
                <a:moveTo>
                  <a:pt x="5141905" y="1781485"/>
                </a:moveTo>
                <a:cubicBezTo>
                  <a:pt x="5141905" y="1756575"/>
                  <a:pt x="5121703" y="1736373"/>
                  <a:pt x="5096793" y="1736373"/>
                </a:cubicBezTo>
                <a:cubicBezTo>
                  <a:pt x="5071882" y="1736373"/>
                  <a:pt x="5051605" y="1756575"/>
                  <a:pt x="5051605" y="1781485"/>
                </a:cubicBezTo>
                <a:cubicBezTo>
                  <a:pt x="5051605" y="1806396"/>
                  <a:pt x="5071806" y="1826598"/>
                  <a:pt x="5096793" y="1826598"/>
                </a:cubicBezTo>
                <a:cubicBezTo>
                  <a:pt x="5121703" y="1826598"/>
                  <a:pt x="5141905" y="1806396"/>
                  <a:pt x="5141905" y="1781485"/>
                </a:cubicBezTo>
                <a:moveTo>
                  <a:pt x="5008391" y="1656173"/>
                </a:moveTo>
                <a:cubicBezTo>
                  <a:pt x="5008391" y="1631566"/>
                  <a:pt x="4988417" y="1611592"/>
                  <a:pt x="4963810" y="1611592"/>
                </a:cubicBezTo>
                <a:cubicBezTo>
                  <a:pt x="4939203" y="1611592"/>
                  <a:pt x="4919229" y="1631566"/>
                  <a:pt x="4919229" y="1656173"/>
                </a:cubicBezTo>
                <a:cubicBezTo>
                  <a:pt x="4919229" y="1680780"/>
                  <a:pt x="4939203" y="1700754"/>
                  <a:pt x="4963810" y="1700754"/>
                </a:cubicBezTo>
                <a:cubicBezTo>
                  <a:pt x="4988417" y="1700754"/>
                  <a:pt x="5008391" y="1680780"/>
                  <a:pt x="5008391" y="1656173"/>
                </a:cubicBezTo>
                <a:moveTo>
                  <a:pt x="4869712" y="1537316"/>
                </a:moveTo>
                <a:cubicBezTo>
                  <a:pt x="4869712" y="1512709"/>
                  <a:pt x="4849738" y="1492735"/>
                  <a:pt x="4825131" y="1492735"/>
                </a:cubicBezTo>
                <a:cubicBezTo>
                  <a:pt x="4800524" y="1492735"/>
                  <a:pt x="4780550" y="1512709"/>
                  <a:pt x="4780550" y="1537316"/>
                </a:cubicBezTo>
                <a:cubicBezTo>
                  <a:pt x="4780550" y="1561923"/>
                  <a:pt x="4800524" y="1581897"/>
                  <a:pt x="4825131" y="1581897"/>
                </a:cubicBezTo>
                <a:cubicBezTo>
                  <a:pt x="4849738" y="1581897"/>
                  <a:pt x="4869712" y="1561923"/>
                  <a:pt x="4869712" y="1537316"/>
                </a:cubicBezTo>
                <a:moveTo>
                  <a:pt x="4725033" y="1425067"/>
                </a:moveTo>
                <a:cubicBezTo>
                  <a:pt x="4725033" y="1400764"/>
                  <a:pt x="4705287" y="1381017"/>
                  <a:pt x="4680984" y="1381017"/>
                </a:cubicBezTo>
                <a:cubicBezTo>
                  <a:pt x="4656681" y="1381017"/>
                  <a:pt x="4636935" y="1400688"/>
                  <a:pt x="4636935" y="1425067"/>
                </a:cubicBezTo>
                <a:cubicBezTo>
                  <a:pt x="4636935" y="1449370"/>
                  <a:pt x="4656681" y="1469116"/>
                  <a:pt x="4680984" y="1469116"/>
                </a:cubicBezTo>
                <a:cubicBezTo>
                  <a:pt x="4705287" y="1469116"/>
                  <a:pt x="4725033" y="1449446"/>
                  <a:pt x="4725033" y="1425067"/>
                </a:cubicBezTo>
                <a:moveTo>
                  <a:pt x="4575190" y="1319880"/>
                </a:moveTo>
                <a:cubicBezTo>
                  <a:pt x="4575190" y="1295881"/>
                  <a:pt x="4555747" y="1276439"/>
                  <a:pt x="4531748" y="1276439"/>
                </a:cubicBezTo>
                <a:cubicBezTo>
                  <a:pt x="4507749" y="1276439"/>
                  <a:pt x="4488307" y="1295881"/>
                  <a:pt x="4488307" y="1319880"/>
                </a:cubicBezTo>
                <a:cubicBezTo>
                  <a:pt x="4488307" y="1343879"/>
                  <a:pt x="4507749" y="1363322"/>
                  <a:pt x="4531748" y="1363322"/>
                </a:cubicBezTo>
                <a:cubicBezTo>
                  <a:pt x="4555671" y="1363322"/>
                  <a:pt x="4575190" y="1343879"/>
                  <a:pt x="4575190" y="1319880"/>
                </a:cubicBezTo>
                <a:moveTo>
                  <a:pt x="4419954" y="1221757"/>
                </a:moveTo>
                <a:cubicBezTo>
                  <a:pt x="4419954" y="1198365"/>
                  <a:pt x="4400968" y="1179455"/>
                  <a:pt x="4377652" y="1179455"/>
                </a:cubicBezTo>
                <a:cubicBezTo>
                  <a:pt x="4354261" y="1179455"/>
                  <a:pt x="4335350" y="1198441"/>
                  <a:pt x="4335350" y="1221757"/>
                </a:cubicBezTo>
                <a:cubicBezTo>
                  <a:pt x="4335350" y="1245149"/>
                  <a:pt x="4354337" y="1264059"/>
                  <a:pt x="4377652" y="1264059"/>
                </a:cubicBezTo>
                <a:cubicBezTo>
                  <a:pt x="4400968" y="1264059"/>
                  <a:pt x="4419954" y="1245149"/>
                  <a:pt x="4419954" y="1221757"/>
                </a:cubicBezTo>
                <a:moveTo>
                  <a:pt x="4260846" y="1131076"/>
                </a:moveTo>
                <a:cubicBezTo>
                  <a:pt x="4260846" y="1107989"/>
                  <a:pt x="4242163" y="1089306"/>
                  <a:pt x="4219075" y="1089306"/>
                </a:cubicBezTo>
                <a:cubicBezTo>
                  <a:pt x="4195987" y="1089306"/>
                  <a:pt x="4177305" y="1107989"/>
                  <a:pt x="4177305" y="1131076"/>
                </a:cubicBezTo>
                <a:cubicBezTo>
                  <a:pt x="4177305" y="1154164"/>
                  <a:pt x="4195987" y="1172847"/>
                  <a:pt x="4219075" y="1172847"/>
                </a:cubicBezTo>
                <a:cubicBezTo>
                  <a:pt x="4242087" y="1172771"/>
                  <a:pt x="4260846" y="1154088"/>
                  <a:pt x="4260846" y="1131076"/>
                </a:cubicBezTo>
                <a:moveTo>
                  <a:pt x="4097029" y="1047915"/>
                </a:moveTo>
                <a:cubicBezTo>
                  <a:pt x="4097029" y="1025510"/>
                  <a:pt x="4078801" y="1007283"/>
                  <a:pt x="4056397" y="1007283"/>
                </a:cubicBezTo>
                <a:cubicBezTo>
                  <a:pt x="4033992" y="1007283"/>
                  <a:pt x="4015765" y="1025510"/>
                  <a:pt x="4015765" y="1047915"/>
                </a:cubicBezTo>
                <a:cubicBezTo>
                  <a:pt x="4015765" y="1070319"/>
                  <a:pt x="4033992" y="1088546"/>
                  <a:pt x="4056397" y="1088546"/>
                </a:cubicBezTo>
                <a:cubicBezTo>
                  <a:pt x="4078801" y="1088546"/>
                  <a:pt x="4097029" y="1070395"/>
                  <a:pt x="4097029" y="1047915"/>
                </a:cubicBezTo>
                <a:moveTo>
                  <a:pt x="3928958" y="972575"/>
                </a:moveTo>
                <a:cubicBezTo>
                  <a:pt x="3928958" y="951082"/>
                  <a:pt x="3911491" y="933615"/>
                  <a:pt x="3889997" y="933615"/>
                </a:cubicBezTo>
                <a:cubicBezTo>
                  <a:pt x="3868504" y="933615"/>
                  <a:pt x="3851037" y="951082"/>
                  <a:pt x="3851037" y="972575"/>
                </a:cubicBezTo>
                <a:cubicBezTo>
                  <a:pt x="3851037" y="994068"/>
                  <a:pt x="3868428" y="1011536"/>
                  <a:pt x="3889997" y="1011536"/>
                </a:cubicBezTo>
                <a:cubicBezTo>
                  <a:pt x="3911566" y="1011536"/>
                  <a:pt x="3928958" y="994068"/>
                  <a:pt x="3928958" y="972575"/>
                </a:cubicBezTo>
                <a:moveTo>
                  <a:pt x="3758078" y="905210"/>
                </a:moveTo>
                <a:cubicBezTo>
                  <a:pt x="3758078" y="884325"/>
                  <a:pt x="3741142" y="867389"/>
                  <a:pt x="3720256" y="867389"/>
                </a:cubicBezTo>
                <a:cubicBezTo>
                  <a:pt x="3699371" y="867389"/>
                  <a:pt x="3682435" y="884325"/>
                  <a:pt x="3682435" y="905210"/>
                </a:cubicBezTo>
                <a:cubicBezTo>
                  <a:pt x="3682435" y="926096"/>
                  <a:pt x="3699371" y="943032"/>
                  <a:pt x="3720256" y="943032"/>
                </a:cubicBezTo>
                <a:cubicBezTo>
                  <a:pt x="3741142" y="943032"/>
                  <a:pt x="3758078" y="926020"/>
                  <a:pt x="3758078" y="905210"/>
                </a:cubicBezTo>
                <a:moveTo>
                  <a:pt x="3583552" y="845896"/>
                </a:moveTo>
                <a:cubicBezTo>
                  <a:pt x="3583552" y="825922"/>
                  <a:pt x="3567375" y="809745"/>
                  <a:pt x="3547401" y="809745"/>
                </a:cubicBezTo>
                <a:cubicBezTo>
                  <a:pt x="3527427" y="809745"/>
                  <a:pt x="3511250" y="825922"/>
                  <a:pt x="3511250" y="845896"/>
                </a:cubicBezTo>
                <a:cubicBezTo>
                  <a:pt x="3511250" y="865870"/>
                  <a:pt x="3527427" y="882047"/>
                  <a:pt x="3547401" y="882047"/>
                </a:cubicBezTo>
                <a:cubicBezTo>
                  <a:pt x="3567451" y="881971"/>
                  <a:pt x="3583552" y="865794"/>
                  <a:pt x="3583552" y="845896"/>
                </a:cubicBezTo>
                <a:moveTo>
                  <a:pt x="3405988" y="794784"/>
                </a:moveTo>
                <a:cubicBezTo>
                  <a:pt x="3405988" y="776101"/>
                  <a:pt x="3390799" y="760911"/>
                  <a:pt x="3372116" y="760911"/>
                </a:cubicBezTo>
                <a:cubicBezTo>
                  <a:pt x="3353433" y="760911"/>
                  <a:pt x="3338244" y="776101"/>
                  <a:pt x="3338244" y="794784"/>
                </a:cubicBezTo>
                <a:cubicBezTo>
                  <a:pt x="3338244" y="813467"/>
                  <a:pt x="3353433" y="828656"/>
                  <a:pt x="3372116" y="828656"/>
                </a:cubicBezTo>
                <a:cubicBezTo>
                  <a:pt x="3390799" y="828656"/>
                  <a:pt x="3405988" y="813467"/>
                  <a:pt x="3405988" y="794784"/>
                </a:cubicBezTo>
                <a:moveTo>
                  <a:pt x="3226678" y="752026"/>
                </a:moveTo>
                <a:cubicBezTo>
                  <a:pt x="3226678" y="734254"/>
                  <a:pt x="3212248" y="719900"/>
                  <a:pt x="3194476" y="719900"/>
                </a:cubicBezTo>
                <a:cubicBezTo>
                  <a:pt x="3176705" y="719900"/>
                  <a:pt x="3162275" y="734330"/>
                  <a:pt x="3162275" y="752026"/>
                </a:cubicBezTo>
                <a:cubicBezTo>
                  <a:pt x="3162275" y="769797"/>
                  <a:pt x="3176705" y="784227"/>
                  <a:pt x="3194476" y="784227"/>
                </a:cubicBezTo>
                <a:cubicBezTo>
                  <a:pt x="3212248" y="784227"/>
                  <a:pt x="3226678" y="769797"/>
                  <a:pt x="3226678" y="752026"/>
                </a:cubicBezTo>
                <a:moveTo>
                  <a:pt x="3045545" y="717698"/>
                </a:moveTo>
                <a:cubicBezTo>
                  <a:pt x="3045545" y="700837"/>
                  <a:pt x="3031874" y="687243"/>
                  <a:pt x="3015090" y="687243"/>
                </a:cubicBezTo>
                <a:cubicBezTo>
                  <a:pt x="2998306" y="687243"/>
                  <a:pt x="2984635" y="700913"/>
                  <a:pt x="2984635" y="717698"/>
                </a:cubicBezTo>
                <a:cubicBezTo>
                  <a:pt x="2984635" y="734558"/>
                  <a:pt x="2998306" y="748152"/>
                  <a:pt x="3015090" y="748152"/>
                </a:cubicBezTo>
                <a:cubicBezTo>
                  <a:pt x="3031874" y="748152"/>
                  <a:pt x="3045545" y="734558"/>
                  <a:pt x="3045545" y="717698"/>
                </a:cubicBezTo>
                <a:moveTo>
                  <a:pt x="2862513" y="691952"/>
                </a:moveTo>
                <a:cubicBezTo>
                  <a:pt x="2862513" y="676383"/>
                  <a:pt x="2849905" y="663775"/>
                  <a:pt x="2834260" y="663775"/>
                </a:cubicBezTo>
                <a:cubicBezTo>
                  <a:pt x="2818691" y="663775"/>
                  <a:pt x="2806084" y="676383"/>
                  <a:pt x="2806084" y="691952"/>
                </a:cubicBezTo>
                <a:cubicBezTo>
                  <a:pt x="2806084" y="707521"/>
                  <a:pt x="2818691" y="720204"/>
                  <a:pt x="2834260" y="720204"/>
                </a:cubicBezTo>
                <a:cubicBezTo>
                  <a:pt x="2849829" y="720128"/>
                  <a:pt x="2862513" y="707521"/>
                  <a:pt x="2862513" y="691952"/>
                </a:cubicBezTo>
                <a:moveTo>
                  <a:pt x="2678949" y="674712"/>
                </a:moveTo>
                <a:cubicBezTo>
                  <a:pt x="2678949" y="660054"/>
                  <a:pt x="2667101" y="648206"/>
                  <a:pt x="2652444" y="648206"/>
                </a:cubicBezTo>
                <a:cubicBezTo>
                  <a:pt x="2637786" y="648206"/>
                  <a:pt x="2625938" y="660054"/>
                  <a:pt x="2625938" y="674712"/>
                </a:cubicBezTo>
                <a:cubicBezTo>
                  <a:pt x="2625938" y="689370"/>
                  <a:pt x="2637786" y="701217"/>
                  <a:pt x="2652444" y="701217"/>
                </a:cubicBezTo>
                <a:cubicBezTo>
                  <a:pt x="2667101" y="701217"/>
                  <a:pt x="2678949" y="689370"/>
                  <a:pt x="2678949" y="674712"/>
                </a:cubicBezTo>
                <a:moveTo>
                  <a:pt x="2494246" y="666054"/>
                </a:moveTo>
                <a:cubicBezTo>
                  <a:pt x="2494246" y="652687"/>
                  <a:pt x="2483386" y="641827"/>
                  <a:pt x="2469943" y="641827"/>
                </a:cubicBezTo>
                <a:cubicBezTo>
                  <a:pt x="2456501" y="641827"/>
                  <a:pt x="2445640" y="652687"/>
                  <a:pt x="2445640" y="666054"/>
                </a:cubicBezTo>
                <a:cubicBezTo>
                  <a:pt x="2445640" y="679496"/>
                  <a:pt x="2456501" y="690357"/>
                  <a:pt x="2469943" y="690357"/>
                </a:cubicBezTo>
                <a:cubicBezTo>
                  <a:pt x="2483386" y="690357"/>
                  <a:pt x="2494246" y="679496"/>
                  <a:pt x="2494246" y="666054"/>
                </a:cubicBezTo>
                <a:moveTo>
                  <a:pt x="2309316" y="666054"/>
                </a:moveTo>
                <a:cubicBezTo>
                  <a:pt x="2309316" y="653902"/>
                  <a:pt x="2299443" y="644029"/>
                  <a:pt x="2287291" y="644029"/>
                </a:cubicBezTo>
                <a:cubicBezTo>
                  <a:pt x="2275140" y="644029"/>
                  <a:pt x="2265267" y="653902"/>
                  <a:pt x="2265267" y="666054"/>
                </a:cubicBezTo>
                <a:cubicBezTo>
                  <a:pt x="2265267" y="678205"/>
                  <a:pt x="2275140" y="688078"/>
                  <a:pt x="2287291" y="688078"/>
                </a:cubicBezTo>
                <a:cubicBezTo>
                  <a:pt x="2299443" y="688078"/>
                  <a:pt x="2309316" y="678205"/>
                  <a:pt x="2309316" y="666054"/>
                </a:cubicBezTo>
                <a:moveTo>
                  <a:pt x="2125145" y="674712"/>
                </a:moveTo>
                <a:cubicBezTo>
                  <a:pt x="2125145" y="663472"/>
                  <a:pt x="2116031" y="654358"/>
                  <a:pt x="2104791" y="654358"/>
                </a:cubicBezTo>
                <a:cubicBezTo>
                  <a:pt x="2093551" y="654358"/>
                  <a:pt x="2084513" y="663472"/>
                  <a:pt x="2084513" y="674712"/>
                </a:cubicBezTo>
                <a:cubicBezTo>
                  <a:pt x="2084513" y="685952"/>
                  <a:pt x="2093627" y="695066"/>
                  <a:pt x="2104791" y="695066"/>
                </a:cubicBezTo>
                <a:cubicBezTo>
                  <a:pt x="2116031" y="694990"/>
                  <a:pt x="2125145" y="685952"/>
                  <a:pt x="2125145" y="674712"/>
                </a:cubicBezTo>
                <a:moveTo>
                  <a:pt x="1941049" y="691952"/>
                </a:moveTo>
                <a:cubicBezTo>
                  <a:pt x="1941049" y="682003"/>
                  <a:pt x="1932923" y="673876"/>
                  <a:pt x="1922974" y="673876"/>
                </a:cubicBezTo>
                <a:cubicBezTo>
                  <a:pt x="1913025" y="673876"/>
                  <a:pt x="1904899" y="682003"/>
                  <a:pt x="1904899" y="691952"/>
                </a:cubicBezTo>
                <a:cubicBezTo>
                  <a:pt x="1904899" y="701901"/>
                  <a:pt x="1913025" y="710027"/>
                  <a:pt x="1922974" y="710027"/>
                </a:cubicBezTo>
                <a:cubicBezTo>
                  <a:pt x="1932999" y="709951"/>
                  <a:pt x="1941049" y="701901"/>
                  <a:pt x="1941049" y="691952"/>
                </a:cubicBezTo>
                <a:moveTo>
                  <a:pt x="1758549" y="717698"/>
                </a:moveTo>
                <a:cubicBezTo>
                  <a:pt x="1758549" y="708660"/>
                  <a:pt x="1751258" y="701369"/>
                  <a:pt x="1742221" y="701369"/>
                </a:cubicBezTo>
                <a:cubicBezTo>
                  <a:pt x="1733183" y="701369"/>
                  <a:pt x="1725816" y="708736"/>
                  <a:pt x="1725816" y="717698"/>
                </a:cubicBezTo>
                <a:cubicBezTo>
                  <a:pt x="1725816" y="726735"/>
                  <a:pt x="1733183" y="734102"/>
                  <a:pt x="1742221" y="734102"/>
                </a:cubicBezTo>
                <a:cubicBezTo>
                  <a:pt x="1751182" y="734102"/>
                  <a:pt x="1758549" y="726735"/>
                  <a:pt x="1758549" y="717698"/>
                </a:cubicBezTo>
                <a:moveTo>
                  <a:pt x="1577416" y="752026"/>
                </a:moveTo>
                <a:cubicBezTo>
                  <a:pt x="1577416" y="743899"/>
                  <a:pt x="1570809" y="737368"/>
                  <a:pt x="1562758" y="737368"/>
                </a:cubicBezTo>
                <a:cubicBezTo>
                  <a:pt x="1554632" y="737368"/>
                  <a:pt x="1548100" y="743975"/>
                  <a:pt x="1548100" y="752026"/>
                </a:cubicBezTo>
                <a:cubicBezTo>
                  <a:pt x="1548100" y="760152"/>
                  <a:pt x="1554632" y="766683"/>
                  <a:pt x="1562758" y="766683"/>
                </a:cubicBezTo>
                <a:cubicBezTo>
                  <a:pt x="1570885" y="766683"/>
                  <a:pt x="1577416" y="760152"/>
                  <a:pt x="1577416" y="752026"/>
                </a:cubicBezTo>
                <a:moveTo>
                  <a:pt x="1397574" y="794784"/>
                </a:moveTo>
                <a:cubicBezTo>
                  <a:pt x="1397574" y="787949"/>
                  <a:pt x="1392030" y="782404"/>
                  <a:pt x="1385119" y="782404"/>
                </a:cubicBezTo>
                <a:cubicBezTo>
                  <a:pt x="1378283" y="782404"/>
                  <a:pt x="1372663" y="787949"/>
                  <a:pt x="1372663" y="794784"/>
                </a:cubicBezTo>
                <a:cubicBezTo>
                  <a:pt x="1372663" y="801619"/>
                  <a:pt x="1378207" y="807239"/>
                  <a:pt x="1385119" y="807239"/>
                </a:cubicBezTo>
                <a:cubicBezTo>
                  <a:pt x="1392030" y="807163"/>
                  <a:pt x="1397574" y="801619"/>
                  <a:pt x="1397574" y="794784"/>
                </a:cubicBezTo>
                <a:moveTo>
                  <a:pt x="1220542" y="845896"/>
                </a:moveTo>
                <a:cubicBezTo>
                  <a:pt x="1220542" y="839972"/>
                  <a:pt x="1215757" y="835187"/>
                  <a:pt x="1209833" y="835187"/>
                </a:cubicBezTo>
                <a:cubicBezTo>
                  <a:pt x="1203909" y="835187"/>
                  <a:pt x="1199125" y="839972"/>
                  <a:pt x="1199125" y="845896"/>
                </a:cubicBezTo>
                <a:cubicBezTo>
                  <a:pt x="1199125" y="851820"/>
                  <a:pt x="1203909" y="856604"/>
                  <a:pt x="1209833" y="856604"/>
                </a:cubicBezTo>
                <a:cubicBezTo>
                  <a:pt x="1215681" y="856604"/>
                  <a:pt x="1220542" y="851820"/>
                  <a:pt x="1220542" y="845896"/>
                </a:cubicBezTo>
                <a:moveTo>
                  <a:pt x="1046092" y="905210"/>
                </a:moveTo>
                <a:cubicBezTo>
                  <a:pt x="1046092" y="900198"/>
                  <a:pt x="1042067" y="896173"/>
                  <a:pt x="1037054" y="896173"/>
                </a:cubicBezTo>
                <a:cubicBezTo>
                  <a:pt x="1032042" y="896173"/>
                  <a:pt x="1028016" y="900198"/>
                  <a:pt x="1028016" y="905210"/>
                </a:cubicBezTo>
                <a:cubicBezTo>
                  <a:pt x="1028016" y="910223"/>
                  <a:pt x="1032042" y="914248"/>
                  <a:pt x="1037054" y="914248"/>
                </a:cubicBezTo>
                <a:cubicBezTo>
                  <a:pt x="1042067" y="914248"/>
                  <a:pt x="1046092" y="910147"/>
                  <a:pt x="1046092" y="905210"/>
                </a:cubicBezTo>
                <a:moveTo>
                  <a:pt x="874604" y="972575"/>
                </a:moveTo>
                <a:cubicBezTo>
                  <a:pt x="874604" y="968550"/>
                  <a:pt x="871338" y="965208"/>
                  <a:pt x="867237" y="965208"/>
                </a:cubicBezTo>
                <a:cubicBezTo>
                  <a:pt x="863136" y="965208"/>
                  <a:pt x="859870" y="968474"/>
                  <a:pt x="859870" y="972575"/>
                </a:cubicBezTo>
                <a:cubicBezTo>
                  <a:pt x="859870" y="976600"/>
                  <a:pt x="863136" y="979942"/>
                  <a:pt x="867237" y="979942"/>
                </a:cubicBezTo>
                <a:cubicBezTo>
                  <a:pt x="871338" y="979942"/>
                  <a:pt x="874604" y="976600"/>
                  <a:pt x="874604" y="972575"/>
                </a:cubicBezTo>
                <a:moveTo>
                  <a:pt x="707065" y="1047915"/>
                </a:moveTo>
                <a:cubicBezTo>
                  <a:pt x="707065" y="1044497"/>
                  <a:pt x="704255" y="1041687"/>
                  <a:pt x="700837" y="1041687"/>
                </a:cubicBezTo>
                <a:cubicBezTo>
                  <a:pt x="697420" y="1041687"/>
                  <a:pt x="694610" y="1044497"/>
                  <a:pt x="694610" y="1047915"/>
                </a:cubicBezTo>
                <a:cubicBezTo>
                  <a:pt x="694610" y="1051332"/>
                  <a:pt x="697420" y="1054142"/>
                  <a:pt x="700837" y="1054142"/>
                </a:cubicBezTo>
                <a:cubicBezTo>
                  <a:pt x="704255" y="1054142"/>
                  <a:pt x="707065" y="1051332"/>
                  <a:pt x="707065" y="1047915"/>
                </a:cubicBezTo>
                <a:moveTo>
                  <a:pt x="543248" y="1131076"/>
                </a:moveTo>
                <a:cubicBezTo>
                  <a:pt x="543248" y="1128266"/>
                  <a:pt x="540969" y="1125988"/>
                  <a:pt x="538159" y="1125988"/>
                </a:cubicBezTo>
                <a:cubicBezTo>
                  <a:pt x="535349" y="1125988"/>
                  <a:pt x="533071" y="1128266"/>
                  <a:pt x="533071" y="1131076"/>
                </a:cubicBezTo>
                <a:cubicBezTo>
                  <a:pt x="533071" y="1133886"/>
                  <a:pt x="535349" y="1136165"/>
                  <a:pt x="538159" y="1136165"/>
                </a:cubicBezTo>
                <a:cubicBezTo>
                  <a:pt x="541045" y="1136089"/>
                  <a:pt x="543248" y="1133810"/>
                  <a:pt x="543248" y="1131076"/>
                </a:cubicBezTo>
                <a:moveTo>
                  <a:pt x="383608" y="1221757"/>
                </a:moveTo>
                <a:cubicBezTo>
                  <a:pt x="383608" y="1219554"/>
                  <a:pt x="381861" y="1217808"/>
                  <a:pt x="379658" y="1217808"/>
                </a:cubicBezTo>
                <a:cubicBezTo>
                  <a:pt x="377456" y="1217808"/>
                  <a:pt x="375709" y="1219554"/>
                  <a:pt x="375709" y="1221757"/>
                </a:cubicBezTo>
                <a:cubicBezTo>
                  <a:pt x="375709" y="1223959"/>
                  <a:pt x="377456" y="1225706"/>
                  <a:pt x="379658" y="1225706"/>
                </a:cubicBezTo>
                <a:cubicBezTo>
                  <a:pt x="381861" y="1225706"/>
                  <a:pt x="383608" y="1223959"/>
                  <a:pt x="383608" y="1221757"/>
                </a:cubicBezTo>
                <a:moveTo>
                  <a:pt x="228372" y="1319880"/>
                </a:moveTo>
                <a:cubicBezTo>
                  <a:pt x="228372" y="1318361"/>
                  <a:pt x="227081" y="1317070"/>
                  <a:pt x="225562" y="1317070"/>
                </a:cubicBezTo>
                <a:cubicBezTo>
                  <a:pt x="223967" y="1317070"/>
                  <a:pt x="222752" y="1318361"/>
                  <a:pt x="222752" y="1319880"/>
                </a:cubicBezTo>
                <a:cubicBezTo>
                  <a:pt x="222752" y="1321475"/>
                  <a:pt x="224043" y="1322690"/>
                  <a:pt x="225562" y="1322690"/>
                </a:cubicBezTo>
                <a:cubicBezTo>
                  <a:pt x="227157" y="1322690"/>
                  <a:pt x="228372" y="1321399"/>
                  <a:pt x="228372" y="1319880"/>
                </a:cubicBezTo>
                <a:moveTo>
                  <a:pt x="5779023" y="6774231"/>
                </a:moveTo>
                <a:cubicBezTo>
                  <a:pt x="5779023" y="6772332"/>
                  <a:pt x="5777504" y="6770813"/>
                  <a:pt x="5775606" y="6770813"/>
                </a:cubicBezTo>
                <a:cubicBezTo>
                  <a:pt x="5773707" y="6770813"/>
                  <a:pt x="5772188" y="6772332"/>
                  <a:pt x="5772188" y="6774231"/>
                </a:cubicBezTo>
                <a:cubicBezTo>
                  <a:pt x="5772188" y="6776129"/>
                  <a:pt x="5773707" y="6777648"/>
                  <a:pt x="5775606" y="6777648"/>
                </a:cubicBezTo>
                <a:cubicBezTo>
                  <a:pt x="5777580" y="6777572"/>
                  <a:pt x="5779023" y="6776129"/>
                  <a:pt x="5779023" y="6774231"/>
                </a:cubicBezTo>
                <a:moveTo>
                  <a:pt x="5876767" y="6619527"/>
                </a:moveTo>
                <a:cubicBezTo>
                  <a:pt x="5876767" y="6617325"/>
                  <a:pt x="5875020" y="6615578"/>
                  <a:pt x="5872818" y="6615578"/>
                </a:cubicBezTo>
                <a:cubicBezTo>
                  <a:pt x="5870615" y="6615578"/>
                  <a:pt x="5868869" y="6617325"/>
                  <a:pt x="5868869" y="6619527"/>
                </a:cubicBezTo>
                <a:cubicBezTo>
                  <a:pt x="5868869" y="6621730"/>
                  <a:pt x="5870615" y="6623476"/>
                  <a:pt x="5872818" y="6623476"/>
                </a:cubicBezTo>
                <a:cubicBezTo>
                  <a:pt x="5875020" y="6623476"/>
                  <a:pt x="5876767" y="6621730"/>
                  <a:pt x="5876767" y="6619527"/>
                </a:cubicBezTo>
                <a:moveTo>
                  <a:pt x="5968663" y="6460722"/>
                </a:moveTo>
                <a:cubicBezTo>
                  <a:pt x="5968663" y="6457608"/>
                  <a:pt x="5966156" y="6455102"/>
                  <a:pt x="5963042" y="6455102"/>
                </a:cubicBezTo>
                <a:cubicBezTo>
                  <a:pt x="5959929" y="6455102"/>
                  <a:pt x="5957422" y="6457608"/>
                  <a:pt x="5957422" y="6460722"/>
                </a:cubicBezTo>
                <a:cubicBezTo>
                  <a:pt x="5957422" y="6463836"/>
                  <a:pt x="5959929" y="6466342"/>
                  <a:pt x="5963042" y="6466342"/>
                </a:cubicBezTo>
                <a:cubicBezTo>
                  <a:pt x="5966156" y="6466342"/>
                  <a:pt x="5968663" y="6463836"/>
                  <a:pt x="5968663" y="6460722"/>
                </a:cubicBezTo>
                <a:moveTo>
                  <a:pt x="6052736" y="6297968"/>
                </a:moveTo>
                <a:cubicBezTo>
                  <a:pt x="6052736" y="6294247"/>
                  <a:pt x="6049698" y="6291209"/>
                  <a:pt x="6045977" y="6291209"/>
                </a:cubicBezTo>
                <a:cubicBezTo>
                  <a:pt x="6042255" y="6291209"/>
                  <a:pt x="6039217" y="6294247"/>
                  <a:pt x="6039217" y="6297968"/>
                </a:cubicBezTo>
                <a:cubicBezTo>
                  <a:pt x="6039217" y="6301690"/>
                  <a:pt x="6042255" y="6304727"/>
                  <a:pt x="6045977" y="6304727"/>
                </a:cubicBezTo>
                <a:cubicBezTo>
                  <a:pt x="6049698" y="6304727"/>
                  <a:pt x="6052736" y="6301690"/>
                  <a:pt x="6052736" y="6297968"/>
                </a:cubicBezTo>
                <a:moveTo>
                  <a:pt x="6129366" y="6131645"/>
                </a:moveTo>
                <a:cubicBezTo>
                  <a:pt x="6129366" y="6127240"/>
                  <a:pt x="6125797" y="6123746"/>
                  <a:pt x="6121468" y="6123746"/>
                </a:cubicBezTo>
                <a:cubicBezTo>
                  <a:pt x="6117139" y="6123746"/>
                  <a:pt x="6113569" y="6127240"/>
                  <a:pt x="6113569" y="6131645"/>
                </a:cubicBezTo>
                <a:cubicBezTo>
                  <a:pt x="6113569" y="6135974"/>
                  <a:pt x="6117139" y="6139543"/>
                  <a:pt x="6121468" y="6139543"/>
                </a:cubicBezTo>
                <a:cubicBezTo>
                  <a:pt x="6125797" y="6139543"/>
                  <a:pt x="6129366" y="6135974"/>
                  <a:pt x="6129366" y="6131645"/>
                </a:cubicBezTo>
                <a:moveTo>
                  <a:pt x="6199085" y="5962131"/>
                </a:moveTo>
                <a:cubicBezTo>
                  <a:pt x="6199085" y="5956815"/>
                  <a:pt x="6194756" y="5952562"/>
                  <a:pt x="6189516" y="5952562"/>
                </a:cubicBezTo>
                <a:cubicBezTo>
                  <a:pt x="6184200" y="5952562"/>
                  <a:pt x="6179947" y="5956891"/>
                  <a:pt x="6179947" y="5962131"/>
                </a:cubicBezTo>
                <a:cubicBezTo>
                  <a:pt x="6179947" y="5967448"/>
                  <a:pt x="6184200" y="5971701"/>
                  <a:pt x="6189516" y="5971701"/>
                </a:cubicBezTo>
                <a:cubicBezTo>
                  <a:pt x="6194756" y="5971701"/>
                  <a:pt x="6199085" y="5967372"/>
                  <a:pt x="6199085" y="5962131"/>
                </a:cubicBezTo>
                <a:moveTo>
                  <a:pt x="6261058" y="5789656"/>
                </a:moveTo>
                <a:cubicBezTo>
                  <a:pt x="6261058" y="5783429"/>
                  <a:pt x="6255969" y="5778340"/>
                  <a:pt x="6249742" y="5778340"/>
                </a:cubicBezTo>
                <a:cubicBezTo>
                  <a:pt x="6243514" y="5778340"/>
                  <a:pt x="6238426" y="5783429"/>
                  <a:pt x="6238426" y="5789656"/>
                </a:cubicBezTo>
                <a:cubicBezTo>
                  <a:pt x="6238426" y="5795883"/>
                  <a:pt x="6243514" y="5800972"/>
                  <a:pt x="6249742" y="5800972"/>
                </a:cubicBezTo>
                <a:cubicBezTo>
                  <a:pt x="6256045" y="5800972"/>
                  <a:pt x="6261058" y="5795883"/>
                  <a:pt x="6261058" y="5789656"/>
                </a:cubicBezTo>
                <a:moveTo>
                  <a:pt x="6315892" y="5614750"/>
                </a:moveTo>
                <a:cubicBezTo>
                  <a:pt x="6315892" y="5607308"/>
                  <a:pt x="6309816" y="5601232"/>
                  <a:pt x="6302373" y="5601232"/>
                </a:cubicBezTo>
                <a:cubicBezTo>
                  <a:pt x="6294854" y="5601232"/>
                  <a:pt x="6288854" y="5607308"/>
                  <a:pt x="6288854" y="5614750"/>
                </a:cubicBezTo>
                <a:cubicBezTo>
                  <a:pt x="6288854" y="5622193"/>
                  <a:pt x="6294930" y="5628269"/>
                  <a:pt x="6302373" y="5628269"/>
                </a:cubicBezTo>
                <a:cubicBezTo>
                  <a:pt x="6309816" y="5628269"/>
                  <a:pt x="6315892" y="5622193"/>
                  <a:pt x="6315892" y="5614750"/>
                </a:cubicBezTo>
                <a:moveTo>
                  <a:pt x="6362219" y="5437642"/>
                </a:moveTo>
                <a:cubicBezTo>
                  <a:pt x="6362219" y="5429212"/>
                  <a:pt x="6355384" y="5422377"/>
                  <a:pt x="6346954" y="5422377"/>
                </a:cubicBezTo>
                <a:cubicBezTo>
                  <a:pt x="6338524" y="5422377"/>
                  <a:pt x="6331689" y="5429212"/>
                  <a:pt x="6331689" y="5437642"/>
                </a:cubicBezTo>
                <a:cubicBezTo>
                  <a:pt x="6331689" y="5446072"/>
                  <a:pt x="6338524" y="5452908"/>
                  <a:pt x="6346954" y="5452908"/>
                </a:cubicBezTo>
                <a:cubicBezTo>
                  <a:pt x="6355384" y="5452832"/>
                  <a:pt x="6362219" y="5445996"/>
                  <a:pt x="6362219" y="5437642"/>
                </a:cubicBezTo>
                <a:moveTo>
                  <a:pt x="6400572" y="5258636"/>
                </a:moveTo>
                <a:cubicBezTo>
                  <a:pt x="6400572" y="5249294"/>
                  <a:pt x="6392978" y="5241700"/>
                  <a:pt x="6383636" y="5241700"/>
                </a:cubicBezTo>
                <a:cubicBezTo>
                  <a:pt x="6374295" y="5241700"/>
                  <a:pt x="6366700" y="5249294"/>
                  <a:pt x="6366700" y="5258636"/>
                </a:cubicBezTo>
                <a:cubicBezTo>
                  <a:pt x="6366700" y="5267977"/>
                  <a:pt x="6374295" y="5275572"/>
                  <a:pt x="6383636" y="5275572"/>
                </a:cubicBezTo>
                <a:cubicBezTo>
                  <a:pt x="6392978" y="5275572"/>
                  <a:pt x="6400572" y="5267977"/>
                  <a:pt x="6400572" y="5258636"/>
                </a:cubicBezTo>
                <a:moveTo>
                  <a:pt x="6431407" y="5078262"/>
                </a:moveTo>
                <a:cubicBezTo>
                  <a:pt x="6431407" y="5067630"/>
                  <a:pt x="6422825" y="5059048"/>
                  <a:pt x="6412192" y="5059048"/>
                </a:cubicBezTo>
                <a:cubicBezTo>
                  <a:pt x="6401560" y="5059048"/>
                  <a:pt x="6392978" y="5067630"/>
                  <a:pt x="6392978" y="5078262"/>
                </a:cubicBezTo>
                <a:cubicBezTo>
                  <a:pt x="6392978" y="5088819"/>
                  <a:pt x="6401560" y="5097477"/>
                  <a:pt x="6412192" y="5097477"/>
                </a:cubicBezTo>
                <a:cubicBezTo>
                  <a:pt x="6422825" y="5097477"/>
                  <a:pt x="6431407" y="5088819"/>
                  <a:pt x="6431407" y="5078262"/>
                </a:cubicBezTo>
                <a:moveTo>
                  <a:pt x="6454115" y="4896749"/>
                </a:moveTo>
                <a:cubicBezTo>
                  <a:pt x="6454115" y="4884901"/>
                  <a:pt x="6444469" y="4875332"/>
                  <a:pt x="6432698" y="4875332"/>
                </a:cubicBezTo>
                <a:cubicBezTo>
                  <a:pt x="6420850" y="4875332"/>
                  <a:pt x="6411281" y="4884901"/>
                  <a:pt x="6411281" y="4896749"/>
                </a:cubicBezTo>
                <a:cubicBezTo>
                  <a:pt x="6411281" y="4908597"/>
                  <a:pt x="6420850" y="4918166"/>
                  <a:pt x="6432698" y="4918166"/>
                </a:cubicBezTo>
                <a:cubicBezTo>
                  <a:pt x="6444469" y="4918166"/>
                  <a:pt x="6454115" y="4908597"/>
                  <a:pt x="6454115" y="4896749"/>
                </a:cubicBezTo>
                <a:moveTo>
                  <a:pt x="6468621" y="4714477"/>
                </a:moveTo>
                <a:cubicBezTo>
                  <a:pt x="6468621" y="4701414"/>
                  <a:pt x="6457988" y="4690781"/>
                  <a:pt x="6444925" y="4690781"/>
                </a:cubicBezTo>
                <a:cubicBezTo>
                  <a:pt x="6431863" y="4690781"/>
                  <a:pt x="6421230" y="4701414"/>
                  <a:pt x="6421230" y="4714477"/>
                </a:cubicBezTo>
                <a:cubicBezTo>
                  <a:pt x="6421230" y="4727539"/>
                  <a:pt x="6431863" y="4738172"/>
                  <a:pt x="6444925" y="4738172"/>
                </a:cubicBezTo>
                <a:cubicBezTo>
                  <a:pt x="6457988" y="4738172"/>
                  <a:pt x="6468621" y="4727539"/>
                  <a:pt x="6468621" y="4714477"/>
                </a:cubicBezTo>
                <a:moveTo>
                  <a:pt x="6474393" y="4531824"/>
                </a:moveTo>
                <a:cubicBezTo>
                  <a:pt x="6474393" y="4517774"/>
                  <a:pt x="6463001" y="4506458"/>
                  <a:pt x="6449027" y="4506458"/>
                </a:cubicBezTo>
                <a:cubicBezTo>
                  <a:pt x="6434976" y="4506458"/>
                  <a:pt x="6423660" y="4517850"/>
                  <a:pt x="6423660" y="4531824"/>
                </a:cubicBezTo>
                <a:cubicBezTo>
                  <a:pt x="6423660" y="4545875"/>
                  <a:pt x="6435052" y="4557191"/>
                  <a:pt x="6449027" y="4557191"/>
                </a:cubicBezTo>
                <a:cubicBezTo>
                  <a:pt x="6463077" y="4557267"/>
                  <a:pt x="6474393" y="4545875"/>
                  <a:pt x="6474393" y="4531824"/>
                </a:cubicBezTo>
                <a:moveTo>
                  <a:pt x="6472570" y="4349248"/>
                </a:moveTo>
                <a:cubicBezTo>
                  <a:pt x="6472570" y="4333983"/>
                  <a:pt x="6460191" y="4321603"/>
                  <a:pt x="6444925" y="4321603"/>
                </a:cubicBezTo>
                <a:cubicBezTo>
                  <a:pt x="6429660" y="4321603"/>
                  <a:pt x="6417280" y="4333983"/>
                  <a:pt x="6417280" y="4349248"/>
                </a:cubicBezTo>
                <a:cubicBezTo>
                  <a:pt x="6417280" y="4364514"/>
                  <a:pt x="6429660" y="4376893"/>
                  <a:pt x="6444925" y="4376893"/>
                </a:cubicBezTo>
                <a:cubicBezTo>
                  <a:pt x="6460191" y="4376893"/>
                  <a:pt x="6472570" y="4364514"/>
                  <a:pt x="6472570" y="4349248"/>
                </a:cubicBezTo>
                <a:moveTo>
                  <a:pt x="6462545" y="4166976"/>
                </a:moveTo>
                <a:cubicBezTo>
                  <a:pt x="6462545" y="4150495"/>
                  <a:pt x="6449178" y="4137053"/>
                  <a:pt x="6432622" y="4137053"/>
                </a:cubicBezTo>
                <a:cubicBezTo>
                  <a:pt x="6416141" y="4137053"/>
                  <a:pt x="6402699" y="4150419"/>
                  <a:pt x="6402699" y="4166976"/>
                </a:cubicBezTo>
                <a:cubicBezTo>
                  <a:pt x="6402699" y="4183532"/>
                  <a:pt x="6416065" y="4196899"/>
                  <a:pt x="6432622" y="4196899"/>
                </a:cubicBezTo>
                <a:cubicBezTo>
                  <a:pt x="6449178" y="4196899"/>
                  <a:pt x="6462545" y="4183532"/>
                  <a:pt x="6462545" y="4166976"/>
                </a:cubicBezTo>
                <a:moveTo>
                  <a:pt x="6444393" y="3985462"/>
                </a:moveTo>
                <a:cubicBezTo>
                  <a:pt x="6444393" y="3967691"/>
                  <a:pt x="6429964" y="3953337"/>
                  <a:pt x="6412192" y="3953337"/>
                </a:cubicBezTo>
                <a:cubicBezTo>
                  <a:pt x="6394421" y="3953337"/>
                  <a:pt x="6379991" y="3967767"/>
                  <a:pt x="6379991" y="3985462"/>
                </a:cubicBezTo>
                <a:cubicBezTo>
                  <a:pt x="6379991" y="4003234"/>
                  <a:pt x="6394421" y="4017664"/>
                  <a:pt x="6412192" y="4017664"/>
                </a:cubicBezTo>
                <a:cubicBezTo>
                  <a:pt x="6429964" y="4017664"/>
                  <a:pt x="6444393" y="4003234"/>
                  <a:pt x="6444393" y="3985462"/>
                </a:cubicBezTo>
                <a:moveTo>
                  <a:pt x="6417508" y="3805089"/>
                </a:moveTo>
                <a:cubicBezTo>
                  <a:pt x="6417508" y="3786406"/>
                  <a:pt x="6402319" y="3771217"/>
                  <a:pt x="6383636" y="3771217"/>
                </a:cubicBezTo>
                <a:cubicBezTo>
                  <a:pt x="6364953" y="3771217"/>
                  <a:pt x="6349764" y="3786406"/>
                  <a:pt x="6349764" y="3805089"/>
                </a:cubicBezTo>
                <a:cubicBezTo>
                  <a:pt x="6349764" y="3823772"/>
                  <a:pt x="6364953" y="3838961"/>
                  <a:pt x="6383636" y="3838961"/>
                </a:cubicBezTo>
                <a:cubicBezTo>
                  <a:pt x="6402319" y="3838885"/>
                  <a:pt x="6417508" y="3823772"/>
                  <a:pt x="6417508" y="3805089"/>
                </a:cubicBezTo>
                <a:moveTo>
                  <a:pt x="6383104" y="3626082"/>
                </a:moveTo>
                <a:cubicBezTo>
                  <a:pt x="6383104" y="3606108"/>
                  <a:pt x="6366928" y="3589931"/>
                  <a:pt x="6346954" y="3589931"/>
                </a:cubicBezTo>
                <a:cubicBezTo>
                  <a:pt x="6326980" y="3589931"/>
                  <a:pt x="6310803" y="3606108"/>
                  <a:pt x="6310803" y="3626082"/>
                </a:cubicBezTo>
                <a:cubicBezTo>
                  <a:pt x="6310803" y="3646056"/>
                  <a:pt x="6326980" y="3662233"/>
                  <a:pt x="6346954" y="3662233"/>
                </a:cubicBezTo>
                <a:cubicBezTo>
                  <a:pt x="6366928" y="3662233"/>
                  <a:pt x="6383104" y="3646056"/>
                  <a:pt x="6383104" y="3626082"/>
                </a:cubicBezTo>
                <a:moveTo>
                  <a:pt x="6340726" y="3448974"/>
                </a:moveTo>
                <a:cubicBezTo>
                  <a:pt x="6340726" y="3427785"/>
                  <a:pt x="6323562" y="3410621"/>
                  <a:pt x="6302373" y="3410621"/>
                </a:cubicBezTo>
                <a:cubicBezTo>
                  <a:pt x="6281184" y="3410621"/>
                  <a:pt x="6264020" y="3427785"/>
                  <a:pt x="6264020" y="3448974"/>
                </a:cubicBezTo>
                <a:cubicBezTo>
                  <a:pt x="6264020" y="3470163"/>
                  <a:pt x="6281184" y="3487327"/>
                  <a:pt x="6302373" y="3487327"/>
                </a:cubicBezTo>
                <a:cubicBezTo>
                  <a:pt x="6323562" y="3487327"/>
                  <a:pt x="6340726" y="3470163"/>
                  <a:pt x="6340726" y="3448974"/>
                </a:cubicBezTo>
                <a:moveTo>
                  <a:pt x="6289842" y="3274068"/>
                </a:moveTo>
                <a:cubicBezTo>
                  <a:pt x="6289842" y="3251968"/>
                  <a:pt x="6271918" y="3233969"/>
                  <a:pt x="6249742" y="3233969"/>
                </a:cubicBezTo>
                <a:cubicBezTo>
                  <a:pt x="6227641" y="3233969"/>
                  <a:pt x="6209642" y="3251892"/>
                  <a:pt x="6209642" y="3274068"/>
                </a:cubicBezTo>
                <a:cubicBezTo>
                  <a:pt x="6209642" y="3296169"/>
                  <a:pt x="6227565" y="3314168"/>
                  <a:pt x="6249742" y="3314168"/>
                </a:cubicBezTo>
                <a:cubicBezTo>
                  <a:pt x="6271918" y="3314093"/>
                  <a:pt x="6289842" y="3296169"/>
                  <a:pt x="6289842" y="3274068"/>
                </a:cubicBezTo>
                <a:moveTo>
                  <a:pt x="6231211" y="3101593"/>
                </a:moveTo>
                <a:cubicBezTo>
                  <a:pt x="6231211" y="3078505"/>
                  <a:pt x="6212528" y="3059823"/>
                  <a:pt x="6189440" y="3059823"/>
                </a:cubicBezTo>
                <a:cubicBezTo>
                  <a:pt x="6166352" y="3059823"/>
                  <a:pt x="6147669" y="3078505"/>
                  <a:pt x="6147669" y="3101593"/>
                </a:cubicBezTo>
                <a:cubicBezTo>
                  <a:pt x="6147669" y="3124681"/>
                  <a:pt x="6166352" y="3143364"/>
                  <a:pt x="6189440" y="3143364"/>
                </a:cubicBezTo>
                <a:cubicBezTo>
                  <a:pt x="6212528" y="3143364"/>
                  <a:pt x="6231211" y="3124681"/>
                  <a:pt x="6231211" y="3101593"/>
                </a:cubicBezTo>
                <a:moveTo>
                  <a:pt x="6164378" y="2932080"/>
                </a:moveTo>
                <a:cubicBezTo>
                  <a:pt x="6164378" y="2908384"/>
                  <a:pt x="6145163" y="2889170"/>
                  <a:pt x="6121468" y="2889170"/>
                </a:cubicBezTo>
                <a:cubicBezTo>
                  <a:pt x="6097772" y="2889170"/>
                  <a:pt x="6078558" y="2908384"/>
                  <a:pt x="6078558" y="2932080"/>
                </a:cubicBezTo>
                <a:cubicBezTo>
                  <a:pt x="6078558" y="2955775"/>
                  <a:pt x="6097772" y="2974990"/>
                  <a:pt x="6121468" y="2974990"/>
                </a:cubicBezTo>
                <a:cubicBezTo>
                  <a:pt x="6145163" y="2974990"/>
                  <a:pt x="6164378" y="2955775"/>
                  <a:pt x="6164378" y="2932080"/>
                </a:cubicBezTo>
                <a:moveTo>
                  <a:pt x="6090481" y="2765756"/>
                </a:moveTo>
                <a:cubicBezTo>
                  <a:pt x="6090481" y="2741150"/>
                  <a:pt x="6070507" y="2721176"/>
                  <a:pt x="6045901" y="2721176"/>
                </a:cubicBezTo>
                <a:cubicBezTo>
                  <a:pt x="6021294" y="2721176"/>
                  <a:pt x="6001320" y="2741150"/>
                  <a:pt x="6001320" y="2765756"/>
                </a:cubicBezTo>
                <a:cubicBezTo>
                  <a:pt x="6001320" y="2790363"/>
                  <a:pt x="6021294" y="2810337"/>
                  <a:pt x="6045901" y="2810337"/>
                </a:cubicBezTo>
                <a:cubicBezTo>
                  <a:pt x="6070583" y="2810337"/>
                  <a:pt x="6090481" y="2790363"/>
                  <a:pt x="6090481" y="2765756"/>
                </a:cubicBezTo>
                <a:moveTo>
                  <a:pt x="6008686" y="2603002"/>
                </a:moveTo>
                <a:cubicBezTo>
                  <a:pt x="6008686" y="2577788"/>
                  <a:pt x="5988181" y="2557282"/>
                  <a:pt x="5962967" y="2557282"/>
                </a:cubicBezTo>
                <a:cubicBezTo>
                  <a:pt x="5937752" y="2557282"/>
                  <a:pt x="5917247" y="2577788"/>
                  <a:pt x="5917247" y="2603002"/>
                </a:cubicBezTo>
                <a:cubicBezTo>
                  <a:pt x="5917247" y="2628292"/>
                  <a:pt x="5937676" y="2648722"/>
                  <a:pt x="5962967" y="2648722"/>
                </a:cubicBezTo>
                <a:cubicBezTo>
                  <a:pt x="5988257" y="2648722"/>
                  <a:pt x="6008686" y="2628292"/>
                  <a:pt x="6008686" y="2603002"/>
                </a:cubicBezTo>
                <a:moveTo>
                  <a:pt x="5919677" y="2444121"/>
                </a:moveTo>
                <a:cubicBezTo>
                  <a:pt x="5919677" y="2418223"/>
                  <a:pt x="5898716" y="2397262"/>
                  <a:pt x="5872818" y="2397262"/>
                </a:cubicBezTo>
                <a:cubicBezTo>
                  <a:pt x="5846920" y="2397262"/>
                  <a:pt x="5825958" y="2418223"/>
                  <a:pt x="5825958" y="2444121"/>
                </a:cubicBezTo>
                <a:cubicBezTo>
                  <a:pt x="5825958" y="2470019"/>
                  <a:pt x="5846920" y="2490981"/>
                  <a:pt x="5872818" y="2490981"/>
                </a:cubicBezTo>
                <a:cubicBezTo>
                  <a:pt x="5898716" y="2490981"/>
                  <a:pt x="5919677" y="2470019"/>
                  <a:pt x="5919677" y="2444121"/>
                </a:cubicBezTo>
                <a:moveTo>
                  <a:pt x="5823072" y="2289494"/>
                </a:moveTo>
                <a:cubicBezTo>
                  <a:pt x="5823072" y="2263292"/>
                  <a:pt x="5801883" y="2242103"/>
                  <a:pt x="5775682" y="2242103"/>
                </a:cubicBezTo>
                <a:cubicBezTo>
                  <a:pt x="5749480" y="2242103"/>
                  <a:pt x="5728291" y="2263292"/>
                  <a:pt x="5728291" y="2289494"/>
                </a:cubicBezTo>
                <a:cubicBezTo>
                  <a:pt x="5728291" y="2315695"/>
                  <a:pt x="5749480" y="2336884"/>
                  <a:pt x="5775682" y="2336884"/>
                </a:cubicBezTo>
                <a:cubicBezTo>
                  <a:pt x="5801883" y="2336884"/>
                  <a:pt x="5823072" y="2315695"/>
                  <a:pt x="5823072" y="2289494"/>
                </a:cubicBezTo>
                <a:moveTo>
                  <a:pt x="5719633" y="2139347"/>
                </a:moveTo>
                <a:cubicBezTo>
                  <a:pt x="5719633" y="2112841"/>
                  <a:pt x="5698140" y="2091424"/>
                  <a:pt x="5671634" y="2091424"/>
                </a:cubicBezTo>
                <a:cubicBezTo>
                  <a:pt x="5645129" y="2091424"/>
                  <a:pt x="5623636" y="2112917"/>
                  <a:pt x="5623636" y="2139347"/>
                </a:cubicBezTo>
                <a:cubicBezTo>
                  <a:pt x="5623636" y="2165852"/>
                  <a:pt x="5645129" y="2187345"/>
                  <a:pt x="5671634" y="2187345"/>
                </a:cubicBezTo>
                <a:cubicBezTo>
                  <a:pt x="5698140" y="2187269"/>
                  <a:pt x="5719633" y="2165852"/>
                  <a:pt x="5719633" y="2139347"/>
                </a:cubicBezTo>
                <a:moveTo>
                  <a:pt x="5609510" y="1993984"/>
                </a:moveTo>
                <a:cubicBezTo>
                  <a:pt x="5609510" y="1967175"/>
                  <a:pt x="5587789" y="1945454"/>
                  <a:pt x="5560980" y="1945454"/>
                </a:cubicBezTo>
                <a:cubicBezTo>
                  <a:pt x="5534171" y="1945454"/>
                  <a:pt x="5512450" y="1967175"/>
                  <a:pt x="5512450" y="1993984"/>
                </a:cubicBezTo>
                <a:cubicBezTo>
                  <a:pt x="5512450" y="2020794"/>
                  <a:pt x="5534171" y="2042514"/>
                  <a:pt x="5560980" y="2042514"/>
                </a:cubicBezTo>
                <a:cubicBezTo>
                  <a:pt x="5587789" y="2042514"/>
                  <a:pt x="5609510" y="2020794"/>
                  <a:pt x="5609510" y="1993984"/>
                </a:cubicBezTo>
                <a:moveTo>
                  <a:pt x="5493008" y="1853787"/>
                </a:moveTo>
                <a:cubicBezTo>
                  <a:pt x="5493008" y="1826674"/>
                  <a:pt x="5470983" y="1804725"/>
                  <a:pt x="5443870" y="1804725"/>
                </a:cubicBezTo>
                <a:cubicBezTo>
                  <a:pt x="5416757" y="1804725"/>
                  <a:pt x="5394808" y="1826749"/>
                  <a:pt x="5394808" y="1853787"/>
                </a:cubicBezTo>
                <a:cubicBezTo>
                  <a:pt x="5394808" y="1880900"/>
                  <a:pt x="5416833" y="1902924"/>
                  <a:pt x="5443870" y="1902924"/>
                </a:cubicBezTo>
                <a:cubicBezTo>
                  <a:pt x="5471059" y="1902848"/>
                  <a:pt x="5493008" y="1880900"/>
                  <a:pt x="5493008" y="1853787"/>
                </a:cubicBezTo>
                <a:moveTo>
                  <a:pt x="5369822" y="1718981"/>
                </a:moveTo>
                <a:cubicBezTo>
                  <a:pt x="5369822" y="1691868"/>
                  <a:pt x="5347797" y="1669919"/>
                  <a:pt x="5320684" y="1669919"/>
                </a:cubicBezTo>
                <a:cubicBezTo>
                  <a:pt x="5293571" y="1669919"/>
                  <a:pt x="5271622" y="1691944"/>
                  <a:pt x="5271622" y="1718981"/>
                </a:cubicBezTo>
                <a:cubicBezTo>
                  <a:pt x="5271622" y="1746094"/>
                  <a:pt x="5293647" y="1768119"/>
                  <a:pt x="5320684" y="1768119"/>
                </a:cubicBezTo>
                <a:cubicBezTo>
                  <a:pt x="5347797" y="1768043"/>
                  <a:pt x="5369822" y="1746094"/>
                  <a:pt x="5369822" y="1718981"/>
                </a:cubicBezTo>
                <a:moveTo>
                  <a:pt x="5240636" y="1589795"/>
                </a:moveTo>
                <a:cubicBezTo>
                  <a:pt x="5240636" y="1562682"/>
                  <a:pt x="5218612" y="1540734"/>
                  <a:pt x="5191499" y="1540734"/>
                </a:cubicBezTo>
                <a:cubicBezTo>
                  <a:pt x="5164386" y="1540734"/>
                  <a:pt x="5142437" y="1562758"/>
                  <a:pt x="5142437" y="1589795"/>
                </a:cubicBezTo>
                <a:cubicBezTo>
                  <a:pt x="5142437" y="1616908"/>
                  <a:pt x="5164462" y="1638933"/>
                  <a:pt x="5191499" y="1638933"/>
                </a:cubicBezTo>
                <a:cubicBezTo>
                  <a:pt x="5218612" y="1638933"/>
                  <a:pt x="5240636" y="1616908"/>
                  <a:pt x="5240636" y="1589795"/>
                </a:cubicBezTo>
                <a:moveTo>
                  <a:pt x="5105830" y="1466534"/>
                </a:moveTo>
                <a:cubicBezTo>
                  <a:pt x="5105830" y="1439421"/>
                  <a:pt x="5083806" y="1417396"/>
                  <a:pt x="5056693" y="1417396"/>
                </a:cubicBezTo>
                <a:cubicBezTo>
                  <a:pt x="5029580" y="1417396"/>
                  <a:pt x="5007631" y="1439421"/>
                  <a:pt x="5007631" y="1466534"/>
                </a:cubicBezTo>
                <a:cubicBezTo>
                  <a:pt x="5007631" y="1493647"/>
                  <a:pt x="5029656" y="1515671"/>
                  <a:pt x="5056693" y="1515671"/>
                </a:cubicBezTo>
                <a:cubicBezTo>
                  <a:pt x="5083806" y="1515671"/>
                  <a:pt x="5105830" y="1493647"/>
                  <a:pt x="5105830" y="1466534"/>
                </a:cubicBezTo>
                <a:moveTo>
                  <a:pt x="4965025" y="1349500"/>
                </a:moveTo>
                <a:cubicBezTo>
                  <a:pt x="4965025" y="1322690"/>
                  <a:pt x="4943304" y="1300970"/>
                  <a:pt x="4916495" y="1300970"/>
                </a:cubicBezTo>
                <a:cubicBezTo>
                  <a:pt x="4889686" y="1300970"/>
                  <a:pt x="4867965" y="1322690"/>
                  <a:pt x="4867965" y="1349500"/>
                </a:cubicBezTo>
                <a:cubicBezTo>
                  <a:pt x="4867965" y="1376309"/>
                  <a:pt x="4889686" y="1398030"/>
                  <a:pt x="4916495" y="1398030"/>
                </a:cubicBezTo>
                <a:cubicBezTo>
                  <a:pt x="4943304" y="1398030"/>
                  <a:pt x="4965025" y="1376309"/>
                  <a:pt x="4965025" y="1349500"/>
                </a:cubicBezTo>
                <a:moveTo>
                  <a:pt x="4819131" y="1238845"/>
                </a:moveTo>
                <a:cubicBezTo>
                  <a:pt x="4819131" y="1212340"/>
                  <a:pt x="4797638" y="1190847"/>
                  <a:pt x="4771133" y="1190847"/>
                </a:cubicBezTo>
                <a:cubicBezTo>
                  <a:pt x="4744627" y="1190847"/>
                  <a:pt x="4723135" y="1212340"/>
                  <a:pt x="4723135" y="1238845"/>
                </a:cubicBezTo>
                <a:cubicBezTo>
                  <a:pt x="4723135" y="1265350"/>
                  <a:pt x="4744627" y="1286843"/>
                  <a:pt x="4771133" y="1286843"/>
                </a:cubicBezTo>
                <a:cubicBezTo>
                  <a:pt x="4797638" y="1286843"/>
                  <a:pt x="4819131" y="1265350"/>
                  <a:pt x="4819131" y="1238845"/>
                </a:cubicBezTo>
                <a:moveTo>
                  <a:pt x="4668377" y="1134798"/>
                </a:moveTo>
                <a:cubicBezTo>
                  <a:pt x="4668377" y="1108596"/>
                  <a:pt x="4647188" y="1087407"/>
                  <a:pt x="4620986" y="1087407"/>
                </a:cubicBezTo>
                <a:cubicBezTo>
                  <a:pt x="4594784" y="1087407"/>
                  <a:pt x="4573595" y="1108596"/>
                  <a:pt x="4573595" y="1134798"/>
                </a:cubicBezTo>
                <a:cubicBezTo>
                  <a:pt x="4573595" y="1160999"/>
                  <a:pt x="4594784" y="1182189"/>
                  <a:pt x="4620986" y="1182189"/>
                </a:cubicBezTo>
                <a:cubicBezTo>
                  <a:pt x="4647188" y="1182189"/>
                  <a:pt x="4668377" y="1160999"/>
                  <a:pt x="4668377" y="1134798"/>
                </a:cubicBezTo>
                <a:moveTo>
                  <a:pt x="4513141" y="1037662"/>
                </a:moveTo>
                <a:cubicBezTo>
                  <a:pt x="4513141" y="1011764"/>
                  <a:pt x="4492180" y="990803"/>
                  <a:pt x="4466282" y="990803"/>
                </a:cubicBezTo>
                <a:cubicBezTo>
                  <a:pt x="4440384" y="990803"/>
                  <a:pt x="4419423" y="1011764"/>
                  <a:pt x="4419423" y="1037662"/>
                </a:cubicBezTo>
                <a:cubicBezTo>
                  <a:pt x="4419423" y="1063560"/>
                  <a:pt x="4440384" y="1084521"/>
                  <a:pt x="4466282" y="1084521"/>
                </a:cubicBezTo>
                <a:cubicBezTo>
                  <a:pt x="4492180" y="1084521"/>
                  <a:pt x="4513141" y="1063484"/>
                  <a:pt x="4513141" y="1037662"/>
                </a:cubicBezTo>
                <a:moveTo>
                  <a:pt x="4353197" y="947513"/>
                </a:moveTo>
                <a:cubicBezTo>
                  <a:pt x="4353197" y="922299"/>
                  <a:pt x="4332692" y="901793"/>
                  <a:pt x="4307477" y="901793"/>
                </a:cubicBezTo>
                <a:cubicBezTo>
                  <a:pt x="4282263" y="901793"/>
                  <a:pt x="4261758" y="922299"/>
                  <a:pt x="4261758" y="947513"/>
                </a:cubicBezTo>
                <a:cubicBezTo>
                  <a:pt x="4261758" y="972803"/>
                  <a:pt x="4282187" y="993233"/>
                  <a:pt x="4307477" y="993233"/>
                </a:cubicBezTo>
                <a:cubicBezTo>
                  <a:pt x="4332692" y="993233"/>
                  <a:pt x="4353197" y="972727"/>
                  <a:pt x="4353197" y="947513"/>
                </a:cubicBezTo>
                <a:moveTo>
                  <a:pt x="4189304" y="864579"/>
                </a:moveTo>
                <a:cubicBezTo>
                  <a:pt x="4189304" y="839972"/>
                  <a:pt x="4169330" y="819998"/>
                  <a:pt x="4144723" y="819998"/>
                </a:cubicBezTo>
                <a:cubicBezTo>
                  <a:pt x="4120116" y="819998"/>
                  <a:pt x="4100142" y="839972"/>
                  <a:pt x="4100142" y="864579"/>
                </a:cubicBezTo>
                <a:cubicBezTo>
                  <a:pt x="4100142" y="889186"/>
                  <a:pt x="4120116" y="909160"/>
                  <a:pt x="4144723" y="909160"/>
                </a:cubicBezTo>
                <a:cubicBezTo>
                  <a:pt x="4169330" y="909160"/>
                  <a:pt x="4189304" y="889186"/>
                  <a:pt x="4189304" y="864579"/>
                </a:cubicBezTo>
                <a:moveTo>
                  <a:pt x="4021309" y="789012"/>
                </a:moveTo>
                <a:cubicBezTo>
                  <a:pt x="4021309" y="765316"/>
                  <a:pt x="4002095" y="746102"/>
                  <a:pt x="3978400" y="746102"/>
                </a:cubicBezTo>
                <a:cubicBezTo>
                  <a:pt x="3954704" y="746102"/>
                  <a:pt x="3935490" y="765316"/>
                  <a:pt x="3935490" y="789012"/>
                </a:cubicBezTo>
                <a:cubicBezTo>
                  <a:pt x="3935490" y="812707"/>
                  <a:pt x="3954704" y="831922"/>
                  <a:pt x="3978400" y="831922"/>
                </a:cubicBezTo>
                <a:cubicBezTo>
                  <a:pt x="4002095" y="831922"/>
                  <a:pt x="4021309" y="812707"/>
                  <a:pt x="4021309" y="789012"/>
                </a:cubicBezTo>
                <a:moveTo>
                  <a:pt x="3850657" y="721039"/>
                </a:moveTo>
                <a:cubicBezTo>
                  <a:pt x="3850657" y="697952"/>
                  <a:pt x="3831974" y="679269"/>
                  <a:pt x="3808886" y="679269"/>
                </a:cubicBezTo>
                <a:cubicBezTo>
                  <a:pt x="3785798" y="679269"/>
                  <a:pt x="3767115" y="697952"/>
                  <a:pt x="3767115" y="721039"/>
                </a:cubicBezTo>
                <a:cubicBezTo>
                  <a:pt x="3767115" y="744127"/>
                  <a:pt x="3785798" y="762810"/>
                  <a:pt x="3808886" y="762810"/>
                </a:cubicBezTo>
                <a:cubicBezTo>
                  <a:pt x="3831898" y="762810"/>
                  <a:pt x="3850657" y="744051"/>
                  <a:pt x="3850657" y="721039"/>
                </a:cubicBezTo>
                <a:moveTo>
                  <a:pt x="3676511" y="660662"/>
                </a:moveTo>
                <a:cubicBezTo>
                  <a:pt x="3676511" y="638561"/>
                  <a:pt x="3658587" y="620638"/>
                  <a:pt x="3636411" y="620638"/>
                </a:cubicBezTo>
                <a:cubicBezTo>
                  <a:pt x="3614310" y="620638"/>
                  <a:pt x="3596311" y="638561"/>
                  <a:pt x="3596311" y="660662"/>
                </a:cubicBezTo>
                <a:cubicBezTo>
                  <a:pt x="3596311" y="682762"/>
                  <a:pt x="3614235" y="700762"/>
                  <a:pt x="3636411" y="700762"/>
                </a:cubicBezTo>
                <a:cubicBezTo>
                  <a:pt x="3658587" y="700762"/>
                  <a:pt x="3676511" y="682838"/>
                  <a:pt x="3676511" y="660662"/>
                </a:cubicBezTo>
                <a:moveTo>
                  <a:pt x="3499858" y="608182"/>
                </a:moveTo>
                <a:cubicBezTo>
                  <a:pt x="3499858" y="586993"/>
                  <a:pt x="3482695" y="569829"/>
                  <a:pt x="3461505" y="569829"/>
                </a:cubicBezTo>
                <a:cubicBezTo>
                  <a:pt x="3440316" y="569829"/>
                  <a:pt x="3423152" y="586993"/>
                  <a:pt x="3423152" y="608182"/>
                </a:cubicBezTo>
                <a:cubicBezTo>
                  <a:pt x="3423152" y="629372"/>
                  <a:pt x="3440316" y="646535"/>
                  <a:pt x="3461505" y="646535"/>
                </a:cubicBezTo>
                <a:cubicBezTo>
                  <a:pt x="3482695" y="646535"/>
                  <a:pt x="3499858" y="629372"/>
                  <a:pt x="3499858" y="608182"/>
                </a:cubicBezTo>
                <a:moveTo>
                  <a:pt x="3320472" y="563526"/>
                </a:moveTo>
                <a:cubicBezTo>
                  <a:pt x="3320472" y="543552"/>
                  <a:pt x="3304295" y="527375"/>
                  <a:pt x="3284321" y="527375"/>
                </a:cubicBezTo>
                <a:cubicBezTo>
                  <a:pt x="3264347" y="527375"/>
                  <a:pt x="3248171" y="543552"/>
                  <a:pt x="3248171" y="563526"/>
                </a:cubicBezTo>
                <a:cubicBezTo>
                  <a:pt x="3248171" y="583500"/>
                  <a:pt x="3264347" y="599676"/>
                  <a:pt x="3284321" y="599676"/>
                </a:cubicBezTo>
                <a:cubicBezTo>
                  <a:pt x="3304295" y="599600"/>
                  <a:pt x="3320472" y="583500"/>
                  <a:pt x="3320472" y="563526"/>
                </a:cubicBezTo>
                <a:moveTo>
                  <a:pt x="3139263" y="526843"/>
                </a:moveTo>
                <a:cubicBezTo>
                  <a:pt x="3139263" y="508160"/>
                  <a:pt x="3124074" y="492971"/>
                  <a:pt x="3105391" y="492971"/>
                </a:cubicBezTo>
                <a:cubicBezTo>
                  <a:pt x="3086708" y="492971"/>
                  <a:pt x="3071518" y="508160"/>
                  <a:pt x="3071518" y="526843"/>
                </a:cubicBezTo>
                <a:cubicBezTo>
                  <a:pt x="3071518" y="545526"/>
                  <a:pt x="3086708" y="560716"/>
                  <a:pt x="3105391" y="560716"/>
                </a:cubicBezTo>
                <a:cubicBezTo>
                  <a:pt x="3124149" y="560716"/>
                  <a:pt x="3139263" y="545602"/>
                  <a:pt x="3139263" y="526843"/>
                </a:cubicBezTo>
                <a:moveTo>
                  <a:pt x="2957218" y="498287"/>
                </a:moveTo>
                <a:cubicBezTo>
                  <a:pt x="2957218" y="480516"/>
                  <a:pt x="2942788" y="466162"/>
                  <a:pt x="2925017" y="466162"/>
                </a:cubicBezTo>
                <a:cubicBezTo>
                  <a:pt x="2907245" y="466162"/>
                  <a:pt x="2892815" y="480592"/>
                  <a:pt x="2892815" y="498287"/>
                </a:cubicBezTo>
                <a:cubicBezTo>
                  <a:pt x="2892815" y="516059"/>
                  <a:pt x="2907245" y="530489"/>
                  <a:pt x="2925017" y="530489"/>
                </a:cubicBezTo>
                <a:cubicBezTo>
                  <a:pt x="2942788" y="530489"/>
                  <a:pt x="2957218" y="516059"/>
                  <a:pt x="2957218" y="498287"/>
                </a:cubicBezTo>
                <a:moveTo>
                  <a:pt x="2773427" y="477858"/>
                </a:moveTo>
                <a:cubicBezTo>
                  <a:pt x="2773427" y="461377"/>
                  <a:pt x="2760060" y="447934"/>
                  <a:pt x="2743504" y="447934"/>
                </a:cubicBezTo>
                <a:cubicBezTo>
                  <a:pt x="2727023" y="447934"/>
                  <a:pt x="2713581" y="461301"/>
                  <a:pt x="2713581" y="477858"/>
                </a:cubicBezTo>
                <a:cubicBezTo>
                  <a:pt x="2713581" y="494414"/>
                  <a:pt x="2726947" y="507781"/>
                  <a:pt x="2743504" y="507781"/>
                </a:cubicBezTo>
                <a:cubicBezTo>
                  <a:pt x="2759984" y="507781"/>
                  <a:pt x="2773427" y="494338"/>
                  <a:pt x="2773427" y="477858"/>
                </a:cubicBezTo>
                <a:moveTo>
                  <a:pt x="2588876" y="465554"/>
                </a:moveTo>
                <a:cubicBezTo>
                  <a:pt x="2588876" y="450289"/>
                  <a:pt x="2576497" y="437910"/>
                  <a:pt x="2561231" y="437910"/>
                </a:cubicBezTo>
                <a:cubicBezTo>
                  <a:pt x="2545966" y="437910"/>
                  <a:pt x="2533587" y="450289"/>
                  <a:pt x="2533587" y="465554"/>
                </a:cubicBezTo>
                <a:cubicBezTo>
                  <a:pt x="2533587" y="480819"/>
                  <a:pt x="2545966" y="493199"/>
                  <a:pt x="2561231" y="493199"/>
                </a:cubicBezTo>
                <a:cubicBezTo>
                  <a:pt x="2576497" y="493199"/>
                  <a:pt x="2588876" y="480819"/>
                  <a:pt x="2588876" y="465554"/>
                </a:cubicBezTo>
                <a:moveTo>
                  <a:pt x="2404022" y="461453"/>
                </a:moveTo>
                <a:cubicBezTo>
                  <a:pt x="2404022" y="447403"/>
                  <a:pt x="2392630" y="436087"/>
                  <a:pt x="2378655" y="436087"/>
                </a:cubicBezTo>
                <a:cubicBezTo>
                  <a:pt x="2364605" y="436087"/>
                  <a:pt x="2353289" y="447479"/>
                  <a:pt x="2353289" y="461453"/>
                </a:cubicBezTo>
                <a:cubicBezTo>
                  <a:pt x="2353289" y="475503"/>
                  <a:pt x="2364681" y="486819"/>
                  <a:pt x="2378655" y="486819"/>
                </a:cubicBezTo>
                <a:cubicBezTo>
                  <a:pt x="2392630" y="486819"/>
                  <a:pt x="2404022" y="475503"/>
                  <a:pt x="2404022" y="461453"/>
                </a:cubicBezTo>
                <a:moveTo>
                  <a:pt x="2219698" y="465554"/>
                </a:moveTo>
                <a:cubicBezTo>
                  <a:pt x="2219698" y="452491"/>
                  <a:pt x="2209066" y="441859"/>
                  <a:pt x="2196003" y="441859"/>
                </a:cubicBezTo>
                <a:cubicBezTo>
                  <a:pt x="2182940" y="441859"/>
                  <a:pt x="2172308" y="452491"/>
                  <a:pt x="2172308" y="465554"/>
                </a:cubicBezTo>
                <a:cubicBezTo>
                  <a:pt x="2172308" y="478617"/>
                  <a:pt x="2182940" y="489250"/>
                  <a:pt x="2196003" y="489250"/>
                </a:cubicBezTo>
                <a:cubicBezTo>
                  <a:pt x="2209066" y="489250"/>
                  <a:pt x="2219698" y="478617"/>
                  <a:pt x="2219698" y="465554"/>
                </a:cubicBezTo>
                <a:moveTo>
                  <a:pt x="2035224" y="477858"/>
                </a:moveTo>
                <a:cubicBezTo>
                  <a:pt x="2035224" y="466010"/>
                  <a:pt x="2025578" y="456441"/>
                  <a:pt x="2013807" y="456441"/>
                </a:cubicBezTo>
                <a:cubicBezTo>
                  <a:pt x="2001959" y="456441"/>
                  <a:pt x="1992390" y="466010"/>
                  <a:pt x="1992390" y="477858"/>
                </a:cubicBezTo>
                <a:cubicBezTo>
                  <a:pt x="1992390" y="489705"/>
                  <a:pt x="2001959" y="499275"/>
                  <a:pt x="2013807" y="499275"/>
                </a:cubicBezTo>
                <a:cubicBezTo>
                  <a:pt x="2025578" y="499275"/>
                  <a:pt x="2035224" y="489705"/>
                  <a:pt x="2035224" y="477858"/>
                </a:cubicBezTo>
                <a:moveTo>
                  <a:pt x="1851432" y="498287"/>
                </a:moveTo>
                <a:cubicBezTo>
                  <a:pt x="1851432" y="487655"/>
                  <a:pt x="1842850" y="479073"/>
                  <a:pt x="1832218" y="479073"/>
                </a:cubicBezTo>
                <a:cubicBezTo>
                  <a:pt x="1821585" y="479073"/>
                  <a:pt x="1813003" y="487655"/>
                  <a:pt x="1813003" y="498287"/>
                </a:cubicBezTo>
                <a:cubicBezTo>
                  <a:pt x="1813003" y="508920"/>
                  <a:pt x="1821585" y="517502"/>
                  <a:pt x="1832218" y="517502"/>
                </a:cubicBezTo>
                <a:cubicBezTo>
                  <a:pt x="1842850" y="517502"/>
                  <a:pt x="1851432" y="508920"/>
                  <a:pt x="1851432" y="498287"/>
                </a:cubicBezTo>
                <a:moveTo>
                  <a:pt x="1668780" y="526843"/>
                </a:moveTo>
                <a:cubicBezTo>
                  <a:pt x="1668780" y="517502"/>
                  <a:pt x="1661185" y="509907"/>
                  <a:pt x="1651844" y="509907"/>
                </a:cubicBezTo>
                <a:cubicBezTo>
                  <a:pt x="1642502" y="509907"/>
                  <a:pt x="1634908" y="517502"/>
                  <a:pt x="1634908" y="526843"/>
                </a:cubicBezTo>
                <a:cubicBezTo>
                  <a:pt x="1634908" y="536185"/>
                  <a:pt x="1642502" y="543779"/>
                  <a:pt x="1651844" y="543779"/>
                </a:cubicBezTo>
                <a:cubicBezTo>
                  <a:pt x="1661185" y="543779"/>
                  <a:pt x="1668780" y="536261"/>
                  <a:pt x="1668780" y="526843"/>
                </a:cubicBezTo>
                <a:moveTo>
                  <a:pt x="1488103" y="563526"/>
                </a:moveTo>
                <a:cubicBezTo>
                  <a:pt x="1488103" y="555096"/>
                  <a:pt x="1481267" y="548260"/>
                  <a:pt x="1472837" y="548260"/>
                </a:cubicBezTo>
                <a:cubicBezTo>
                  <a:pt x="1464407" y="548260"/>
                  <a:pt x="1457572" y="555096"/>
                  <a:pt x="1457572" y="563526"/>
                </a:cubicBezTo>
                <a:cubicBezTo>
                  <a:pt x="1457572" y="571956"/>
                  <a:pt x="1464407" y="578791"/>
                  <a:pt x="1472837" y="578791"/>
                </a:cubicBezTo>
                <a:cubicBezTo>
                  <a:pt x="1481267" y="578791"/>
                  <a:pt x="1488103" y="571956"/>
                  <a:pt x="1488103" y="563526"/>
                </a:cubicBezTo>
                <a:moveTo>
                  <a:pt x="1309324" y="608182"/>
                </a:moveTo>
                <a:cubicBezTo>
                  <a:pt x="1309324" y="600740"/>
                  <a:pt x="1303248" y="594664"/>
                  <a:pt x="1295805" y="594664"/>
                </a:cubicBezTo>
                <a:cubicBezTo>
                  <a:pt x="1288362" y="594664"/>
                  <a:pt x="1282287" y="600740"/>
                  <a:pt x="1282287" y="608182"/>
                </a:cubicBezTo>
                <a:cubicBezTo>
                  <a:pt x="1282287" y="615625"/>
                  <a:pt x="1288362" y="621701"/>
                  <a:pt x="1295805" y="621701"/>
                </a:cubicBezTo>
                <a:cubicBezTo>
                  <a:pt x="1303248" y="621701"/>
                  <a:pt x="1309324" y="615625"/>
                  <a:pt x="1309324" y="608182"/>
                </a:cubicBezTo>
                <a:moveTo>
                  <a:pt x="1132064" y="660662"/>
                </a:moveTo>
                <a:cubicBezTo>
                  <a:pt x="1132064" y="654434"/>
                  <a:pt x="1126975" y="649422"/>
                  <a:pt x="1120748" y="649422"/>
                </a:cubicBezTo>
                <a:cubicBezTo>
                  <a:pt x="1114520" y="649422"/>
                  <a:pt x="1109432" y="654510"/>
                  <a:pt x="1109432" y="660662"/>
                </a:cubicBezTo>
                <a:cubicBezTo>
                  <a:pt x="1109432" y="666889"/>
                  <a:pt x="1114444" y="671978"/>
                  <a:pt x="1120748" y="671978"/>
                </a:cubicBezTo>
                <a:cubicBezTo>
                  <a:pt x="1127051" y="671978"/>
                  <a:pt x="1132064" y="666889"/>
                  <a:pt x="1132064" y="660662"/>
                </a:cubicBezTo>
                <a:moveTo>
                  <a:pt x="957994" y="721039"/>
                </a:moveTo>
                <a:cubicBezTo>
                  <a:pt x="957994" y="715723"/>
                  <a:pt x="953665" y="711470"/>
                  <a:pt x="948424" y="711470"/>
                </a:cubicBezTo>
                <a:cubicBezTo>
                  <a:pt x="943108" y="711470"/>
                  <a:pt x="938855" y="715799"/>
                  <a:pt x="938855" y="721039"/>
                </a:cubicBezTo>
                <a:cubicBezTo>
                  <a:pt x="938855" y="726356"/>
                  <a:pt x="943108" y="730609"/>
                  <a:pt x="948424" y="730609"/>
                </a:cubicBezTo>
                <a:cubicBezTo>
                  <a:pt x="953665" y="730609"/>
                  <a:pt x="957994" y="726280"/>
                  <a:pt x="957994" y="721039"/>
                </a:cubicBezTo>
                <a:moveTo>
                  <a:pt x="786733" y="789012"/>
                </a:moveTo>
                <a:cubicBezTo>
                  <a:pt x="786733" y="784683"/>
                  <a:pt x="783164" y="781113"/>
                  <a:pt x="778835" y="781113"/>
                </a:cubicBezTo>
                <a:cubicBezTo>
                  <a:pt x="774506" y="781113"/>
                  <a:pt x="770936" y="784683"/>
                  <a:pt x="770936" y="789012"/>
                </a:cubicBezTo>
                <a:cubicBezTo>
                  <a:pt x="770936" y="793341"/>
                  <a:pt x="774506" y="796910"/>
                  <a:pt x="778835" y="796910"/>
                </a:cubicBezTo>
                <a:cubicBezTo>
                  <a:pt x="783240" y="796910"/>
                  <a:pt x="786733" y="793341"/>
                  <a:pt x="786733" y="789012"/>
                </a:cubicBezTo>
                <a:moveTo>
                  <a:pt x="619347" y="864579"/>
                </a:moveTo>
                <a:cubicBezTo>
                  <a:pt x="619347" y="860857"/>
                  <a:pt x="616309" y="857820"/>
                  <a:pt x="612587" y="857820"/>
                </a:cubicBezTo>
                <a:cubicBezTo>
                  <a:pt x="608866" y="857820"/>
                  <a:pt x="605828" y="860857"/>
                  <a:pt x="605828" y="864579"/>
                </a:cubicBezTo>
                <a:cubicBezTo>
                  <a:pt x="605828" y="868300"/>
                  <a:pt x="608866" y="871338"/>
                  <a:pt x="612587" y="871338"/>
                </a:cubicBezTo>
                <a:cubicBezTo>
                  <a:pt x="616309" y="871338"/>
                  <a:pt x="619347" y="868300"/>
                  <a:pt x="619347" y="864579"/>
                </a:cubicBezTo>
                <a:moveTo>
                  <a:pt x="455453" y="947513"/>
                </a:moveTo>
                <a:cubicBezTo>
                  <a:pt x="455453" y="944399"/>
                  <a:pt x="452947" y="941893"/>
                  <a:pt x="449833" y="941893"/>
                </a:cubicBezTo>
                <a:cubicBezTo>
                  <a:pt x="446719" y="941893"/>
                  <a:pt x="444213" y="944399"/>
                  <a:pt x="444213" y="947513"/>
                </a:cubicBezTo>
                <a:cubicBezTo>
                  <a:pt x="444213" y="950627"/>
                  <a:pt x="446719" y="953133"/>
                  <a:pt x="449833" y="953133"/>
                </a:cubicBezTo>
                <a:cubicBezTo>
                  <a:pt x="452947" y="953133"/>
                  <a:pt x="455453" y="950627"/>
                  <a:pt x="455453" y="947513"/>
                </a:cubicBezTo>
                <a:moveTo>
                  <a:pt x="294902" y="1037662"/>
                </a:moveTo>
                <a:cubicBezTo>
                  <a:pt x="294902" y="1035459"/>
                  <a:pt x="293155" y="1033713"/>
                  <a:pt x="290952" y="1033713"/>
                </a:cubicBezTo>
                <a:cubicBezTo>
                  <a:pt x="288750" y="1033713"/>
                  <a:pt x="287003" y="1035459"/>
                  <a:pt x="287003" y="1037662"/>
                </a:cubicBezTo>
                <a:cubicBezTo>
                  <a:pt x="287003" y="1039864"/>
                  <a:pt x="288750" y="1041611"/>
                  <a:pt x="290952" y="1041611"/>
                </a:cubicBezTo>
                <a:cubicBezTo>
                  <a:pt x="293079" y="1041611"/>
                  <a:pt x="294902" y="1039788"/>
                  <a:pt x="294902" y="1037662"/>
                </a:cubicBezTo>
                <a:moveTo>
                  <a:pt x="6037926" y="6747422"/>
                </a:moveTo>
                <a:cubicBezTo>
                  <a:pt x="6037926" y="6744915"/>
                  <a:pt x="6035876" y="6742865"/>
                  <a:pt x="6033369" y="6742865"/>
                </a:cubicBezTo>
                <a:cubicBezTo>
                  <a:pt x="6030863" y="6742865"/>
                  <a:pt x="6028889" y="6744915"/>
                  <a:pt x="6028889" y="6747422"/>
                </a:cubicBezTo>
                <a:cubicBezTo>
                  <a:pt x="6028889" y="6749928"/>
                  <a:pt x="6030939" y="6751902"/>
                  <a:pt x="6033369" y="6751902"/>
                </a:cubicBezTo>
                <a:cubicBezTo>
                  <a:pt x="6035800" y="6751902"/>
                  <a:pt x="6037926" y="6749928"/>
                  <a:pt x="6037926" y="6747422"/>
                </a:cubicBezTo>
                <a:moveTo>
                  <a:pt x="6130429" y="6589224"/>
                </a:moveTo>
                <a:cubicBezTo>
                  <a:pt x="6130429" y="6586111"/>
                  <a:pt x="6127923" y="6583604"/>
                  <a:pt x="6124809" y="6583604"/>
                </a:cubicBezTo>
                <a:cubicBezTo>
                  <a:pt x="6121695" y="6583604"/>
                  <a:pt x="6119189" y="6586111"/>
                  <a:pt x="6119189" y="6589224"/>
                </a:cubicBezTo>
                <a:cubicBezTo>
                  <a:pt x="6119189" y="6592338"/>
                  <a:pt x="6121695" y="6594844"/>
                  <a:pt x="6124809" y="6594844"/>
                </a:cubicBezTo>
                <a:cubicBezTo>
                  <a:pt x="6127923" y="6594844"/>
                  <a:pt x="6130429" y="6592338"/>
                  <a:pt x="6130429" y="6589224"/>
                </a:cubicBezTo>
                <a:moveTo>
                  <a:pt x="6216021" y="6427306"/>
                </a:moveTo>
                <a:cubicBezTo>
                  <a:pt x="6216021" y="6423584"/>
                  <a:pt x="6212984" y="6420546"/>
                  <a:pt x="6209262" y="6420546"/>
                </a:cubicBezTo>
                <a:cubicBezTo>
                  <a:pt x="6205541" y="6420546"/>
                  <a:pt x="6202503" y="6423584"/>
                  <a:pt x="6202503" y="6427306"/>
                </a:cubicBezTo>
                <a:cubicBezTo>
                  <a:pt x="6202503" y="6431027"/>
                  <a:pt x="6205541" y="6434065"/>
                  <a:pt x="6209262" y="6434065"/>
                </a:cubicBezTo>
                <a:cubicBezTo>
                  <a:pt x="6212984" y="6434065"/>
                  <a:pt x="6216021" y="6431027"/>
                  <a:pt x="6216021" y="6427306"/>
                </a:cubicBezTo>
                <a:moveTo>
                  <a:pt x="6295234" y="6261894"/>
                </a:moveTo>
                <a:cubicBezTo>
                  <a:pt x="6295234" y="6257261"/>
                  <a:pt x="6291437" y="6253463"/>
                  <a:pt x="6286804" y="6253463"/>
                </a:cubicBezTo>
                <a:cubicBezTo>
                  <a:pt x="6282171" y="6253463"/>
                  <a:pt x="6278374" y="6257261"/>
                  <a:pt x="6278374" y="6261894"/>
                </a:cubicBezTo>
                <a:cubicBezTo>
                  <a:pt x="6278374" y="6266602"/>
                  <a:pt x="6282171" y="6270324"/>
                  <a:pt x="6286804" y="6270324"/>
                </a:cubicBezTo>
                <a:cubicBezTo>
                  <a:pt x="6291437" y="6270324"/>
                  <a:pt x="6295234" y="6266526"/>
                  <a:pt x="6295234" y="6261894"/>
                </a:cubicBezTo>
                <a:moveTo>
                  <a:pt x="6367232" y="6093292"/>
                </a:moveTo>
                <a:cubicBezTo>
                  <a:pt x="6367232" y="6087672"/>
                  <a:pt x="6362675" y="6083114"/>
                  <a:pt x="6357055" y="6083114"/>
                </a:cubicBezTo>
                <a:cubicBezTo>
                  <a:pt x="6351435" y="6083114"/>
                  <a:pt x="6346878" y="6087672"/>
                  <a:pt x="6346878" y="6093292"/>
                </a:cubicBezTo>
                <a:cubicBezTo>
                  <a:pt x="6346878" y="6098912"/>
                  <a:pt x="6351435" y="6103468"/>
                  <a:pt x="6357055" y="6103468"/>
                </a:cubicBezTo>
                <a:cubicBezTo>
                  <a:pt x="6362675" y="6103468"/>
                  <a:pt x="6367232" y="6098912"/>
                  <a:pt x="6367232" y="6093292"/>
                </a:cubicBezTo>
                <a:moveTo>
                  <a:pt x="6432014" y="5921879"/>
                </a:moveTo>
                <a:cubicBezTo>
                  <a:pt x="6432014" y="5915348"/>
                  <a:pt x="6426698" y="5910032"/>
                  <a:pt x="6420166" y="5910032"/>
                </a:cubicBezTo>
                <a:cubicBezTo>
                  <a:pt x="6413635" y="5910032"/>
                  <a:pt x="6408319" y="5915348"/>
                  <a:pt x="6408319" y="5921879"/>
                </a:cubicBezTo>
                <a:cubicBezTo>
                  <a:pt x="6408319" y="5928411"/>
                  <a:pt x="6413635" y="5933727"/>
                  <a:pt x="6420166" y="5933727"/>
                </a:cubicBezTo>
                <a:cubicBezTo>
                  <a:pt x="6426698" y="5933727"/>
                  <a:pt x="6432014" y="5928411"/>
                  <a:pt x="6432014" y="5921879"/>
                </a:cubicBezTo>
                <a:moveTo>
                  <a:pt x="6489430" y="5747885"/>
                </a:moveTo>
                <a:cubicBezTo>
                  <a:pt x="6489430" y="5740442"/>
                  <a:pt x="6483354" y="5734367"/>
                  <a:pt x="6475912" y="5734367"/>
                </a:cubicBezTo>
                <a:cubicBezTo>
                  <a:pt x="6468469" y="5734367"/>
                  <a:pt x="6462393" y="5740442"/>
                  <a:pt x="6462393" y="5747885"/>
                </a:cubicBezTo>
                <a:cubicBezTo>
                  <a:pt x="6462393" y="5755328"/>
                  <a:pt x="6468469" y="5761404"/>
                  <a:pt x="6475912" y="5761404"/>
                </a:cubicBezTo>
                <a:cubicBezTo>
                  <a:pt x="6483354" y="5761404"/>
                  <a:pt x="6489430" y="5755404"/>
                  <a:pt x="6489430" y="5747885"/>
                </a:cubicBezTo>
                <a:moveTo>
                  <a:pt x="6539935" y="5571689"/>
                </a:moveTo>
                <a:cubicBezTo>
                  <a:pt x="6539935" y="5562955"/>
                  <a:pt x="6532872" y="5555892"/>
                  <a:pt x="6524138" y="5555892"/>
                </a:cubicBezTo>
                <a:cubicBezTo>
                  <a:pt x="6515404" y="5555892"/>
                  <a:pt x="6508341" y="5562955"/>
                  <a:pt x="6508341" y="5571689"/>
                </a:cubicBezTo>
                <a:cubicBezTo>
                  <a:pt x="6508341" y="5580422"/>
                  <a:pt x="6515404" y="5587485"/>
                  <a:pt x="6524138" y="5587485"/>
                </a:cubicBezTo>
                <a:cubicBezTo>
                  <a:pt x="6532872" y="5587485"/>
                  <a:pt x="6539935" y="5580422"/>
                  <a:pt x="6539935" y="5571689"/>
                </a:cubicBezTo>
                <a:moveTo>
                  <a:pt x="6582237" y="5393669"/>
                </a:moveTo>
                <a:cubicBezTo>
                  <a:pt x="6582237" y="5384024"/>
                  <a:pt x="6574414" y="5376202"/>
                  <a:pt x="6564769" y="5376202"/>
                </a:cubicBezTo>
                <a:cubicBezTo>
                  <a:pt x="6555124" y="5376202"/>
                  <a:pt x="6547302" y="5384024"/>
                  <a:pt x="6547302" y="5393669"/>
                </a:cubicBezTo>
                <a:cubicBezTo>
                  <a:pt x="6547302" y="5403314"/>
                  <a:pt x="6555124" y="5411137"/>
                  <a:pt x="6564769" y="5411137"/>
                </a:cubicBezTo>
                <a:cubicBezTo>
                  <a:pt x="6574414" y="5411137"/>
                  <a:pt x="6582237" y="5403314"/>
                  <a:pt x="6582237" y="5393669"/>
                </a:cubicBezTo>
                <a:moveTo>
                  <a:pt x="6617477" y="5213979"/>
                </a:moveTo>
                <a:cubicBezTo>
                  <a:pt x="6617477" y="5203042"/>
                  <a:pt x="6608667" y="5194233"/>
                  <a:pt x="6597730" y="5194233"/>
                </a:cubicBezTo>
                <a:cubicBezTo>
                  <a:pt x="6586794" y="5194233"/>
                  <a:pt x="6577984" y="5203042"/>
                  <a:pt x="6577984" y="5213979"/>
                </a:cubicBezTo>
                <a:cubicBezTo>
                  <a:pt x="6577984" y="5224915"/>
                  <a:pt x="6586794" y="5233725"/>
                  <a:pt x="6597730" y="5233725"/>
                </a:cubicBezTo>
                <a:cubicBezTo>
                  <a:pt x="6608667" y="5233725"/>
                  <a:pt x="6617477" y="5224915"/>
                  <a:pt x="6617477" y="5213979"/>
                </a:cubicBezTo>
                <a:moveTo>
                  <a:pt x="6645045" y="5033073"/>
                </a:moveTo>
                <a:cubicBezTo>
                  <a:pt x="6645045" y="5020922"/>
                  <a:pt x="6635172" y="5011049"/>
                  <a:pt x="6623021" y="5011049"/>
                </a:cubicBezTo>
                <a:cubicBezTo>
                  <a:pt x="6610869" y="5011049"/>
                  <a:pt x="6600996" y="5020922"/>
                  <a:pt x="6600996" y="5033073"/>
                </a:cubicBezTo>
                <a:cubicBezTo>
                  <a:pt x="6600996" y="5045225"/>
                  <a:pt x="6610869" y="5055098"/>
                  <a:pt x="6623021" y="5055098"/>
                </a:cubicBezTo>
                <a:cubicBezTo>
                  <a:pt x="6635172" y="5055098"/>
                  <a:pt x="6645045" y="5045225"/>
                  <a:pt x="6645045" y="5033073"/>
                </a:cubicBezTo>
                <a:moveTo>
                  <a:pt x="6664867" y="4851257"/>
                </a:moveTo>
                <a:cubicBezTo>
                  <a:pt x="6664867" y="4837814"/>
                  <a:pt x="6654007" y="4826954"/>
                  <a:pt x="6640564" y="4826954"/>
                </a:cubicBezTo>
                <a:cubicBezTo>
                  <a:pt x="6627122" y="4826954"/>
                  <a:pt x="6616261" y="4837814"/>
                  <a:pt x="6616261" y="4851257"/>
                </a:cubicBezTo>
                <a:cubicBezTo>
                  <a:pt x="6616261" y="4864699"/>
                  <a:pt x="6627122" y="4875560"/>
                  <a:pt x="6640564" y="4875560"/>
                </a:cubicBezTo>
                <a:cubicBezTo>
                  <a:pt x="6654007" y="4875484"/>
                  <a:pt x="6664867" y="4864623"/>
                  <a:pt x="6664867" y="4851257"/>
                </a:cubicBezTo>
                <a:moveTo>
                  <a:pt x="6676867" y="4668833"/>
                </a:moveTo>
                <a:cubicBezTo>
                  <a:pt x="6676867" y="4654175"/>
                  <a:pt x="6665019" y="4642327"/>
                  <a:pt x="6650361" y="4642327"/>
                </a:cubicBezTo>
                <a:cubicBezTo>
                  <a:pt x="6635704" y="4642327"/>
                  <a:pt x="6623856" y="4654175"/>
                  <a:pt x="6623856" y="4668833"/>
                </a:cubicBezTo>
                <a:cubicBezTo>
                  <a:pt x="6623856" y="4683490"/>
                  <a:pt x="6635704" y="4695338"/>
                  <a:pt x="6650361" y="4695338"/>
                </a:cubicBezTo>
                <a:cubicBezTo>
                  <a:pt x="6665019" y="4695338"/>
                  <a:pt x="6676867" y="4683490"/>
                  <a:pt x="6676867" y="4668833"/>
                </a:cubicBezTo>
                <a:moveTo>
                  <a:pt x="6681120" y="4486181"/>
                </a:moveTo>
                <a:cubicBezTo>
                  <a:pt x="6681120" y="4470307"/>
                  <a:pt x="6668209" y="4457396"/>
                  <a:pt x="6652336" y="4457396"/>
                </a:cubicBezTo>
                <a:cubicBezTo>
                  <a:pt x="6636463" y="4457396"/>
                  <a:pt x="6623552" y="4470307"/>
                  <a:pt x="6623552" y="4486181"/>
                </a:cubicBezTo>
                <a:cubicBezTo>
                  <a:pt x="6623552" y="4502053"/>
                  <a:pt x="6636463" y="4514964"/>
                  <a:pt x="6652336" y="4514964"/>
                </a:cubicBezTo>
                <a:cubicBezTo>
                  <a:pt x="6668209" y="4514964"/>
                  <a:pt x="6681120" y="4502053"/>
                  <a:pt x="6681120" y="4486181"/>
                </a:cubicBezTo>
                <a:moveTo>
                  <a:pt x="6677474" y="4303604"/>
                </a:moveTo>
                <a:cubicBezTo>
                  <a:pt x="6677474" y="4286440"/>
                  <a:pt x="6663576" y="4272542"/>
                  <a:pt x="6646412" y="4272542"/>
                </a:cubicBezTo>
                <a:cubicBezTo>
                  <a:pt x="6629248" y="4272542"/>
                  <a:pt x="6615350" y="4286440"/>
                  <a:pt x="6615350" y="4303604"/>
                </a:cubicBezTo>
                <a:cubicBezTo>
                  <a:pt x="6615350" y="4320768"/>
                  <a:pt x="6629248" y="4334666"/>
                  <a:pt x="6646412" y="4334666"/>
                </a:cubicBezTo>
                <a:cubicBezTo>
                  <a:pt x="6663576" y="4334666"/>
                  <a:pt x="6677474" y="4320768"/>
                  <a:pt x="6677474" y="4303604"/>
                </a:cubicBezTo>
                <a:moveTo>
                  <a:pt x="6666082" y="4121484"/>
                </a:moveTo>
                <a:cubicBezTo>
                  <a:pt x="6666082" y="4103104"/>
                  <a:pt x="6651197" y="4088219"/>
                  <a:pt x="6632742" y="4088219"/>
                </a:cubicBezTo>
                <a:cubicBezTo>
                  <a:pt x="6614363" y="4088219"/>
                  <a:pt x="6599477" y="4103104"/>
                  <a:pt x="6599477" y="4121484"/>
                </a:cubicBezTo>
                <a:cubicBezTo>
                  <a:pt x="6599477" y="4139863"/>
                  <a:pt x="6614363" y="4154824"/>
                  <a:pt x="6632742" y="4154824"/>
                </a:cubicBezTo>
                <a:cubicBezTo>
                  <a:pt x="6651197" y="4154748"/>
                  <a:pt x="6666082" y="4139863"/>
                  <a:pt x="6666082" y="4121484"/>
                </a:cubicBezTo>
                <a:moveTo>
                  <a:pt x="6646944" y="3940046"/>
                </a:moveTo>
                <a:cubicBezTo>
                  <a:pt x="6646944" y="3920376"/>
                  <a:pt x="6630995" y="3904503"/>
                  <a:pt x="6611401" y="3904503"/>
                </a:cubicBezTo>
                <a:cubicBezTo>
                  <a:pt x="6591731" y="3904503"/>
                  <a:pt x="6575857" y="3920452"/>
                  <a:pt x="6575857" y="3940046"/>
                </a:cubicBezTo>
                <a:cubicBezTo>
                  <a:pt x="6575857" y="3959717"/>
                  <a:pt x="6591731" y="3975589"/>
                  <a:pt x="6611401" y="3975589"/>
                </a:cubicBezTo>
                <a:cubicBezTo>
                  <a:pt x="6630995" y="3975589"/>
                  <a:pt x="6646944" y="3959717"/>
                  <a:pt x="6646944" y="3940046"/>
                </a:cubicBezTo>
                <a:moveTo>
                  <a:pt x="6620059" y="3759749"/>
                </a:moveTo>
                <a:cubicBezTo>
                  <a:pt x="6620059" y="3738863"/>
                  <a:pt x="6603123" y="3721927"/>
                  <a:pt x="6582237" y="3721927"/>
                </a:cubicBezTo>
                <a:cubicBezTo>
                  <a:pt x="6561352" y="3721927"/>
                  <a:pt x="6544416" y="3738863"/>
                  <a:pt x="6544416" y="3759749"/>
                </a:cubicBezTo>
                <a:cubicBezTo>
                  <a:pt x="6544416" y="3780634"/>
                  <a:pt x="6561352" y="3797570"/>
                  <a:pt x="6582237" y="3797570"/>
                </a:cubicBezTo>
                <a:cubicBezTo>
                  <a:pt x="6603123" y="3797570"/>
                  <a:pt x="6620059" y="3780634"/>
                  <a:pt x="6620059" y="3759749"/>
                </a:cubicBezTo>
                <a:moveTo>
                  <a:pt x="6584895" y="3580818"/>
                </a:moveTo>
                <a:cubicBezTo>
                  <a:pt x="6584895" y="3559021"/>
                  <a:pt x="6567200" y="3541325"/>
                  <a:pt x="6545403" y="3541325"/>
                </a:cubicBezTo>
                <a:cubicBezTo>
                  <a:pt x="6523606" y="3541325"/>
                  <a:pt x="6505911" y="3559021"/>
                  <a:pt x="6505911" y="3580818"/>
                </a:cubicBezTo>
                <a:cubicBezTo>
                  <a:pt x="6505911" y="3602615"/>
                  <a:pt x="6523606" y="3620310"/>
                  <a:pt x="6545403" y="3620310"/>
                </a:cubicBezTo>
                <a:cubicBezTo>
                  <a:pt x="6567200" y="3620310"/>
                  <a:pt x="6584895" y="3602615"/>
                  <a:pt x="6584895" y="3580818"/>
                </a:cubicBezTo>
                <a:moveTo>
                  <a:pt x="6542745" y="3403634"/>
                </a:moveTo>
                <a:cubicBezTo>
                  <a:pt x="6542745" y="3380546"/>
                  <a:pt x="6524062" y="3361863"/>
                  <a:pt x="6500974" y="3361863"/>
                </a:cubicBezTo>
                <a:cubicBezTo>
                  <a:pt x="6477886" y="3361863"/>
                  <a:pt x="6459203" y="3380546"/>
                  <a:pt x="6459203" y="3403634"/>
                </a:cubicBezTo>
                <a:cubicBezTo>
                  <a:pt x="6459203" y="3426722"/>
                  <a:pt x="6477886" y="3445405"/>
                  <a:pt x="6500974" y="3445405"/>
                </a:cubicBezTo>
                <a:cubicBezTo>
                  <a:pt x="6524062" y="3445405"/>
                  <a:pt x="6542745" y="3426722"/>
                  <a:pt x="6542745" y="3403634"/>
                </a:cubicBezTo>
                <a:moveTo>
                  <a:pt x="6492468" y="3228500"/>
                </a:moveTo>
                <a:cubicBezTo>
                  <a:pt x="6492468" y="3204501"/>
                  <a:pt x="6473026" y="3185059"/>
                  <a:pt x="6449027" y="3185059"/>
                </a:cubicBezTo>
                <a:cubicBezTo>
                  <a:pt x="6425027" y="3185059"/>
                  <a:pt x="6405585" y="3204501"/>
                  <a:pt x="6405585" y="3228500"/>
                </a:cubicBezTo>
                <a:cubicBezTo>
                  <a:pt x="6405585" y="3252500"/>
                  <a:pt x="6425027" y="3271942"/>
                  <a:pt x="6449027" y="3271942"/>
                </a:cubicBezTo>
                <a:cubicBezTo>
                  <a:pt x="6472950" y="3272018"/>
                  <a:pt x="6492468" y="3252500"/>
                  <a:pt x="6492468" y="3228500"/>
                </a:cubicBezTo>
                <a:moveTo>
                  <a:pt x="6434749" y="3055797"/>
                </a:moveTo>
                <a:cubicBezTo>
                  <a:pt x="6434749" y="3030887"/>
                  <a:pt x="6414546" y="3010685"/>
                  <a:pt x="6389560" y="3010685"/>
                </a:cubicBezTo>
                <a:cubicBezTo>
                  <a:pt x="6364649" y="3010685"/>
                  <a:pt x="6344448" y="3030887"/>
                  <a:pt x="6344448" y="3055797"/>
                </a:cubicBezTo>
                <a:cubicBezTo>
                  <a:pt x="6344448" y="3080708"/>
                  <a:pt x="6364649" y="3100986"/>
                  <a:pt x="6389560" y="3100986"/>
                </a:cubicBezTo>
                <a:cubicBezTo>
                  <a:pt x="6414470" y="3100910"/>
                  <a:pt x="6434749" y="3080708"/>
                  <a:pt x="6434749" y="3055797"/>
                </a:cubicBezTo>
                <a:moveTo>
                  <a:pt x="6369662" y="2885752"/>
                </a:moveTo>
                <a:cubicBezTo>
                  <a:pt x="6369662" y="2859855"/>
                  <a:pt x="6348701" y="2838893"/>
                  <a:pt x="6322803" y="2838893"/>
                </a:cubicBezTo>
                <a:cubicBezTo>
                  <a:pt x="6296905" y="2838893"/>
                  <a:pt x="6275943" y="2859855"/>
                  <a:pt x="6275943" y="2885752"/>
                </a:cubicBezTo>
                <a:cubicBezTo>
                  <a:pt x="6275943" y="2911650"/>
                  <a:pt x="6296905" y="2932612"/>
                  <a:pt x="6322803" y="2932612"/>
                </a:cubicBezTo>
                <a:cubicBezTo>
                  <a:pt x="6348701" y="2932612"/>
                  <a:pt x="6369662" y="2911650"/>
                  <a:pt x="6369662" y="2885752"/>
                </a:cubicBezTo>
                <a:moveTo>
                  <a:pt x="6296829" y="2718745"/>
                </a:moveTo>
                <a:cubicBezTo>
                  <a:pt x="6296829" y="2692240"/>
                  <a:pt x="6275336" y="2670747"/>
                  <a:pt x="6248830" y="2670747"/>
                </a:cubicBezTo>
                <a:cubicBezTo>
                  <a:pt x="6222325" y="2670747"/>
                  <a:pt x="6200832" y="2692240"/>
                  <a:pt x="6200832" y="2718745"/>
                </a:cubicBezTo>
                <a:cubicBezTo>
                  <a:pt x="6200832" y="2745251"/>
                  <a:pt x="6222325" y="2766744"/>
                  <a:pt x="6248830" y="2766744"/>
                </a:cubicBezTo>
                <a:cubicBezTo>
                  <a:pt x="6275412" y="2766668"/>
                  <a:pt x="6296829" y="2745251"/>
                  <a:pt x="6296829" y="2718745"/>
                </a:cubicBezTo>
                <a:moveTo>
                  <a:pt x="6217540" y="2555004"/>
                </a:moveTo>
                <a:cubicBezTo>
                  <a:pt x="6217540" y="2527587"/>
                  <a:pt x="6195288" y="2505335"/>
                  <a:pt x="6167871" y="2505335"/>
                </a:cubicBezTo>
                <a:cubicBezTo>
                  <a:pt x="6140455" y="2505335"/>
                  <a:pt x="6118202" y="2527587"/>
                  <a:pt x="6118202" y="2555004"/>
                </a:cubicBezTo>
                <a:cubicBezTo>
                  <a:pt x="6118202" y="2582421"/>
                  <a:pt x="6140455" y="2604673"/>
                  <a:pt x="6167871" y="2604673"/>
                </a:cubicBezTo>
                <a:cubicBezTo>
                  <a:pt x="6195288" y="2604673"/>
                  <a:pt x="6217540" y="2582421"/>
                  <a:pt x="6217540" y="2555004"/>
                </a:cubicBezTo>
                <a:moveTo>
                  <a:pt x="6130733" y="2394908"/>
                </a:moveTo>
                <a:cubicBezTo>
                  <a:pt x="6130733" y="2366884"/>
                  <a:pt x="6108025" y="2344100"/>
                  <a:pt x="6079925" y="2344100"/>
                </a:cubicBezTo>
                <a:cubicBezTo>
                  <a:pt x="6051900" y="2344100"/>
                  <a:pt x="6029116" y="2366808"/>
                  <a:pt x="6029116" y="2394908"/>
                </a:cubicBezTo>
                <a:cubicBezTo>
                  <a:pt x="6029116" y="2422932"/>
                  <a:pt x="6051824" y="2445716"/>
                  <a:pt x="6079925" y="2445716"/>
                </a:cubicBezTo>
                <a:cubicBezTo>
                  <a:pt x="6108025" y="2445716"/>
                  <a:pt x="6130733" y="2422932"/>
                  <a:pt x="6130733" y="2394908"/>
                </a:cubicBezTo>
                <a:moveTo>
                  <a:pt x="6037167" y="2238685"/>
                </a:moveTo>
                <a:cubicBezTo>
                  <a:pt x="6037167" y="2210053"/>
                  <a:pt x="6013927" y="2186738"/>
                  <a:pt x="5985219" y="2186738"/>
                </a:cubicBezTo>
                <a:cubicBezTo>
                  <a:pt x="5956511" y="2186738"/>
                  <a:pt x="5933271" y="2209977"/>
                  <a:pt x="5933271" y="2238685"/>
                </a:cubicBezTo>
                <a:cubicBezTo>
                  <a:pt x="5933271" y="2267393"/>
                  <a:pt x="5956511" y="2290633"/>
                  <a:pt x="5985219" y="2290633"/>
                </a:cubicBezTo>
                <a:cubicBezTo>
                  <a:pt x="6013927" y="2290633"/>
                  <a:pt x="6037167" y="2267393"/>
                  <a:pt x="6037167" y="2238685"/>
                </a:cubicBezTo>
                <a:moveTo>
                  <a:pt x="5936461" y="2086640"/>
                </a:moveTo>
                <a:cubicBezTo>
                  <a:pt x="5936461" y="2057628"/>
                  <a:pt x="5912994" y="2034160"/>
                  <a:pt x="5883982" y="2034160"/>
                </a:cubicBezTo>
                <a:cubicBezTo>
                  <a:pt x="5854970" y="2034160"/>
                  <a:pt x="5831503" y="2057628"/>
                  <a:pt x="5831503" y="2086640"/>
                </a:cubicBezTo>
                <a:cubicBezTo>
                  <a:pt x="5831503" y="2115651"/>
                  <a:pt x="5854970" y="2139119"/>
                  <a:pt x="5883982" y="2139119"/>
                </a:cubicBezTo>
                <a:cubicBezTo>
                  <a:pt x="5912994" y="2139195"/>
                  <a:pt x="5936461" y="2115651"/>
                  <a:pt x="5936461" y="2086640"/>
                </a:cubicBezTo>
                <a:moveTo>
                  <a:pt x="5829376" y="1939151"/>
                </a:moveTo>
                <a:cubicBezTo>
                  <a:pt x="5829376" y="1909835"/>
                  <a:pt x="5805605" y="1886140"/>
                  <a:pt x="5776289" y="1886140"/>
                </a:cubicBezTo>
                <a:cubicBezTo>
                  <a:pt x="5746974" y="1886140"/>
                  <a:pt x="5723279" y="1909911"/>
                  <a:pt x="5723279" y="1939151"/>
                </a:cubicBezTo>
                <a:cubicBezTo>
                  <a:pt x="5723279" y="1968466"/>
                  <a:pt x="5747050" y="1992238"/>
                  <a:pt x="5776289" y="1992238"/>
                </a:cubicBezTo>
                <a:cubicBezTo>
                  <a:pt x="5805605" y="1992162"/>
                  <a:pt x="5829376" y="1968390"/>
                  <a:pt x="5829376" y="1939151"/>
                </a:cubicBezTo>
                <a:moveTo>
                  <a:pt x="5715988" y="1796295"/>
                </a:moveTo>
                <a:cubicBezTo>
                  <a:pt x="5715988" y="1766676"/>
                  <a:pt x="5691988" y="1742676"/>
                  <a:pt x="5662369" y="1742676"/>
                </a:cubicBezTo>
                <a:cubicBezTo>
                  <a:pt x="5632750" y="1742676"/>
                  <a:pt x="5608751" y="1766676"/>
                  <a:pt x="5608751" y="1796295"/>
                </a:cubicBezTo>
                <a:cubicBezTo>
                  <a:pt x="5608751" y="1825914"/>
                  <a:pt x="5632750" y="1849913"/>
                  <a:pt x="5662369" y="1849913"/>
                </a:cubicBezTo>
                <a:cubicBezTo>
                  <a:pt x="5691988" y="1849913"/>
                  <a:pt x="5715988" y="1825914"/>
                  <a:pt x="5715988" y="1796295"/>
                </a:cubicBezTo>
                <a:moveTo>
                  <a:pt x="5596675" y="1658527"/>
                </a:moveTo>
                <a:cubicBezTo>
                  <a:pt x="5596675" y="1628604"/>
                  <a:pt x="5572448" y="1604377"/>
                  <a:pt x="5542525" y="1604377"/>
                </a:cubicBezTo>
                <a:cubicBezTo>
                  <a:pt x="5512602" y="1604377"/>
                  <a:pt x="5488375" y="1628680"/>
                  <a:pt x="5488375" y="1658527"/>
                </a:cubicBezTo>
                <a:cubicBezTo>
                  <a:pt x="5488375" y="1688450"/>
                  <a:pt x="5512602" y="1712677"/>
                  <a:pt x="5542525" y="1712677"/>
                </a:cubicBezTo>
                <a:cubicBezTo>
                  <a:pt x="5572448" y="1712677"/>
                  <a:pt x="5596675" y="1688450"/>
                  <a:pt x="5596675" y="1658527"/>
                </a:cubicBezTo>
                <a:moveTo>
                  <a:pt x="5471059" y="1525924"/>
                </a:moveTo>
                <a:cubicBezTo>
                  <a:pt x="5471059" y="1496001"/>
                  <a:pt x="5446832" y="1471774"/>
                  <a:pt x="5416909" y="1471774"/>
                </a:cubicBezTo>
                <a:cubicBezTo>
                  <a:pt x="5386986" y="1471774"/>
                  <a:pt x="5362759" y="1496077"/>
                  <a:pt x="5362759" y="1525924"/>
                </a:cubicBezTo>
                <a:cubicBezTo>
                  <a:pt x="5362759" y="1555847"/>
                  <a:pt x="5386986" y="1580074"/>
                  <a:pt x="5416909" y="1580074"/>
                </a:cubicBezTo>
                <a:cubicBezTo>
                  <a:pt x="5446756" y="1580074"/>
                  <a:pt x="5471059" y="1555847"/>
                  <a:pt x="5471059" y="1525924"/>
                </a:cubicBezTo>
                <a:moveTo>
                  <a:pt x="5339823" y="1398865"/>
                </a:moveTo>
                <a:cubicBezTo>
                  <a:pt x="5339823" y="1368942"/>
                  <a:pt x="5315596" y="1344715"/>
                  <a:pt x="5285672" y="1344715"/>
                </a:cubicBezTo>
                <a:cubicBezTo>
                  <a:pt x="5255750" y="1344715"/>
                  <a:pt x="5231523" y="1369018"/>
                  <a:pt x="5231523" y="1398865"/>
                </a:cubicBezTo>
                <a:cubicBezTo>
                  <a:pt x="5231523" y="1428788"/>
                  <a:pt x="5255750" y="1453015"/>
                  <a:pt x="5285672" y="1453015"/>
                </a:cubicBezTo>
                <a:cubicBezTo>
                  <a:pt x="5315520" y="1453015"/>
                  <a:pt x="5339823" y="1428788"/>
                  <a:pt x="5339823" y="1398865"/>
                </a:cubicBezTo>
                <a:moveTo>
                  <a:pt x="5202739" y="1277502"/>
                </a:moveTo>
                <a:cubicBezTo>
                  <a:pt x="5202739" y="1247883"/>
                  <a:pt x="5178740" y="1223883"/>
                  <a:pt x="5149120" y="1223883"/>
                </a:cubicBezTo>
                <a:cubicBezTo>
                  <a:pt x="5119501" y="1223883"/>
                  <a:pt x="5095502" y="1247883"/>
                  <a:pt x="5095502" y="1277502"/>
                </a:cubicBezTo>
                <a:cubicBezTo>
                  <a:pt x="5095502" y="1307121"/>
                  <a:pt x="5119501" y="1331120"/>
                  <a:pt x="5149120" y="1331120"/>
                </a:cubicBezTo>
                <a:cubicBezTo>
                  <a:pt x="5178740" y="1331120"/>
                  <a:pt x="5202739" y="1307121"/>
                  <a:pt x="5202739" y="1277502"/>
                </a:cubicBezTo>
                <a:moveTo>
                  <a:pt x="5061098" y="1162063"/>
                </a:moveTo>
                <a:cubicBezTo>
                  <a:pt x="5061098" y="1132443"/>
                  <a:pt x="5037099" y="1108444"/>
                  <a:pt x="5007480" y="1108444"/>
                </a:cubicBezTo>
                <a:cubicBezTo>
                  <a:pt x="4977860" y="1108444"/>
                  <a:pt x="4953861" y="1132443"/>
                  <a:pt x="4953861" y="1162063"/>
                </a:cubicBezTo>
                <a:cubicBezTo>
                  <a:pt x="4953861" y="1191682"/>
                  <a:pt x="4977860" y="1215681"/>
                  <a:pt x="5007480" y="1215681"/>
                </a:cubicBezTo>
                <a:cubicBezTo>
                  <a:pt x="5037099" y="1215681"/>
                  <a:pt x="5061098" y="1191682"/>
                  <a:pt x="5061098" y="1162063"/>
                </a:cubicBezTo>
                <a:moveTo>
                  <a:pt x="4913609" y="1052851"/>
                </a:moveTo>
                <a:cubicBezTo>
                  <a:pt x="4913609" y="1023839"/>
                  <a:pt x="4890066" y="1000372"/>
                  <a:pt x="4861130" y="1000372"/>
                </a:cubicBezTo>
                <a:cubicBezTo>
                  <a:pt x="4832118" y="1000372"/>
                  <a:pt x="4808650" y="1023839"/>
                  <a:pt x="4808650" y="1052851"/>
                </a:cubicBezTo>
                <a:cubicBezTo>
                  <a:pt x="4808650" y="1081863"/>
                  <a:pt x="4832118" y="1105330"/>
                  <a:pt x="4861130" y="1105330"/>
                </a:cubicBezTo>
                <a:cubicBezTo>
                  <a:pt x="4890142" y="1105330"/>
                  <a:pt x="4913609" y="1081863"/>
                  <a:pt x="4913609" y="1052851"/>
                </a:cubicBezTo>
                <a:moveTo>
                  <a:pt x="4762095" y="949943"/>
                </a:moveTo>
                <a:cubicBezTo>
                  <a:pt x="4762095" y="921311"/>
                  <a:pt x="4738855" y="897995"/>
                  <a:pt x="4710148" y="897995"/>
                </a:cubicBezTo>
                <a:cubicBezTo>
                  <a:pt x="4681439" y="897995"/>
                  <a:pt x="4658200" y="921235"/>
                  <a:pt x="4658200" y="949943"/>
                </a:cubicBezTo>
                <a:cubicBezTo>
                  <a:pt x="4658200" y="978651"/>
                  <a:pt x="4681439" y="1001891"/>
                  <a:pt x="4710148" y="1001891"/>
                </a:cubicBezTo>
                <a:cubicBezTo>
                  <a:pt x="4738855" y="1001891"/>
                  <a:pt x="4762095" y="978575"/>
                  <a:pt x="4762095" y="949943"/>
                </a:cubicBezTo>
                <a:moveTo>
                  <a:pt x="4605797" y="853567"/>
                </a:moveTo>
                <a:cubicBezTo>
                  <a:pt x="4605797" y="825542"/>
                  <a:pt x="4583089" y="802758"/>
                  <a:pt x="4554988" y="802758"/>
                </a:cubicBezTo>
                <a:cubicBezTo>
                  <a:pt x="4526964" y="802758"/>
                  <a:pt x="4504180" y="825466"/>
                  <a:pt x="4504180" y="853567"/>
                </a:cubicBezTo>
                <a:cubicBezTo>
                  <a:pt x="4504180" y="881591"/>
                  <a:pt x="4526888" y="904375"/>
                  <a:pt x="4554988" y="904375"/>
                </a:cubicBezTo>
                <a:cubicBezTo>
                  <a:pt x="4583089" y="904375"/>
                  <a:pt x="4605797" y="881667"/>
                  <a:pt x="4605797" y="853567"/>
                </a:cubicBezTo>
                <a:moveTo>
                  <a:pt x="4445549" y="763949"/>
                </a:moveTo>
                <a:cubicBezTo>
                  <a:pt x="4445549" y="736533"/>
                  <a:pt x="4423296" y="714280"/>
                  <a:pt x="4395879" y="714280"/>
                </a:cubicBezTo>
                <a:cubicBezTo>
                  <a:pt x="4368463" y="714280"/>
                  <a:pt x="4346210" y="736533"/>
                  <a:pt x="4346210" y="763949"/>
                </a:cubicBezTo>
                <a:cubicBezTo>
                  <a:pt x="4346210" y="791366"/>
                  <a:pt x="4368463" y="813619"/>
                  <a:pt x="4395879" y="813619"/>
                </a:cubicBezTo>
                <a:cubicBezTo>
                  <a:pt x="4423296" y="813619"/>
                  <a:pt x="4445549" y="791366"/>
                  <a:pt x="4445549" y="763949"/>
                </a:cubicBezTo>
                <a:moveTo>
                  <a:pt x="4281580" y="681167"/>
                </a:moveTo>
                <a:cubicBezTo>
                  <a:pt x="4281580" y="654358"/>
                  <a:pt x="4259859" y="632637"/>
                  <a:pt x="4233049" y="632637"/>
                </a:cubicBezTo>
                <a:cubicBezTo>
                  <a:pt x="4206240" y="632637"/>
                  <a:pt x="4184519" y="654358"/>
                  <a:pt x="4184519" y="681167"/>
                </a:cubicBezTo>
                <a:cubicBezTo>
                  <a:pt x="4184519" y="707977"/>
                  <a:pt x="4206240" y="729697"/>
                  <a:pt x="4233049" y="729697"/>
                </a:cubicBezTo>
                <a:cubicBezTo>
                  <a:pt x="4259783" y="729697"/>
                  <a:pt x="4281580" y="707977"/>
                  <a:pt x="4281580" y="681167"/>
                </a:cubicBezTo>
                <a:moveTo>
                  <a:pt x="4113585" y="605448"/>
                </a:moveTo>
                <a:cubicBezTo>
                  <a:pt x="4113585" y="579550"/>
                  <a:pt x="4092624" y="558589"/>
                  <a:pt x="4066725" y="558589"/>
                </a:cubicBezTo>
                <a:cubicBezTo>
                  <a:pt x="4040828" y="558589"/>
                  <a:pt x="4019866" y="579550"/>
                  <a:pt x="4019866" y="605448"/>
                </a:cubicBezTo>
                <a:cubicBezTo>
                  <a:pt x="4019866" y="631346"/>
                  <a:pt x="4040828" y="652307"/>
                  <a:pt x="4066725" y="652307"/>
                </a:cubicBezTo>
                <a:cubicBezTo>
                  <a:pt x="4092624" y="652307"/>
                  <a:pt x="4113585" y="631346"/>
                  <a:pt x="4113585" y="605448"/>
                </a:cubicBezTo>
                <a:moveTo>
                  <a:pt x="3943160" y="536944"/>
                </a:moveTo>
                <a:cubicBezTo>
                  <a:pt x="3943160" y="511730"/>
                  <a:pt x="3922731" y="491224"/>
                  <a:pt x="3897440" y="491224"/>
                </a:cubicBezTo>
                <a:cubicBezTo>
                  <a:pt x="3872226" y="491224"/>
                  <a:pt x="3851720" y="511730"/>
                  <a:pt x="3851720" y="536944"/>
                </a:cubicBezTo>
                <a:cubicBezTo>
                  <a:pt x="3851720" y="562159"/>
                  <a:pt x="3872226" y="582664"/>
                  <a:pt x="3897440" y="582664"/>
                </a:cubicBezTo>
                <a:cubicBezTo>
                  <a:pt x="3922731" y="582664"/>
                  <a:pt x="3943160" y="562159"/>
                  <a:pt x="3943160" y="536944"/>
                </a:cubicBezTo>
                <a:moveTo>
                  <a:pt x="3769394" y="475655"/>
                </a:moveTo>
                <a:cubicBezTo>
                  <a:pt x="3769394" y="451352"/>
                  <a:pt x="3749648" y="431606"/>
                  <a:pt x="3725345" y="431606"/>
                </a:cubicBezTo>
                <a:cubicBezTo>
                  <a:pt x="3701042" y="431606"/>
                  <a:pt x="3681295" y="451276"/>
                  <a:pt x="3681295" y="475655"/>
                </a:cubicBezTo>
                <a:cubicBezTo>
                  <a:pt x="3681295" y="499958"/>
                  <a:pt x="3700966" y="519704"/>
                  <a:pt x="3725345" y="519704"/>
                </a:cubicBezTo>
                <a:cubicBezTo>
                  <a:pt x="3749724" y="519704"/>
                  <a:pt x="3769394" y="499958"/>
                  <a:pt x="3769394" y="475655"/>
                </a:cubicBezTo>
                <a:moveTo>
                  <a:pt x="3593121" y="421809"/>
                </a:moveTo>
                <a:cubicBezTo>
                  <a:pt x="3593121" y="398417"/>
                  <a:pt x="3574134" y="379506"/>
                  <a:pt x="3550819" y="379506"/>
                </a:cubicBezTo>
                <a:cubicBezTo>
                  <a:pt x="3527427" y="379506"/>
                  <a:pt x="3508516" y="398493"/>
                  <a:pt x="3508516" y="421809"/>
                </a:cubicBezTo>
                <a:cubicBezTo>
                  <a:pt x="3508516" y="445200"/>
                  <a:pt x="3527503" y="464111"/>
                  <a:pt x="3550819" y="464111"/>
                </a:cubicBezTo>
                <a:cubicBezTo>
                  <a:pt x="3574210" y="464187"/>
                  <a:pt x="3593121" y="445200"/>
                  <a:pt x="3593121" y="421809"/>
                </a:cubicBezTo>
                <a:moveTo>
                  <a:pt x="3414190" y="375481"/>
                </a:moveTo>
                <a:cubicBezTo>
                  <a:pt x="3414190" y="353381"/>
                  <a:pt x="3396267" y="335381"/>
                  <a:pt x="3374090" y="335381"/>
                </a:cubicBezTo>
                <a:cubicBezTo>
                  <a:pt x="3351990" y="335381"/>
                  <a:pt x="3333990" y="353305"/>
                  <a:pt x="3333990" y="375481"/>
                </a:cubicBezTo>
                <a:cubicBezTo>
                  <a:pt x="3333990" y="397582"/>
                  <a:pt x="3351914" y="415581"/>
                  <a:pt x="3374090" y="415581"/>
                </a:cubicBezTo>
                <a:cubicBezTo>
                  <a:pt x="3396267" y="415581"/>
                  <a:pt x="3414190" y="397658"/>
                  <a:pt x="3414190" y="375481"/>
                </a:cubicBezTo>
                <a:moveTo>
                  <a:pt x="3233969" y="336748"/>
                </a:moveTo>
                <a:cubicBezTo>
                  <a:pt x="3233969" y="315559"/>
                  <a:pt x="3216805" y="298395"/>
                  <a:pt x="3195615" y="298395"/>
                </a:cubicBezTo>
                <a:cubicBezTo>
                  <a:pt x="3174426" y="298395"/>
                  <a:pt x="3157262" y="315559"/>
                  <a:pt x="3157262" y="336748"/>
                </a:cubicBezTo>
                <a:cubicBezTo>
                  <a:pt x="3157262" y="357937"/>
                  <a:pt x="3174426" y="375101"/>
                  <a:pt x="3195615" y="375101"/>
                </a:cubicBezTo>
                <a:cubicBezTo>
                  <a:pt x="3216805" y="375101"/>
                  <a:pt x="3233969" y="357937"/>
                  <a:pt x="3233969" y="336748"/>
                </a:cubicBezTo>
                <a:moveTo>
                  <a:pt x="3051772" y="305686"/>
                </a:moveTo>
                <a:cubicBezTo>
                  <a:pt x="3051772" y="285712"/>
                  <a:pt x="3035596" y="269535"/>
                  <a:pt x="3015621" y="269535"/>
                </a:cubicBezTo>
                <a:cubicBezTo>
                  <a:pt x="2995647" y="269535"/>
                  <a:pt x="2979471" y="285712"/>
                  <a:pt x="2979471" y="305686"/>
                </a:cubicBezTo>
                <a:cubicBezTo>
                  <a:pt x="2979471" y="325660"/>
                  <a:pt x="2995647" y="341837"/>
                  <a:pt x="3015621" y="341837"/>
                </a:cubicBezTo>
                <a:cubicBezTo>
                  <a:pt x="3035596" y="341837"/>
                  <a:pt x="3051772" y="325660"/>
                  <a:pt x="3051772" y="305686"/>
                </a:cubicBezTo>
                <a:moveTo>
                  <a:pt x="2868285" y="282294"/>
                </a:moveTo>
                <a:cubicBezTo>
                  <a:pt x="2868285" y="263611"/>
                  <a:pt x="2853095" y="248422"/>
                  <a:pt x="2834412" y="248422"/>
                </a:cubicBezTo>
                <a:cubicBezTo>
                  <a:pt x="2815729" y="248422"/>
                  <a:pt x="2800540" y="263611"/>
                  <a:pt x="2800540" y="282294"/>
                </a:cubicBezTo>
                <a:cubicBezTo>
                  <a:pt x="2800540" y="300977"/>
                  <a:pt x="2815729" y="316167"/>
                  <a:pt x="2834412" y="316167"/>
                </a:cubicBezTo>
                <a:cubicBezTo>
                  <a:pt x="2853171" y="316167"/>
                  <a:pt x="2868285" y="301053"/>
                  <a:pt x="2868285" y="282294"/>
                </a:cubicBezTo>
                <a:moveTo>
                  <a:pt x="2684038" y="266725"/>
                </a:moveTo>
                <a:cubicBezTo>
                  <a:pt x="2684038" y="249258"/>
                  <a:pt x="2669911" y="235131"/>
                  <a:pt x="2652444" y="235131"/>
                </a:cubicBezTo>
                <a:cubicBezTo>
                  <a:pt x="2634976" y="235131"/>
                  <a:pt x="2620850" y="249258"/>
                  <a:pt x="2620850" y="266725"/>
                </a:cubicBezTo>
                <a:cubicBezTo>
                  <a:pt x="2620850" y="284193"/>
                  <a:pt x="2634976" y="298319"/>
                  <a:pt x="2652444" y="298319"/>
                </a:cubicBezTo>
                <a:cubicBezTo>
                  <a:pt x="2669911" y="298319"/>
                  <a:pt x="2684038" y="284193"/>
                  <a:pt x="2684038" y="266725"/>
                </a:cubicBezTo>
                <a:moveTo>
                  <a:pt x="2499335" y="258903"/>
                </a:moveTo>
                <a:cubicBezTo>
                  <a:pt x="2499335" y="242726"/>
                  <a:pt x="2486196" y="229587"/>
                  <a:pt x="2470019" y="229587"/>
                </a:cubicBezTo>
                <a:cubicBezTo>
                  <a:pt x="2453767" y="229587"/>
                  <a:pt x="2440704" y="242726"/>
                  <a:pt x="2440704" y="258903"/>
                </a:cubicBezTo>
                <a:cubicBezTo>
                  <a:pt x="2440704" y="275079"/>
                  <a:pt x="2453843" y="288218"/>
                  <a:pt x="2470019" y="288218"/>
                </a:cubicBezTo>
                <a:cubicBezTo>
                  <a:pt x="2486196" y="288294"/>
                  <a:pt x="2499335" y="275155"/>
                  <a:pt x="2499335" y="258903"/>
                </a:cubicBezTo>
                <a:moveTo>
                  <a:pt x="2314404" y="258903"/>
                </a:moveTo>
                <a:cubicBezTo>
                  <a:pt x="2314404" y="243941"/>
                  <a:pt x="2302253" y="231790"/>
                  <a:pt x="2287291" y="231790"/>
                </a:cubicBezTo>
                <a:cubicBezTo>
                  <a:pt x="2272330" y="231790"/>
                  <a:pt x="2260178" y="243941"/>
                  <a:pt x="2260178" y="258903"/>
                </a:cubicBezTo>
                <a:cubicBezTo>
                  <a:pt x="2260178" y="273864"/>
                  <a:pt x="2272330" y="286016"/>
                  <a:pt x="2287291" y="286016"/>
                </a:cubicBezTo>
                <a:cubicBezTo>
                  <a:pt x="2302253" y="286016"/>
                  <a:pt x="2314404" y="273864"/>
                  <a:pt x="2314404" y="258903"/>
                </a:cubicBezTo>
                <a:moveTo>
                  <a:pt x="2129626" y="266725"/>
                </a:moveTo>
                <a:cubicBezTo>
                  <a:pt x="2129626" y="252979"/>
                  <a:pt x="2118537" y="241891"/>
                  <a:pt x="2104791" y="241891"/>
                </a:cubicBezTo>
                <a:cubicBezTo>
                  <a:pt x="2091044" y="241891"/>
                  <a:pt x="2079956" y="252979"/>
                  <a:pt x="2079956" y="266725"/>
                </a:cubicBezTo>
                <a:cubicBezTo>
                  <a:pt x="2079956" y="280472"/>
                  <a:pt x="2091044" y="291560"/>
                  <a:pt x="2104791" y="291560"/>
                </a:cubicBezTo>
                <a:cubicBezTo>
                  <a:pt x="2118537" y="291560"/>
                  <a:pt x="2129626" y="280472"/>
                  <a:pt x="2129626" y="266725"/>
                </a:cubicBezTo>
                <a:moveTo>
                  <a:pt x="1945378" y="282294"/>
                </a:moveTo>
                <a:cubicBezTo>
                  <a:pt x="1945378" y="269839"/>
                  <a:pt x="1935278" y="259738"/>
                  <a:pt x="1922822" y="259738"/>
                </a:cubicBezTo>
                <a:cubicBezTo>
                  <a:pt x="1910367" y="259738"/>
                  <a:pt x="1900266" y="269839"/>
                  <a:pt x="1900266" y="282294"/>
                </a:cubicBezTo>
                <a:cubicBezTo>
                  <a:pt x="1900266" y="294750"/>
                  <a:pt x="1910367" y="304851"/>
                  <a:pt x="1922822" y="304851"/>
                </a:cubicBezTo>
                <a:cubicBezTo>
                  <a:pt x="1935278" y="304927"/>
                  <a:pt x="1945378" y="294826"/>
                  <a:pt x="1945378" y="282294"/>
                </a:cubicBezTo>
                <a:moveTo>
                  <a:pt x="1761967" y="305686"/>
                </a:moveTo>
                <a:cubicBezTo>
                  <a:pt x="1761967" y="294446"/>
                  <a:pt x="1752853" y="285332"/>
                  <a:pt x="1741613" y="285332"/>
                </a:cubicBezTo>
                <a:cubicBezTo>
                  <a:pt x="1730373" y="285332"/>
                  <a:pt x="1721335" y="294446"/>
                  <a:pt x="1721335" y="305686"/>
                </a:cubicBezTo>
                <a:cubicBezTo>
                  <a:pt x="1721335" y="316926"/>
                  <a:pt x="1730449" y="326040"/>
                  <a:pt x="1741613" y="326040"/>
                </a:cubicBezTo>
                <a:cubicBezTo>
                  <a:pt x="1752853" y="325964"/>
                  <a:pt x="1761967" y="316926"/>
                  <a:pt x="1761967" y="305686"/>
                </a:cubicBezTo>
                <a:moveTo>
                  <a:pt x="1579694" y="336748"/>
                </a:moveTo>
                <a:cubicBezTo>
                  <a:pt x="1579694" y="326799"/>
                  <a:pt x="1571568" y="318673"/>
                  <a:pt x="1561619" y="318673"/>
                </a:cubicBezTo>
                <a:cubicBezTo>
                  <a:pt x="1551670" y="318673"/>
                  <a:pt x="1543544" y="326799"/>
                  <a:pt x="1543544" y="336748"/>
                </a:cubicBezTo>
                <a:cubicBezTo>
                  <a:pt x="1543544" y="346697"/>
                  <a:pt x="1551670" y="354824"/>
                  <a:pt x="1561619" y="354824"/>
                </a:cubicBezTo>
                <a:cubicBezTo>
                  <a:pt x="1571644" y="354824"/>
                  <a:pt x="1579694" y="346697"/>
                  <a:pt x="1579694" y="336748"/>
                </a:cubicBezTo>
                <a:moveTo>
                  <a:pt x="1398941" y="375481"/>
                </a:moveTo>
                <a:cubicBezTo>
                  <a:pt x="1398941" y="366747"/>
                  <a:pt x="1391878" y="359684"/>
                  <a:pt x="1383144" y="359684"/>
                </a:cubicBezTo>
                <a:cubicBezTo>
                  <a:pt x="1374410" y="359684"/>
                  <a:pt x="1367347" y="366747"/>
                  <a:pt x="1367347" y="375481"/>
                </a:cubicBezTo>
                <a:cubicBezTo>
                  <a:pt x="1367347" y="384215"/>
                  <a:pt x="1374410" y="391278"/>
                  <a:pt x="1383144" y="391278"/>
                </a:cubicBezTo>
                <a:cubicBezTo>
                  <a:pt x="1391878" y="391278"/>
                  <a:pt x="1398941" y="384215"/>
                  <a:pt x="1398941" y="375481"/>
                </a:cubicBezTo>
                <a:moveTo>
                  <a:pt x="1220542" y="421809"/>
                </a:moveTo>
                <a:cubicBezTo>
                  <a:pt x="1220542" y="413986"/>
                  <a:pt x="1214238" y="407683"/>
                  <a:pt x="1206416" y="407683"/>
                </a:cubicBezTo>
                <a:cubicBezTo>
                  <a:pt x="1198593" y="407683"/>
                  <a:pt x="1192290" y="413986"/>
                  <a:pt x="1192290" y="421809"/>
                </a:cubicBezTo>
                <a:cubicBezTo>
                  <a:pt x="1192290" y="429631"/>
                  <a:pt x="1198593" y="435935"/>
                  <a:pt x="1206416" y="435935"/>
                </a:cubicBezTo>
                <a:cubicBezTo>
                  <a:pt x="1214238" y="435935"/>
                  <a:pt x="1220542" y="429631"/>
                  <a:pt x="1220542" y="421809"/>
                </a:cubicBezTo>
                <a:moveTo>
                  <a:pt x="1044269" y="475655"/>
                </a:moveTo>
                <a:cubicBezTo>
                  <a:pt x="1044269" y="468820"/>
                  <a:pt x="1038725" y="463276"/>
                  <a:pt x="1031814" y="463276"/>
                </a:cubicBezTo>
                <a:cubicBezTo>
                  <a:pt x="1024979" y="463276"/>
                  <a:pt x="1019359" y="468820"/>
                  <a:pt x="1019359" y="475655"/>
                </a:cubicBezTo>
                <a:cubicBezTo>
                  <a:pt x="1019359" y="482490"/>
                  <a:pt x="1024903" y="488110"/>
                  <a:pt x="1031814" y="488110"/>
                </a:cubicBezTo>
                <a:cubicBezTo>
                  <a:pt x="1038725" y="488110"/>
                  <a:pt x="1044269" y="482490"/>
                  <a:pt x="1044269" y="475655"/>
                </a:cubicBezTo>
                <a:moveTo>
                  <a:pt x="869971" y="536944"/>
                </a:moveTo>
                <a:cubicBezTo>
                  <a:pt x="869971" y="531324"/>
                  <a:pt x="865414" y="526767"/>
                  <a:pt x="859794" y="526767"/>
                </a:cubicBezTo>
                <a:cubicBezTo>
                  <a:pt x="854174" y="526767"/>
                  <a:pt x="849617" y="531324"/>
                  <a:pt x="849617" y="536944"/>
                </a:cubicBezTo>
                <a:cubicBezTo>
                  <a:pt x="849617" y="542564"/>
                  <a:pt x="854174" y="547121"/>
                  <a:pt x="859794" y="547121"/>
                </a:cubicBezTo>
                <a:cubicBezTo>
                  <a:pt x="865414" y="547121"/>
                  <a:pt x="869971" y="542564"/>
                  <a:pt x="869971" y="536944"/>
                </a:cubicBezTo>
                <a:moveTo>
                  <a:pt x="698939" y="605448"/>
                </a:moveTo>
                <a:cubicBezTo>
                  <a:pt x="698939" y="600816"/>
                  <a:pt x="695141" y="597018"/>
                  <a:pt x="690433" y="597018"/>
                </a:cubicBezTo>
                <a:cubicBezTo>
                  <a:pt x="685800" y="597018"/>
                  <a:pt x="682003" y="600816"/>
                  <a:pt x="682003" y="605448"/>
                </a:cubicBezTo>
                <a:cubicBezTo>
                  <a:pt x="682003" y="610157"/>
                  <a:pt x="685800" y="613954"/>
                  <a:pt x="690433" y="613954"/>
                </a:cubicBezTo>
                <a:cubicBezTo>
                  <a:pt x="695141" y="613954"/>
                  <a:pt x="698939" y="610157"/>
                  <a:pt x="698939" y="605448"/>
                </a:cubicBezTo>
                <a:moveTo>
                  <a:pt x="531552" y="681167"/>
                </a:moveTo>
                <a:cubicBezTo>
                  <a:pt x="531552" y="677142"/>
                  <a:pt x="528286" y="673800"/>
                  <a:pt x="524185" y="673800"/>
                </a:cubicBezTo>
                <a:cubicBezTo>
                  <a:pt x="520160" y="673800"/>
                  <a:pt x="516818" y="677066"/>
                  <a:pt x="516818" y="681167"/>
                </a:cubicBezTo>
                <a:cubicBezTo>
                  <a:pt x="516818" y="685192"/>
                  <a:pt x="520084" y="688534"/>
                  <a:pt x="524185" y="688534"/>
                </a:cubicBezTo>
                <a:cubicBezTo>
                  <a:pt x="528286" y="688534"/>
                  <a:pt x="531552" y="685268"/>
                  <a:pt x="531552" y="681167"/>
                </a:cubicBezTo>
                <a:moveTo>
                  <a:pt x="367051" y="763949"/>
                </a:moveTo>
                <a:cubicBezTo>
                  <a:pt x="367051" y="760836"/>
                  <a:pt x="364545" y="758329"/>
                  <a:pt x="361431" y="758329"/>
                </a:cubicBezTo>
                <a:cubicBezTo>
                  <a:pt x="358317" y="758329"/>
                  <a:pt x="355811" y="760836"/>
                  <a:pt x="355811" y="763949"/>
                </a:cubicBezTo>
                <a:cubicBezTo>
                  <a:pt x="355811" y="767063"/>
                  <a:pt x="358317" y="769569"/>
                  <a:pt x="361431" y="769569"/>
                </a:cubicBezTo>
                <a:cubicBezTo>
                  <a:pt x="364545" y="769569"/>
                  <a:pt x="367051" y="767063"/>
                  <a:pt x="367051" y="763949"/>
                </a:cubicBezTo>
                <a:moveTo>
                  <a:pt x="206727" y="853567"/>
                </a:moveTo>
                <a:cubicBezTo>
                  <a:pt x="206727" y="851060"/>
                  <a:pt x="204677" y="849086"/>
                  <a:pt x="202171" y="849086"/>
                </a:cubicBezTo>
                <a:cubicBezTo>
                  <a:pt x="199664" y="849086"/>
                  <a:pt x="197690" y="851136"/>
                  <a:pt x="197690" y="853567"/>
                </a:cubicBezTo>
                <a:cubicBezTo>
                  <a:pt x="197690" y="856073"/>
                  <a:pt x="199740" y="858123"/>
                  <a:pt x="202171" y="858123"/>
                </a:cubicBezTo>
                <a:cubicBezTo>
                  <a:pt x="204753" y="858123"/>
                  <a:pt x="206727" y="856073"/>
                  <a:pt x="206727" y="853567"/>
                </a:cubicBezTo>
                <a:moveTo>
                  <a:pt x="6291968" y="6717650"/>
                </a:moveTo>
                <a:cubicBezTo>
                  <a:pt x="6291968" y="6714537"/>
                  <a:pt x="6289462" y="6712030"/>
                  <a:pt x="6286348" y="6712030"/>
                </a:cubicBezTo>
                <a:cubicBezTo>
                  <a:pt x="6283234" y="6712030"/>
                  <a:pt x="6280728" y="6714537"/>
                  <a:pt x="6280728" y="6717650"/>
                </a:cubicBezTo>
                <a:cubicBezTo>
                  <a:pt x="6280728" y="6720764"/>
                  <a:pt x="6283234" y="6723271"/>
                  <a:pt x="6286348" y="6723271"/>
                </a:cubicBezTo>
                <a:cubicBezTo>
                  <a:pt x="6289386" y="6723271"/>
                  <a:pt x="6291968" y="6720764"/>
                  <a:pt x="6291968" y="6717650"/>
                </a:cubicBezTo>
                <a:moveTo>
                  <a:pt x="6379535" y="6556415"/>
                </a:moveTo>
                <a:cubicBezTo>
                  <a:pt x="6379535" y="6552390"/>
                  <a:pt x="6376269" y="6549049"/>
                  <a:pt x="6372168" y="6549049"/>
                </a:cubicBezTo>
                <a:cubicBezTo>
                  <a:pt x="6368067" y="6549049"/>
                  <a:pt x="6364801" y="6552314"/>
                  <a:pt x="6364801" y="6556415"/>
                </a:cubicBezTo>
                <a:cubicBezTo>
                  <a:pt x="6364801" y="6560441"/>
                  <a:pt x="6368067" y="6563782"/>
                  <a:pt x="6372168" y="6563782"/>
                </a:cubicBezTo>
                <a:cubicBezTo>
                  <a:pt x="6376269" y="6563782"/>
                  <a:pt x="6379535" y="6560516"/>
                  <a:pt x="6379535" y="6556415"/>
                </a:cubicBezTo>
                <a:moveTo>
                  <a:pt x="6459887" y="6391839"/>
                </a:moveTo>
                <a:cubicBezTo>
                  <a:pt x="6459887" y="6387130"/>
                  <a:pt x="6456090" y="6383409"/>
                  <a:pt x="6451381" y="6383409"/>
                </a:cubicBezTo>
                <a:cubicBezTo>
                  <a:pt x="6446748" y="6383409"/>
                  <a:pt x="6442950" y="6387206"/>
                  <a:pt x="6442950" y="6391839"/>
                </a:cubicBezTo>
                <a:cubicBezTo>
                  <a:pt x="6442950" y="6396471"/>
                  <a:pt x="6446748" y="6400269"/>
                  <a:pt x="6451381" y="6400269"/>
                </a:cubicBezTo>
                <a:cubicBezTo>
                  <a:pt x="6456090" y="6400345"/>
                  <a:pt x="6459887" y="6396547"/>
                  <a:pt x="6459887" y="6391839"/>
                </a:cubicBezTo>
                <a:moveTo>
                  <a:pt x="6534087" y="6224148"/>
                </a:moveTo>
                <a:cubicBezTo>
                  <a:pt x="6534087" y="6218528"/>
                  <a:pt x="6529530" y="6213971"/>
                  <a:pt x="6523910" y="6213971"/>
                </a:cubicBezTo>
                <a:cubicBezTo>
                  <a:pt x="6518290" y="6213971"/>
                  <a:pt x="6513733" y="6218528"/>
                  <a:pt x="6513733" y="6224148"/>
                </a:cubicBezTo>
                <a:cubicBezTo>
                  <a:pt x="6513733" y="6229768"/>
                  <a:pt x="6518290" y="6234325"/>
                  <a:pt x="6523910" y="6234325"/>
                </a:cubicBezTo>
                <a:cubicBezTo>
                  <a:pt x="6529530" y="6234325"/>
                  <a:pt x="6534087" y="6229768"/>
                  <a:pt x="6534087" y="6224148"/>
                </a:cubicBezTo>
                <a:moveTo>
                  <a:pt x="6601376" y="6053723"/>
                </a:moveTo>
                <a:cubicBezTo>
                  <a:pt x="6601376" y="6047192"/>
                  <a:pt x="6596060" y="6041875"/>
                  <a:pt x="6589528" y="6041875"/>
                </a:cubicBezTo>
                <a:cubicBezTo>
                  <a:pt x="6582996" y="6041875"/>
                  <a:pt x="6577681" y="6047192"/>
                  <a:pt x="6577681" y="6053723"/>
                </a:cubicBezTo>
                <a:cubicBezTo>
                  <a:pt x="6577681" y="6060254"/>
                  <a:pt x="6582996" y="6065571"/>
                  <a:pt x="6589528" y="6065571"/>
                </a:cubicBezTo>
                <a:cubicBezTo>
                  <a:pt x="6596060" y="6065571"/>
                  <a:pt x="6601376" y="6060254"/>
                  <a:pt x="6601376" y="6053723"/>
                </a:cubicBezTo>
                <a:moveTo>
                  <a:pt x="6662209" y="5880640"/>
                </a:moveTo>
                <a:cubicBezTo>
                  <a:pt x="6662209" y="5872818"/>
                  <a:pt x="6655906" y="5866514"/>
                  <a:pt x="6648083" y="5866514"/>
                </a:cubicBezTo>
                <a:cubicBezTo>
                  <a:pt x="6640261" y="5866514"/>
                  <a:pt x="6633957" y="5872818"/>
                  <a:pt x="6633957" y="5880640"/>
                </a:cubicBezTo>
                <a:cubicBezTo>
                  <a:pt x="6633957" y="5888463"/>
                  <a:pt x="6640261" y="5894766"/>
                  <a:pt x="6648083" y="5894766"/>
                </a:cubicBezTo>
                <a:cubicBezTo>
                  <a:pt x="6655830" y="5894766"/>
                  <a:pt x="6662209" y="5888463"/>
                  <a:pt x="6662209" y="5880640"/>
                </a:cubicBezTo>
                <a:moveTo>
                  <a:pt x="6715372" y="5705431"/>
                </a:moveTo>
                <a:cubicBezTo>
                  <a:pt x="6715372" y="5696697"/>
                  <a:pt x="6708309" y="5689634"/>
                  <a:pt x="6699575" y="5689634"/>
                </a:cubicBezTo>
                <a:cubicBezTo>
                  <a:pt x="6690841" y="5689634"/>
                  <a:pt x="6683778" y="5696697"/>
                  <a:pt x="6683778" y="5705431"/>
                </a:cubicBezTo>
                <a:cubicBezTo>
                  <a:pt x="6683778" y="5714165"/>
                  <a:pt x="6690841" y="5721228"/>
                  <a:pt x="6699575" y="5721228"/>
                </a:cubicBezTo>
                <a:cubicBezTo>
                  <a:pt x="6708309" y="5721228"/>
                  <a:pt x="6715372" y="5714089"/>
                  <a:pt x="6715372" y="5705431"/>
                </a:cubicBezTo>
                <a:moveTo>
                  <a:pt x="6761852" y="5528171"/>
                </a:moveTo>
                <a:cubicBezTo>
                  <a:pt x="6761852" y="5518222"/>
                  <a:pt x="6753801" y="5510095"/>
                  <a:pt x="6743776" y="5510095"/>
                </a:cubicBezTo>
                <a:cubicBezTo>
                  <a:pt x="6733827" y="5510095"/>
                  <a:pt x="6725701" y="5518222"/>
                  <a:pt x="6725701" y="5528171"/>
                </a:cubicBezTo>
                <a:cubicBezTo>
                  <a:pt x="6725701" y="5538120"/>
                  <a:pt x="6733827" y="5546246"/>
                  <a:pt x="6743776" y="5546246"/>
                </a:cubicBezTo>
                <a:cubicBezTo>
                  <a:pt x="6753801" y="5546246"/>
                  <a:pt x="6761852" y="5538120"/>
                  <a:pt x="6761852" y="5528171"/>
                </a:cubicBezTo>
                <a:moveTo>
                  <a:pt x="6801116" y="5349316"/>
                </a:moveTo>
                <a:cubicBezTo>
                  <a:pt x="6801116" y="5338076"/>
                  <a:pt x="6792002" y="5329038"/>
                  <a:pt x="6780762" y="5329038"/>
                </a:cubicBezTo>
                <a:cubicBezTo>
                  <a:pt x="6769522" y="5329038"/>
                  <a:pt x="6760409" y="5338152"/>
                  <a:pt x="6760409" y="5349316"/>
                </a:cubicBezTo>
                <a:cubicBezTo>
                  <a:pt x="6760409" y="5360556"/>
                  <a:pt x="6769522" y="5369670"/>
                  <a:pt x="6780762" y="5369670"/>
                </a:cubicBezTo>
                <a:cubicBezTo>
                  <a:pt x="6792002" y="5369594"/>
                  <a:pt x="6801116" y="5360556"/>
                  <a:pt x="6801116" y="5349316"/>
                </a:cubicBezTo>
                <a:moveTo>
                  <a:pt x="6833089" y="5169094"/>
                </a:moveTo>
                <a:cubicBezTo>
                  <a:pt x="6833089" y="5156639"/>
                  <a:pt x="6822989" y="5146538"/>
                  <a:pt x="6810533" y="5146538"/>
                </a:cubicBezTo>
                <a:cubicBezTo>
                  <a:pt x="6798078" y="5146538"/>
                  <a:pt x="6787977" y="5156639"/>
                  <a:pt x="6787977" y="5169094"/>
                </a:cubicBezTo>
                <a:cubicBezTo>
                  <a:pt x="6787977" y="5181550"/>
                  <a:pt x="6798078" y="5191650"/>
                  <a:pt x="6810533" y="5191650"/>
                </a:cubicBezTo>
                <a:cubicBezTo>
                  <a:pt x="6822989" y="5191650"/>
                  <a:pt x="6833089" y="5181550"/>
                  <a:pt x="6833089" y="5169094"/>
                </a:cubicBezTo>
                <a:moveTo>
                  <a:pt x="6857621" y="4987733"/>
                </a:moveTo>
                <a:cubicBezTo>
                  <a:pt x="6857621" y="4973987"/>
                  <a:pt x="6846532" y="4962899"/>
                  <a:pt x="6832786" y="4962899"/>
                </a:cubicBezTo>
                <a:cubicBezTo>
                  <a:pt x="6819039" y="4962899"/>
                  <a:pt x="6807951" y="4973987"/>
                  <a:pt x="6807951" y="4987733"/>
                </a:cubicBezTo>
                <a:cubicBezTo>
                  <a:pt x="6807951" y="5001480"/>
                  <a:pt x="6819039" y="5012568"/>
                  <a:pt x="6832786" y="5012568"/>
                </a:cubicBezTo>
                <a:cubicBezTo>
                  <a:pt x="6846532" y="5012568"/>
                  <a:pt x="6857621" y="5001480"/>
                  <a:pt x="6857621" y="4987733"/>
                </a:cubicBezTo>
                <a:moveTo>
                  <a:pt x="6874785" y="4805688"/>
                </a:moveTo>
                <a:cubicBezTo>
                  <a:pt x="6874785" y="4790727"/>
                  <a:pt x="6862633" y="4778576"/>
                  <a:pt x="6847671" y="4778576"/>
                </a:cubicBezTo>
                <a:cubicBezTo>
                  <a:pt x="6832710" y="4778576"/>
                  <a:pt x="6820558" y="4790727"/>
                  <a:pt x="6820558" y="4805688"/>
                </a:cubicBezTo>
                <a:cubicBezTo>
                  <a:pt x="6820558" y="4820650"/>
                  <a:pt x="6832710" y="4832802"/>
                  <a:pt x="6847671" y="4832802"/>
                </a:cubicBezTo>
                <a:cubicBezTo>
                  <a:pt x="6862633" y="4832802"/>
                  <a:pt x="6874785" y="4820650"/>
                  <a:pt x="6874785" y="4805688"/>
                </a:cubicBezTo>
                <a:moveTo>
                  <a:pt x="6884506" y="4623188"/>
                </a:moveTo>
                <a:cubicBezTo>
                  <a:pt x="6884506" y="4607012"/>
                  <a:pt x="6871367" y="4593873"/>
                  <a:pt x="6855190" y="4593873"/>
                </a:cubicBezTo>
                <a:cubicBezTo>
                  <a:pt x="6838937" y="4593873"/>
                  <a:pt x="6825875" y="4607012"/>
                  <a:pt x="6825875" y="4623188"/>
                </a:cubicBezTo>
                <a:cubicBezTo>
                  <a:pt x="6825875" y="4639365"/>
                  <a:pt x="6839013" y="4652504"/>
                  <a:pt x="6855190" y="4652504"/>
                </a:cubicBezTo>
                <a:cubicBezTo>
                  <a:pt x="6871367" y="4652504"/>
                  <a:pt x="6884506" y="4639365"/>
                  <a:pt x="6884506" y="4623188"/>
                </a:cubicBezTo>
                <a:moveTo>
                  <a:pt x="6886708" y="4440536"/>
                </a:moveTo>
                <a:cubicBezTo>
                  <a:pt x="6886708" y="4423069"/>
                  <a:pt x="6872582" y="4408942"/>
                  <a:pt x="6855114" y="4408942"/>
                </a:cubicBezTo>
                <a:cubicBezTo>
                  <a:pt x="6837646" y="4408942"/>
                  <a:pt x="6823520" y="4423069"/>
                  <a:pt x="6823520" y="4440536"/>
                </a:cubicBezTo>
                <a:cubicBezTo>
                  <a:pt x="6823520" y="4458004"/>
                  <a:pt x="6837646" y="4472130"/>
                  <a:pt x="6855114" y="4472130"/>
                </a:cubicBezTo>
                <a:cubicBezTo>
                  <a:pt x="6872582" y="4472130"/>
                  <a:pt x="6886708" y="4458004"/>
                  <a:pt x="6886708" y="4440536"/>
                </a:cubicBezTo>
                <a:moveTo>
                  <a:pt x="6882075" y="4258036"/>
                </a:moveTo>
                <a:cubicBezTo>
                  <a:pt x="6882075" y="4239049"/>
                  <a:pt x="6866658" y="4223632"/>
                  <a:pt x="6847671" y="4223632"/>
                </a:cubicBezTo>
                <a:cubicBezTo>
                  <a:pt x="6828685" y="4223632"/>
                  <a:pt x="6813267" y="4239049"/>
                  <a:pt x="6813267" y="4258036"/>
                </a:cubicBezTo>
                <a:cubicBezTo>
                  <a:pt x="6813267" y="4277023"/>
                  <a:pt x="6828685" y="4292440"/>
                  <a:pt x="6847671" y="4292440"/>
                </a:cubicBezTo>
                <a:cubicBezTo>
                  <a:pt x="6866658" y="4292440"/>
                  <a:pt x="6882075" y="4277023"/>
                  <a:pt x="6882075" y="4258036"/>
                </a:cubicBezTo>
                <a:moveTo>
                  <a:pt x="6869468" y="4075915"/>
                </a:moveTo>
                <a:cubicBezTo>
                  <a:pt x="6869468" y="4055638"/>
                  <a:pt x="6853063" y="4039233"/>
                  <a:pt x="6832786" y="4039233"/>
                </a:cubicBezTo>
                <a:cubicBezTo>
                  <a:pt x="6812508" y="4039233"/>
                  <a:pt x="6796103" y="4055638"/>
                  <a:pt x="6796103" y="4075915"/>
                </a:cubicBezTo>
                <a:cubicBezTo>
                  <a:pt x="6796103" y="4096193"/>
                  <a:pt x="6812508" y="4112598"/>
                  <a:pt x="6832786" y="4112598"/>
                </a:cubicBezTo>
                <a:cubicBezTo>
                  <a:pt x="6853063" y="4112598"/>
                  <a:pt x="6869468" y="4096193"/>
                  <a:pt x="6869468" y="4075915"/>
                </a:cubicBezTo>
                <a:moveTo>
                  <a:pt x="6849418" y="3894630"/>
                </a:moveTo>
                <a:cubicBezTo>
                  <a:pt x="6849418" y="3873137"/>
                  <a:pt x="6831950" y="3855670"/>
                  <a:pt x="6810457" y="3855670"/>
                </a:cubicBezTo>
                <a:cubicBezTo>
                  <a:pt x="6788964" y="3855670"/>
                  <a:pt x="6771497" y="3873137"/>
                  <a:pt x="6771497" y="3894630"/>
                </a:cubicBezTo>
                <a:cubicBezTo>
                  <a:pt x="6771497" y="3916123"/>
                  <a:pt x="6788964" y="3933591"/>
                  <a:pt x="6810457" y="3933591"/>
                </a:cubicBezTo>
                <a:cubicBezTo>
                  <a:pt x="6832026" y="3933591"/>
                  <a:pt x="6849418" y="3916123"/>
                  <a:pt x="6849418" y="3894630"/>
                </a:cubicBezTo>
                <a:moveTo>
                  <a:pt x="6822001" y="3714408"/>
                </a:moveTo>
                <a:cubicBezTo>
                  <a:pt x="6822001" y="3691700"/>
                  <a:pt x="6803546" y="3673245"/>
                  <a:pt x="6780838" y="3673245"/>
                </a:cubicBezTo>
                <a:cubicBezTo>
                  <a:pt x="6758130" y="3673245"/>
                  <a:pt x="6739599" y="3691700"/>
                  <a:pt x="6739599" y="3714408"/>
                </a:cubicBezTo>
                <a:cubicBezTo>
                  <a:pt x="6739599" y="3737192"/>
                  <a:pt x="6758054" y="3755647"/>
                  <a:pt x="6780838" y="3755647"/>
                </a:cubicBezTo>
                <a:cubicBezTo>
                  <a:pt x="6803622" y="3755647"/>
                  <a:pt x="6822001" y="3737192"/>
                  <a:pt x="6822001" y="3714408"/>
                </a:cubicBezTo>
                <a:moveTo>
                  <a:pt x="6787294" y="3535554"/>
                </a:moveTo>
                <a:cubicBezTo>
                  <a:pt x="6787294" y="3511554"/>
                  <a:pt x="6767851" y="3492112"/>
                  <a:pt x="6743852" y="3492112"/>
                </a:cubicBezTo>
                <a:cubicBezTo>
                  <a:pt x="6719853" y="3492112"/>
                  <a:pt x="6700410" y="3511554"/>
                  <a:pt x="6700410" y="3535554"/>
                </a:cubicBezTo>
                <a:cubicBezTo>
                  <a:pt x="6700410" y="3559553"/>
                  <a:pt x="6719853" y="3578995"/>
                  <a:pt x="6743852" y="3578995"/>
                </a:cubicBezTo>
                <a:cubicBezTo>
                  <a:pt x="6767851" y="3578995"/>
                  <a:pt x="6787294" y="3559553"/>
                  <a:pt x="6787294" y="3535554"/>
                </a:cubicBezTo>
                <a:moveTo>
                  <a:pt x="6744688" y="3358294"/>
                </a:moveTo>
                <a:cubicBezTo>
                  <a:pt x="6744688" y="3333383"/>
                  <a:pt x="6724485" y="3313181"/>
                  <a:pt x="6699499" y="3313181"/>
                </a:cubicBezTo>
                <a:cubicBezTo>
                  <a:pt x="6674588" y="3313181"/>
                  <a:pt x="6654387" y="3333383"/>
                  <a:pt x="6654387" y="3358294"/>
                </a:cubicBezTo>
                <a:cubicBezTo>
                  <a:pt x="6654387" y="3383204"/>
                  <a:pt x="6674588" y="3403406"/>
                  <a:pt x="6699499" y="3403406"/>
                </a:cubicBezTo>
                <a:cubicBezTo>
                  <a:pt x="6724485" y="3403482"/>
                  <a:pt x="6744688" y="3383280"/>
                  <a:pt x="6744688" y="3358294"/>
                </a:cubicBezTo>
                <a:moveTo>
                  <a:pt x="6695474" y="3183084"/>
                </a:moveTo>
                <a:cubicBezTo>
                  <a:pt x="6695474" y="3156883"/>
                  <a:pt x="6674209" y="3135693"/>
                  <a:pt x="6648083" y="3135693"/>
                </a:cubicBezTo>
                <a:cubicBezTo>
                  <a:pt x="6621957" y="3135693"/>
                  <a:pt x="6600692" y="3156883"/>
                  <a:pt x="6600692" y="3183084"/>
                </a:cubicBezTo>
                <a:cubicBezTo>
                  <a:pt x="6600692" y="3209286"/>
                  <a:pt x="6621881" y="3230475"/>
                  <a:pt x="6648083" y="3230475"/>
                </a:cubicBezTo>
                <a:cubicBezTo>
                  <a:pt x="6674285" y="3230475"/>
                  <a:pt x="6695474" y="3209210"/>
                  <a:pt x="6695474" y="3183084"/>
                </a:cubicBezTo>
                <a:moveTo>
                  <a:pt x="6638590" y="3010001"/>
                </a:moveTo>
                <a:cubicBezTo>
                  <a:pt x="6638590" y="2982888"/>
                  <a:pt x="6616565" y="2960940"/>
                  <a:pt x="6589452" y="2960940"/>
                </a:cubicBezTo>
                <a:cubicBezTo>
                  <a:pt x="6562339" y="2960940"/>
                  <a:pt x="6540390" y="2982964"/>
                  <a:pt x="6540390" y="3010001"/>
                </a:cubicBezTo>
                <a:cubicBezTo>
                  <a:pt x="6540390" y="3037114"/>
                  <a:pt x="6562415" y="3059139"/>
                  <a:pt x="6589452" y="3059139"/>
                </a:cubicBezTo>
                <a:cubicBezTo>
                  <a:pt x="6616641" y="3059139"/>
                  <a:pt x="6638590" y="3037114"/>
                  <a:pt x="6638590" y="3010001"/>
                </a:cubicBezTo>
                <a:moveTo>
                  <a:pt x="6574719" y="2839501"/>
                </a:moveTo>
                <a:cubicBezTo>
                  <a:pt x="6574719" y="2811476"/>
                  <a:pt x="6552010" y="2788692"/>
                  <a:pt x="6523910" y="2788692"/>
                </a:cubicBezTo>
                <a:cubicBezTo>
                  <a:pt x="6495886" y="2788692"/>
                  <a:pt x="6473102" y="2811400"/>
                  <a:pt x="6473102" y="2839501"/>
                </a:cubicBezTo>
                <a:cubicBezTo>
                  <a:pt x="6473102" y="2867525"/>
                  <a:pt x="6495810" y="2890309"/>
                  <a:pt x="6523910" y="2890309"/>
                </a:cubicBezTo>
                <a:cubicBezTo>
                  <a:pt x="6552010" y="2890309"/>
                  <a:pt x="6574719" y="2867601"/>
                  <a:pt x="6574719" y="2839501"/>
                </a:cubicBezTo>
                <a:moveTo>
                  <a:pt x="6503936" y="2671886"/>
                </a:moveTo>
                <a:cubicBezTo>
                  <a:pt x="6503936" y="2642874"/>
                  <a:pt x="6480393" y="2619407"/>
                  <a:pt x="6451456" y="2619407"/>
                </a:cubicBezTo>
                <a:cubicBezTo>
                  <a:pt x="6422445" y="2619407"/>
                  <a:pt x="6398977" y="2642874"/>
                  <a:pt x="6398977" y="2671886"/>
                </a:cubicBezTo>
                <a:cubicBezTo>
                  <a:pt x="6398977" y="2700898"/>
                  <a:pt x="6422445" y="2724365"/>
                  <a:pt x="6451456" y="2724365"/>
                </a:cubicBezTo>
                <a:cubicBezTo>
                  <a:pt x="6480393" y="2724365"/>
                  <a:pt x="6503936" y="2700822"/>
                  <a:pt x="6503936" y="2671886"/>
                </a:cubicBezTo>
                <a:moveTo>
                  <a:pt x="6425787" y="2507309"/>
                </a:moveTo>
                <a:cubicBezTo>
                  <a:pt x="6425787" y="2477690"/>
                  <a:pt x="6401787" y="2453691"/>
                  <a:pt x="6372168" y="2453691"/>
                </a:cubicBezTo>
                <a:cubicBezTo>
                  <a:pt x="6342549" y="2453691"/>
                  <a:pt x="6318549" y="2477690"/>
                  <a:pt x="6318549" y="2507309"/>
                </a:cubicBezTo>
                <a:cubicBezTo>
                  <a:pt x="6318549" y="2536928"/>
                  <a:pt x="6342549" y="2560928"/>
                  <a:pt x="6372168" y="2560928"/>
                </a:cubicBezTo>
                <a:cubicBezTo>
                  <a:pt x="6401787" y="2560928"/>
                  <a:pt x="6425787" y="2536928"/>
                  <a:pt x="6425787" y="2507309"/>
                </a:cubicBezTo>
                <a:moveTo>
                  <a:pt x="6341562" y="2346074"/>
                </a:moveTo>
                <a:cubicBezTo>
                  <a:pt x="6341562" y="2315543"/>
                  <a:pt x="6316803" y="2290785"/>
                  <a:pt x="6286272" y="2290785"/>
                </a:cubicBezTo>
                <a:cubicBezTo>
                  <a:pt x="6255742" y="2290785"/>
                  <a:pt x="6230983" y="2315543"/>
                  <a:pt x="6230983" y="2346074"/>
                </a:cubicBezTo>
                <a:cubicBezTo>
                  <a:pt x="6230983" y="2376605"/>
                  <a:pt x="6255742" y="2401363"/>
                  <a:pt x="6286272" y="2401363"/>
                </a:cubicBezTo>
                <a:cubicBezTo>
                  <a:pt x="6316803" y="2401363"/>
                  <a:pt x="6341562" y="2376605"/>
                  <a:pt x="6341562" y="2346074"/>
                </a:cubicBezTo>
                <a:moveTo>
                  <a:pt x="6250349" y="2188484"/>
                </a:moveTo>
                <a:cubicBezTo>
                  <a:pt x="6250349" y="2157346"/>
                  <a:pt x="6225059" y="2132056"/>
                  <a:pt x="6193921" y="2132056"/>
                </a:cubicBezTo>
                <a:cubicBezTo>
                  <a:pt x="6162783" y="2132056"/>
                  <a:pt x="6137492" y="2157346"/>
                  <a:pt x="6137492" y="2188484"/>
                </a:cubicBezTo>
                <a:cubicBezTo>
                  <a:pt x="6137492" y="2219623"/>
                  <a:pt x="6162783" y="2244913"/>
                  <a:pt x="6193921" y="2244913"/>
                </a:cubicBezTo>
                <a:cubicBezTo>
                  <a:pt x="6225059" y="2244913"/>
                  <a:pt x="6250349" y="2219699"/>
                  <a:pt x="6250349" y="2188484"/>
                </a:cubicBezTo>
                <a:moveTo>
                  <a:pt x="6152150" y="2034844"/>
                </a:moveTo>
                <a:cubicBezTo>
                  <a:pt x="6152150" y="2003326"/>
                  <a:pt x="6126632" y="1977884"/>
                  <a:pt x="6095114" y="1977884"/>
                </a:cubicBezTo>
                <a:cubicBezTo>
                  <a:pt x="6063596" y="1977884"/>
                  <a:pt x="6038078" y="2003402"/>
                  <a:pt x="6038078" y="2034844"/>
                </a:cubicBezTo>
                <a:cubicBezTo>
                  <a:pt x="6038078" y="2066362"/>
                  <a:pt x="6063596" y="2091880"/>
                  <a:pt x="6095114" y="2091880"/>
                </a:cubicBezTo>
                <a:cubicBezTo>
                  <a:pt x="6126632" y="2091804"/>
                  <a:pt x="6152150" y="2066286"/>
                  <a:pt x="6152150" y="2034844"/>
                </a:cubicBezTo>
                <a:moveTo>
                  <a:pt x="6048331" y="1885305"/>
                </a:moveTo>
                <a:cubicBezTo>
                  <a:pt x="6048331" y="1853179"/>
                  <a:pt x="6022281" y="1827205"/>
                  <a:pt x="5990231" y="1827205"/>
                </a:cubicBezTo>
                <a:cubicBezTo>
                  <a:pt x="5958182" y="1827205"/>
                  <a:pt x="5932132" y="1853255"/>
                  <a:pt x="5932132" y="1885305"/>
                </a:cubicBezTo>
                <a:cubicBezTo>
                  <a:pt x="5932132" y="1917430"/>
                  <a:pt x="5958182" y="1943404"/>
                  <a:pt x="5990231" y="1943404"/>
                </a:cubicBezTo>
                <a:cubicBezTo>
                  <a:pt x="6022281" y="1943404"/>
                  <a:pt x="6048331" y="1917430"/>
                  <a:pt x="6048331" y="1885305"/>
                </a:cubicBezTo>
                <a:moveTo>
                  <a:pt x="5937904" y="1740246"/>
                </a:moveTo>
                <a:cubicBezTo>
                  <a:pt x="5937904" y="1707817"/>
                  <a:pt x="5911627" y="1681539"/>
                  <a:pt x="5879197" y="1681539"/>
                </a:cubicBezTo>
                <a:cubicBezTo>
                  <a:pt x="5846768" y="1681539"/>
                  <a:pt x="5820490" y="1707817"/>
                  <a:pt x="5820490" y="1740246"/>
                </a:cubicBezTo>
                <a:cubicBezTo>
                  <a:pt x="5820490" y="1772675"/>
                  <a:pt x="5846768" y="1798953"/>
                  <a:pt x="5879197" y="1798953"/>
                </a:cubicBezTo>
                <a:cubicBezTo>
                  <a:pt x="5911627" y="1798953"/>
                  <a:pt x="5937904" y="1772675"/>
                  <a:pt x="5937904" y="1740246"/>
                </a:cubicBezTo>
                <a:moveTo>
                  <a:pt x="5821705" y="1599744"/>
                </a:moveTo>
                <a:cubicBezTo>
                  <a:pt x="5821705" y="1567011"/>
                  <a:pt x="5795200" y="1540506"/>
                  <a:pt x="5762467" y="1540506"/>
                </a:cubicBezTo>
                <a:cubicBezTo>
                  <a:pt x="5729734" y="1540506"/>
                  <a:pt x="5703228" y="1567011"/>
                  <a:pt x="5703228" y="1599744"/>
                </a:cubicBezTo>
                <a:cubicBezTo>
                  <a:pt x="5703228" y="1632477"/>
                  <a:pt x="5729734" y="1658983"/>
                  <a:pt x="5762467" y="1658983"/>
                </a:cubicBezTo>
                <a:cubicBezTo>
                  <a:pt x="5795200" y="1658983"/>
                  <a:pt x="5821705" y="1632477"/>
                  <a:pt x="5821705" y="1599744"/>
                </a:cubicBezTo>
                <a:moveTo>
                  <a:pt x="5699279" y="1464179"/>
                </a:moveTo>
                <a:cubicBezTo>
                  <a:pt x="5699279" y="1431446"/>
                  <a:pt x="5672774" y="1404941"/>
                  <a:pt x="5640041" y="1404941"/>
                </a:cubicBezTo>
                <a:cubicBezTo>
                  <a:pt x="5607308" y="1404941"/>
                  <a:pt x="5580802" y="1431446"/>
                  <a:pt x="5580802" y="1464179"/>
                </a:cubicBezTo>
                <a:cubicBezTo>
                  <a:pt x="5580802" y="1496912"/>
                  <a:pt x="5607308" y="1523418"/>
                  <a:pt x="5640041" y="1523418"/>
                </a:cubicBezTo>
                <a:cubicBezTo>
                  <a:pt x="5672774" y="1523418"/>
                  <a:pt x="5699279" y="1496912"/>
                  <a:pt x="5699279" y="1464179"/>
                </a:cubicBezTo>
                <a:moveTo>
                  <a:pt x="5571460" y="1333703"/>
                </a:moveTo>
                <a:cubicBezTo>
                  <a:pt x="5571460" y="1300970"/>
                  <a:pt x="5544955" y="1274464"/>
                  <a:pt x="5512222" y="1274464"/>
                </a:cubicBezTo>
                <a:cubicBezTo>
                  <a:pt x="5479489" y="1274464"/>
                  <a:pt x="5452984" y="1300970"/>
                  <a:pt x="5452984" y="1333703"/>
                </a:cubicBezTo>
                <a:cubicBezTo>
                  <a:pt x="5452984" y="1366436"/>
                  <a:pt x="5479489" y="1392941"/>
                  <a:pt x="5512222" y="1392941"/>
                </a:cubicBezTo>
                <a:cubicBezTo>
                  <a:pt x="5544955" y="1392941"/>
                  <a:pt x="5571460" y="1366436"/>
                  <a:pt x="5571460" y="1333703"/>
                </a:cubicBezTo>
                <a:moveTo>
                  <a:pt x="5438402" y="1208542"/>
                </a:moveTo>
                <a:cubicBezTo>
                  <a:pt x="5438402" y="1175809"/>
                  <a:pt x="5411897" y="1149304"/>
                  <a:pt x="5379163" y="1149304"/>
                </a:cubicBezTo>
                <a:cubicBezTo>
                  <a:pt x="5346430" y="1149304"/>
                  <a:pt x="5319925" y="1175809"/>
                  <a:pt x="5319925" y="1208542"/>
                </a:cubicBezTo>
                <a:cubicBezTo>
                  <a:pt x="5319925" y="1241275"/>
                  <a:pt x="5346430" y="1267781"/>
                  <a:pt x="5379163" y="1267781"/>
                </a:cubicBezTo>
                <a:cubicBezTo>
                  <a:pt x="5411897" y="1267781"/>
                  <a:pt x="5438402" y="1241275"/>
                  <a:pt x="5438402" y="1208542"/>
                </a:cubicBezTo>
                <a:moveTo>
                  <a:pt x="5299799" y="1088926"/>
                </a:moveTo>
                <a:cubicBezTo>
                  <a:pt x="5299799" y="1056497"/>
                  <a:pt x="5273521" y="1030219"/>
                  <a:pt x="5241092" y="1030219"/>
                </a:cubicBezTo>
                <a:cubicBezTo>
                  <a:pt x="5208663" y="1030219"/>
                  <a:pt x="5182385" y="1056497"/>
                  <a:pt x="5182385" y="1088926"/>
                </a:cubicBezTo>
                <a:cubicBezTo>
                  <a:pt x="5182385" y="1121355"/>
                  <a:pt x="5208663" y="1147633"/>
                  <a:pt x="5241092" y="1147633"/>
                </a:cubicBezTo>
                <a:cubicBezTo>
                  <a:pt x="5273521" y="1147633"/>
                  <a:pt x="5299799" y="1121355"/>
                  <a:pt x="5299799" y="1088926"/>
                </a:cubicBezTo>
                <a:moveTo>
                  <a:pt x="5156411" y="975006"/>
                </a:moveTo>
                <a:cubicBezTo>
                  <a:pt x="5156411" y="942880"/>
                  <a:pt x="5130362" y="916906"/>
                  <a:pt x="5098312" y="916906"/>
                </a:cubicBezTo>
                <a:cubicBezTo>
                  <a:pt x="5066262" y="916906"/>
                  <a:pt x="5040213" y="942956"/>
                  <a:pt x="5040213" y="975006"/>
                </a:cubicBezTo>
                <a:cubicBezTo>
                  <a:pt x="5040213" y="1007131"/>
                  <a:pt x="5066262" y="1033105"/>
                  <a:pt x="5098312" y="1033105"/>
                </a:cubicBezTo>
                <a:cubicBezTo>
                  <a:pt x="5130362" y="1033105"/>
                  <a:pt x="5156411" y="1007131"/>
                  <a:pt x="5156411" y="975006"/>
                </a:cubicBezTo>
                <a:moveTo>
                  <a:pt x="5008466" y="867085"/>
                </a:moveTo>
                <a:cubicBezTo>
                  <a:pt x="5008466" y="835263"/>
                  <a:pt x="4982721" y="809517"/>
                  <a:pt x="4950899" y="809517"/>
                </a:cubicBezTo>
                <a:cubicBezTo>
                  <a:pt x="4919077" y="809517"/>
                  <a:pt x="4893331" y="835263"/>
                  <a:pt x="4893331" y="867085"/>
                </a:cubicBezTo>
                <a:cubicBezTo>
                  <a:pt x="4893331" y="898907"/>
                  <a:pt x="4919077" y="924653"/>
                  <a:pt x="4950899" y="924653"/>
                </a:cubicBezTo>
                <a:cubicBezTo>
                  <a:pt x="4982721" y="924653"/>
                  <a:pt x="5008466" y="898831"/>
                  <a:pt x="5008466" y="867085"/>
                </a:cubicBezTo>
                <a:moveTo>
                  <a:pt x="4856345" y="765164"/>
                </a:moveTo>
                <a:cubicBezTo>
                  <a:pt x="4856345" y="733722"/>
                  <a:pt x="4830827" y="708204"/>
                  <a:pt x="4799309" y="708204"/>
                </a:cubicBezTo>
                <a:cubicBezTo>
                  <a:pt x="4767791" y="708204"/>
                  <a:pt x="4742273" y="733722"/>
                  <a:pt x="4742273" y="765164"/>
                </a:cubicBezTo>
                <a:cubicBezTo>
                  <a:pt x="4742273" y="796682"/>
                  <a:pt x="4767791" y="822201"/>
                  <a:pt x="4799309" y="822201"/>
                </a:cubicBezTo>
                <a:cubicBezTo>
                  <a:pt x="4830827" y="822201"/>
                  <a:pt x="4856345" y="796682"/>
                  <a:pt x="4856345" y="765164"/>
                </a:cubicBezTo>
                <a:moveTo>
                  <a:pt x="4699515" y="669623"/>
                </a:moveTo>
                <a:cubicBezTo>
                  <a:pt x="4699515" y="638789"/>
                  <a:pt x="4674528" y="613726"/>
                  <a:pt x="4643618" y="613726"/>
                </a:cubicBezTo>
                <a:cubicBezTo>
                  <a:pt x="4612784" y="613726"/>
                  <a:pt x="4587721" y="638713"/>
                  <a:pt x="4587721" y="669623"/>
                </a:cubicBezTo>
                <a:cubicBezTo>
                  <a:pt x="4587721" y="700458"/>
                  <a:pt x="4612708" y="725520"/>
                  <a:pt x="4643618" y="725520"/>
                </a:cubicBezTo>
                <a:cubicBezTo>
                  <a:pt x="4674528" y="725444"/>
                  <a:pt x="4699515" y="700458"/>
                  <a:pt x="4699515" y="669623"/>
                </a:cubicBezTo>
                <a:moveTo>
                  <a:pt x="4538432" y="580386"/>
                </a:moveTo>
                <a:cubicBezTo>
                  <a:pt x="4538432" y="550463"/>
                  <a:pt x="4514205" y="526236"/>
                  <a:pt x="4484282" y="526236"/>
                </a:cubicBezTo>
                <a:cubicBezTo>
                  <a:pt x="4454359" y="526236"/>
                  <a:pt x="4430132" y="550539"/>
                  <a:pt x="4430132" y="580386"/>
                </a:cubicBezTo>
                <a:cubicBezTo>
                  <a:pt x="4430132" y="610309"/>
                  <a:pt x="4454359" y="634536"/>
                  <a:pt x="4484282" y="634536"/>
                </a:cubicBezTo>
                <a:cubicBezTo>
                  <a:pt x="4514205" y="634612"/>
                  <a:pt x="4538432" y="610309"/>
                  <a:pt x="4538432" y="580386"/>
                </a:cubicBezTo>
                <a:moveTo>
                  <a:pt x="4374386" y="497832"/>
                </a:moveTo>
                <a:cubicBezTo>
                  <a:pt x="4374386" y="468516"/>
                  <a:pt x="4350615" y="444821"/>
                  <a:pt x="4321300" y="444821"/>
                </a:cubicBezTo>
                <a:cubicBezTo>
                  <a:pt x="4291984" y="444821"/>
                  <a:pt x="4268213" y="468592"/>
                  <a:pt x="4268213" y="497832"/>
                </a:cubicBezTo>
                <a:cubicBezTo>
                  <a:pt x="4268213" y="527147"/>
                  <a:pt x="4291984" y="550842"/>
                  <a:pt x="4321300" y="550842"/>
                </a:cubicBezTo>
                <a:cubicBezTo>
                  <a:pt x="4350615" y="550842"/>
                  <a:pt x="4374386" y="527147"/>
                  <a:pt x="4374386" y="497832"/>
                </a:cubicBezTo>
                <a:moveTo>
                  <a:pt x="4206544" y="421961"/>
                </a:moveTo>
                <a:cubicBezTo>
                  <a:pt x="4206544" y="393633"/>
                  <a:pt x="4183532" y="370621"/>
                  <a:pt x="4155204" y="370621"/>
                </a:cubicBezTo>
                <a:cubicBezTo>
                  <a:pt x="4126876" y="370621"/>
                  <a:pt x="4103864" y="393633"/>
                  <a:pt x="4103864" y="421961"/>
                </a:cubicBezTo>
                <a:cubicBezTo>
                  <a:pt x="4103864" y="450365"/>
                  <a:pt x="4126876" y="473301"/>
                  <a:pt x="4155204" y="473301"/>
                </a:cubicBezTo>
                <a:cubicBezTo>
                  <a:pt x="4183532" y="473301"/>
                  <a:pt x="4206544" y="450289"/>
                  <a:pt x="4206544" y="421961"/>
                </a:cubicBezTo>
                <a:moveTo>
                  <a:pt x="4035740" y="352925"/>
                </a:moveTo>
                <a:cubicBezTo>
                  <a:pt x="4035740" y="325508"/>
                  <a:pt x="4013487" y="303256"/>
                  <a:pt x="3986070" y="303256"/>
                </a:cubicBezTo>
                <a:cubicBezTo>
                  <a:pt x="3958653" y="303256"/>
                  <a:pt x="3936401" y="325508"/>
                  <a:pt x="3936401" y="352925"/>
                </a:cubicBezTo>
                <a:cubicBezTo>
                  <a:pt x="3936401" y="380342"/>
                  <a:pt x="3958653" y="402594"/>
                  <a:pt x="3986070" y="402594"/>
                </a:cubicBezTo>
                <a:cubicBezTo>
                  <a:pt x="4013487" y="402594"/>
                  <a:pt x="4035740" y="380342"/>
                  <a:pt x="4035740" y="352925"/>
                </a:cubicBezTo>
                <a:moveTo>
                  <a:pt x="3862201" y="290800"/>
                </a:moveTo>
                <a:cubicBezTo>
                  <a:pt x="3862201" y="264295"/>
                  <a:pt x="3840708" y="242802"/>
                  <a:pt x="3814202" y="242802"/>
                </a:cubicBezTo>
                <a:cubicBezTo>
                  <a:pt x="3787697" y="242802"/>
                  <a:pt x="3766204" y="264295"/>
                  <a:pt x="3766204" y="290800"/>
                </a:cubicBezTo>
                <a:cubicBezTo>
                  <a:pt x="3766204" y="317306"/>
                  <a:pt x="3787697" y="338799"/>
                  <a:pt x="3814202" y="338799"/>
                </a:cubicBezTo>
                <a:cubicBezTo>
                  <a:pt x="3840708" y="338799"/>
                  <a:pt x="3862201" y="317306"/>
                  <a:pt x="3862201" y="290800"/>
                </a:cubicBezTo>
                <a:moveTo>
                  <a:pt x="3686308" y="235815"/>
                </a:moveTo>
                <a:cubicBezTo>
                  <a:pt x="3686308" y="210297"/>
                  <a:pt x="3665574" y="189563"/>
                  <a:pt x="3640056" y="189563"/>
                </a:cubicBezTo>
                <a:cubicBezTo>
                  <a:pt x="3614462" y="189563"/>
                  <a:pt x="3593805" y="210297"/>
                  <a:pt x="3593805" y="235815"/>
                </a:cubicBezTo>
                <a:cubicBezTo>
                  <a:pt x="3593805" y="261409"/>
                  <a:pt x="3614538" y="282067"/>
                  <a:pt x="3640056" y="282067"/>
                </a:cubicBezTo>
                <a:cubicBezTo>
                  <a:pt x="3665650" y="282067"/>
                  <a:pt x="3686308" y="261333"/>
                  <a:pt x="3686308" y="235815"/>
                </a:cubicBezTo>
                <a:moveTo>
                  <a:pt x="3508365" y="187892"/>
                </a:moveTo>
                <a:cubicBezTo>
                  <a:pt x="3508365" y="163286"/>
                  <a:pt x="3488391" y="143312"/>
                  <a:pt x="3463784" y="143312"/>
                </a:cubicBezTo>
                <a:cubicBezTo>
                  <a:pt x="3439177" y="143312"/>
                  <a:pt x="3419203" y="163286"/>
                  <a:pt x="3419203" y="187892"/>
                </a:cubicBezTo>
                <a:cubicBezTo>
                  <a:pt x="3419203" y="212499"/>
                  <a:pt x="3439177" y="232473"/>
                  <a:pt x="3463784" y="232473"/>
                </a:cubicBezTo>
                <a:cubicBezTo>
                  <a:pt x="3488391" y="232473"/>
                  <a:pt x="3508365" y="212499"/>
                  <a:pt x="3508365" y="187892"/>
                </a:cubicBezTo>
                <a:moveTo>
                  <a:pt x="3328067" y="147261"/>
                </a:moveTo>
                <a:cubicBezTo>
                  <a:pt x="3328067" y="123869"/>
                  <a:pt x="3309080" y="104959"/>
                  <a:pt x="3285764" y="104959"/>
                </a:cubicBezTo>
                <a:cubicBezTo>
                  <a:pt x="3262373" y="104959"/>
                  <a:pt x="3243462" y="123945"/>
                  <a:pt x="3243462" y="147261"/>
                </a:cubicBezTo>
                <a:cubicBezTo>
                  <a:pt x="3243462" y="170653"/>
                  <a:pt x="3262449" y="189563"/>
                  <a:pt x="3285764" y="189563"/>
                </a:cubicBezTo>
                <a:cubicBezTo>
                  <a:pt x="3309080" y="189563"/>
                  <a:pt x="3328067" y="170653"/>
                  <a:pt x="3328067" y="147261"/>
                </a:cubicBezTo>
                <a:moveTo>
                  <a:pt x="3146174" y="113920"/>
                </a:moveTo>
                <a:cubicBezTo>
                  <a:pt x="3146174" y="91820"/>
                  <a:pt x="3128251" y="73896"/>
                  <a:pt x="3106074" y="73896"/>
                </a:cubicBezTo>
                <a:cubicBezTo>
                  <a:pt x="3083974" y="73896"/>
                  <a:pt x="3065974" y="91820"/>
                  <a:pt x="3065974" y="113920"/>
                </a:cubicBezTo>
                <a:cubicBezTo>
                  <a:pt x="3065974" y="136021"/>
                  <a:pt x="3083898" y="154020"/>
                  <a:pt x="3106074" y="154020"/>
                </a:cubicBezTo>
                <a:cubicBezTo>
                  <a:pt x="3128251" y="154020"/>
                  <a:pt x="3146174" y="136021"/>
                  <a:pt x="3146174" y="113920"/>
                </a:cubicBezTo>
                <a:moveTo>
                  <a:pt x="2963142" y="87946"/>
                </a:moveTo>
                <a:cubicBezTo>
                  <a:pt x="2963142" y="67061"/>
                  <a:pt x="2946206" y="50125"/>
                  <a:pt x="2925321" y="50125"/>
                </a:cubicBezTo>
                <a:cubicBezTo>
                  <a:pt x="2904435" y="50125"/>
                  <a:pt x="2887499" y="67061"/>
                  <a:pt x="2887499" y="87946"/>
                </a:cubicBezTo>
                <a:cubicBezTo>
                  <a:pt x="2887499" y="108832"/>
                  <a:pt x="2904435" y="125768"/>
                  <a:pt x="2925321" y="125768"/>
                </a:cubicBezTo>
                <a:cubicBezTo>
                  <a:pt x="2946206" y="125768"/>
                  <a:pt x="2963142" y="108832"/>
                  <a:pt x="2963142" y="87946"/>
                </a:cubicBezTo>
                <a:moveTo>
                  <a:pt x="2779123" y="69339"/>
                </a:moveTo>
                <a:cubicBezTo>
                  <a:pt x="2779123" y="49745"/>
                  <a:pt x="2763174" y="33796"/>
                  <a:pt x="2743580" y="33796"/>
                </a:cubicBezTo>
                <a:cubicBezTo>
                  <a:pt x="2723910" y="33796"/>
                  <a:pt x="2708037" y="49745"/>
                  <a:pt x="2708037" y="69339"/>
                </a:cubicBezTo>
                <a:cubicBezTo>
                  <a:pt x="2708037" y="89010"/>
                  <a:pt x="2723910" y="104883"/>
                  <a:pt x="2743580" y="104883"/>
                </a:cubicBezTo>
                <a:cubicBezTo>
                  <a:pt x="2763250" y="104883"/>
                  <a:pt x="2779123" y="88934"/>
                  <a:pt x="2779123" y="69339"/>
                </a:cubicBezTo>
                <a:moveTo>
                  <a:pt x="2593964" y="58175"/>
                </a:moveTo>
                <a:cubicBezTo>
                  <a:pt x="2593964" y="40100"/>
                  <a:pt x="2579307" y="25442"/>
                  <a:pt x="2561231" y="25442"/>
                </a:cubicBezTo>
                <a:cubicBezTo>
                  <a:pt x="2543156" y="25442"/>
                  <a:pt x="2528498" y="40100"/>
                  <a:pt x="2528498" y="58175"/>
                </a:cubicBezTo>
                <a:cubicBezTo>
                  <a:pt x="2528498" y="76251"/>
                  <a:pt x="2543156" y="90908"/>
                  <a:pt x="2561231" y="90908"/>
                </a:cubicBezTo>
                <a:cubicBezTo>
                  <a:pt x="2579307" y="90908"/>
                  <a:pt x="2593964" y="76251"/>
                  <a:pt x="2593964" y="58175"/>
                </a:cubicBezTo>
                <a:moveTo>
                  <a:pt x="2409110" y="54454"/>
                </a:moveTo>
                <a:cubicBezTo>
                  <a:pt x="2409110" y="37594"/>
                  <a:pt x="2395440" y="23999"/>
                  <a:pt x="2378655" y="23999"/>
                </a:cubicBezTo>
                <a:cubicBezTo>
                  <a:pt x="2361795" y="23999"/>
                  <a:pt x="2348201" y="37670"/>
                  <a:pt x="2348201" y="54454"/>
                </a:cubicBezTo>
                <a:cubicBezTo>
                  <a:pt x="2348201" y="71314"/>
                  <a:pt x="2361871" y="84909"/>
                  <a:pt x="2378655" y="84909"/>
                </a:cubicBezTo>
                <a:cubicBezTo>
                  <a:pt x="2395440" y="84909"/>
                  <a:pt x="2409110" y="71238"/>
                  <a:pt x="2409110" y="54454"/>
                </a:cubicBezTo>
                <a:moveTo>
                  <a:pt x="2224255" y="58175"/>
                </a:moveTo>
                <a:cubicBezTo>
                  <a:pt x="2224255" y="42606"/>
                  <a:pt x="2211648" y="29923"/>
                  <a:pt x="2196003" y="29923"/>
                </a:cubicBezTo>
                <a:cubicBezTo>
                  <a:pt x="2180434" y="29923"/>
                  <a:pt x="2167751" y="42530"/>
                  <a:pt x="2167751" y="58175"/>
                </a:cubicBezTo>
                <a:cubicBezTo>
                  <a:pt x="2167751" y="73744"/>
                  <a:pt x="2180358" y="86428"/>
                  <a:pt x="2196003" y="86428"/>
                </a:cubicBezTo>
                <a:cubicBezTo>
                  <a:pt x="2211572" y="86352"/>
                  <a:pt x="2224255" y="73744"/>
                  <a:pt x="2224255" y="58175"/>
                </a:cubicBezTo>
                <a:moveTo>
                  <a:pt x="2039628" y="69339"/>
                </a:moveTo>
                <a:cubicBezTo>
                  <a:pt x="2039628" y="54986"/>
                  <a:pt x="2028009" y="43366"/>
                  <a:pt x="2013655" y="43366"/>
                </a:cubicBezTo>
                <a:cubicBezTo>
                  <a:pt x="1999301" y="43366"/>
                  <a:pt x="1987681" y="54986"/>
                  <a:pt x="1987681" y="69339"/>
                </a:cubicBezTo>
                <a:cubicBezTo>
                  <a:pt x="1987681" y="83693"/>
                  <a:pt x="1999301" y="95313"/>
                  <a:pt x="2013655" y="95313"/>
                </a:cubicBezTo>
                <a:cubicBezTo>
                  <a:pt x="2028009" y="95313"/>
                  <a:pt x="2039628" y="83693"/>
                  <a:pt x="2039628" y="69339"/>
                </a:cubicBezTo>
                <a:moveTo>
                  <a:pt x="1855685" y="87946"/>
                </a:moveTo>
                <a:cubicBezTo>
                  <a:pt x="1855685" y="74884"/>
                  <a:pt x="1845053" y="64251"/>
                  <a:pt x="1831990" y="64251"/>
                </a:cubicBezTo>
                <a:cubicBezTo>
                  <a:pt x="1818927" y="64251"/>
                  <a:pt x="1808294" y="74884"/>
                  <a:pt x="1808294" y="87946"/>
                </a:cubicBezTo>
                <a:cubicBezTo>
                  <a:pt x="1808294" y="101009"/>
                  <a:pt x="1818927" y="111642"/>
                  <a:pt x="1831990" y="111642"/>
                </a:cubicBezTo>
                <a:cubicBezTo>
                  <a:pt x="1845053" y="111642"/>
                  <a:pt x="1855685" y="101009"/>
                  <a:pt x="1855685" y="87946"/>
                </a:cubicBezTo>
                <a:moveTo>
                  <a:pt x="1672577" y="113920"/>
                </a:moveTo>
                <a:cubicBezTo>
                  <a:pt x="1672577" y="102073"/>
                  <a:pt x="1663008" y="92503"/>
                  <a:pt x="1651160" y="92503"/>
                </a:cubicBezTo>
                <a:cubicBezTo>
                  <a:pt x="1639313" y="92503"/>
                  <a:pt x="1629743" y="102073"/>
                  <a:pt x="1629743" y="113920"/>
                </a:cubicBezTo>
                <a:cubicBezTo>
                  <a:pt x="1629743" y="125768"/>
                  <a:pt x="1639313" y="135337"/>
                  <a:pt x="1651160" y="135337"/>
                </a:cubicBezTo>
                <a:cubicBezTo>
                  <a:pt x="1663008" y="135337"/>
                  <a:pt x="1672577" y="125768"/>
                  <a:pt x="1672577" y="113920"/>
                </a:cubicBezTo>
                <a:moveTo>
                  <a:pt x="1490761" y="147261"/>
                </a:moveTo>
                <a:cubicBezTo>
                  <a:pt x="1490761" y="136628"/>
                  <a:pt x="1482179" y="128046"/>
                  <a:pt x="1471546" y="128046"/>
                </a:cubicBezTo>
                <a:cubicBezTo>
                  <a:pt x="1460914" y="128046"/>
                  <a:pt x="1452332" y="136628"/>
                  <a:pt x="1452332" y="147261"/>
                </a:cubicBezTo>
                <a:cubicBezTo>
                  <a:pt x="1452332" y="157893"/>
                  <a:pt x="1460914" y="166475"/>
                  <a:pt x="1471546" y="166475"/>
                </a:cubicBezTo>
                <a:cubicBezTo>
                  <a:pt x="1482179" y="166475"/>
                  <a:pt x="1490761" y="157893"/>
                  <a:pt x="1490761" y="147261"/>
                </a:cubicBezTo>
                <a:moveTo>
                  <a:pt x="1310387" y="187892"/>
                </a:moveTo>
                <a:cubicBezTo>
                  <a:pt x="1310387" y="178551"/>
                  <a:pt x="1302792" y="170956"/>
                  <a:pt x="1293451" y="170956"/>
                </a:cubicBezTo>
                <a:cubicBezTo>
                  <a:pt x="1284109" y="170956"/>
                  <a:pt x="1276515" y="178551"/>
                  <a:pt x="1276515" y="187892"/>
                </a:cubicBezTo>
                <a:cubicBezTo>
                  <a:pt x="1276515" y="197234"/>
                  <a:pt x="1284109" y="204829"/>
                  <a:pt x="1293451" y="204829"/>
                </a:cubicBezTo>
                <a:cubicBezTo>
                  <a:pt x="1302792" y="204829"/>
                  <a:pt x="1310387" y="197234"/>
                  <a:pt x="1310387" y="187892"/>
                </a:cubicBezTo>
                <a:moveTo>
                  <a:pt x="1132443" y="235815"/>
                </a:moveTo>
                <a:cubicBezTo>
                  <a:pt x="1132443" y="227385"/>
                  <a:pt x="1125608" y="220550"/>
                  <a:pt x="1117178" y="220550"/>
                </a:cubicBezTo>
                <a:cubicBezTo>
                  <a:pt x="1108748" y="220550"/>
                  <a:pt x="1101913" y="227385"/>
                  <a:pt x="1101913" y="235815"/>
                </a:cubicBezTo>
                <a:cubicBezTo>
                  <a:pt x="1101913" y="244245"/>
                  <a:pt x="1108748" y="251080"/>
                  <a:pt x="1117178" y="251080"/>
                </a:cubicBezTo>
                <a:cubicBezTo>
                  <a:pt x="1125608" y="251004"/>
                  <a:pt x="1132443" y="244169"/>
                  <a:pt x="1132443" y="235815"/>
                </a:cubicBezTo>
                <a:moveTo>
                  <a:pt x="956019" y="290800"/>
                </a:moveTo>
                <a:cubicBezTo>
                  <a:pt x="956019" y="283661"/>
                  <a:pt x="950171" y="277814"/>
                  <a:pt x="943032" y="277814"/>
                </a:cubicBezTo>
                <a:cubicBezTo>
                  <a:pt x="935893" y="277814"/>
                  <a:pt x="930045" y="283661"/>
                  <a:pt x="930045" y="290800"/>
                </a:cubicBezTo>
                <a:cubicBezTo>
                  <a:pt x="930045" y="297939"/>
                  <a:pt x="935893" y="303787"/>
                  <a:pt x="943032" y="303787"/>
                </a:cubicBezTo>
                <a:cubicBezTo>
                  <a:pt x="950171" y="303787"/>
                  <a:pt x="956019" y="298015"/>
                  <a:pt x="956019" y="290800"/>
                </a:cubicBezTo>
                <a:moveTo>
                  <a:pt x="782480" y="352925"/>
                </a:moveTo>
                <a:cubicBezTo>
                  <a:pt x="782480" y="346697"/>
                  <a:pt x="777392" y="341609"/>
                  <a:pt x="771164" y="341609"/>
                </a:cubicBezTo>
                <a:cubicBezTo>
                  <a:pt x="764937" y="341609"/>
                  <a:pt x="759848" y="346697"/>
                  <a:pt x="759848" y="352925"/>
                </a:cubicBezTo>
                <a:cubicBezTo>
                  <a:pt x="759848" y="359153"/>
                  <a:pt x="764861" y="364241"/>
                  <a:pt x="771164" y="364241"/>
                </a:cubicBezTo>
                <a:cubicBezTo>
                  <a:pt x="777468" y="364165"/>
                  <a:pt x="782480" y="359153"/>
                  <a:pt x="782480" y="352925"/>
                </a:cubicBezTo>
                <a:moveTo>
                  <a:pt x="611676" y="421961"/>
                </a:moveTo>
                <a:cubicBezTo>
                  <a:pt x="611676" y="416644"/>
                  <a:pt x="607347" y="412391"/>
                  <a:pt x="602107" y="412391"/>
                </a:cubicBezTo>
                <a:cubicBezTo>
                  <a:pt x="596790" y="412391"/>
                  <a:pt x="592537" y="416720"/>
                  <a:pt x="592537" y="421961"/>
                </a:cubicBezTo>
                <a:cubicBezTo>
                  <a:pt x="592537" y="427277"/>
                  <a:pt x="596790" y="431530"/>
                  <a:pt x="602107" y="431530"/>
                </a:cubicBezTo>
                <a:cubicBezTo>
                  <a:pt x="607423" y="431530"/>
                  <a:pt x="611676" y="427277"/>
                  <a:pt x="611676" y="421961"/>
                </a:cubicBezTo>
                <a:moveTo>
                  <a:pt x="443833" y="497832"/>
                </a:moveTo>
                <a:cubicBezTo>
                  <a:pt x="443833" y="493503"/>
                  <a:pt x="440264" y="489933"/>
                  <a:pt x="435935" y="489933"/>
                </a:cubicBezTo>
                <a:cubicBezTo>
                  <a:pt x="431606" y="489933"/>
                  <a:pt x="428036" y="493503"/>
                  <a:pt x="428036" y="497832"/>
                </a:cubicBezTo>
                <a:cubicBezTo>
                  <a:pt x="428036" y="502161"/>
                  <a:pt x="431606" y="505730"/>
                  <a:pt x="435935" y="505730"/>
                </a:cubicBezTo>
                <a:cubicBezTo>
                  <a:pt x="440340" y="505730"/>
                  <a:pt x="443833" y="502161"/>
                  <a:pt x="443833" y="497832"/>
                </a:cubicBezTo>
                <a:moveTo>
                  <a:pt x="279257" y="580386"/>
                </a:moveTo>
                <a:cubicBezTo>
                  <a:pt x="279257" y="576968"/>
                  <a:pt x="276447" y="574158"/>
                  <a:pt x="273029" y="574158"/>
                </a:cubicBezTo>
                <a:cubicBezTo>
                  <a:pt x="269611" y="574158"/>
                  <a:pt x="266801" y="576968"/>
                  <a:pt x="266801" y="580386"/>
                </a:cubicBezTo>
                <a:cubicBezTo>
                  <a:pt x="266801" y="583803"/>
                  <a:pt x="269611" y="586613"/>
                  <a:pt x="273029" y="586613"/>
                </a:cubicBezTo>
                <a:cubicBezTo>
                  <a:pt x="276447" y="586613"/>
                  <a:pt x="279257" y="583879"/>
                  <a:pt x="279257" y="580386"/>
                </a:cubicBezTo>
                <a:moveTo>
                  <a:pt x="118705" y="669623"/>
                </a:moveTo>
                <a:cubicBezTo>
                  <a:pt x="118705" y="666813"/>
                  <a:pt x="116427" y="664535"/>
                  <a:pt x="113616" y="664535"/>
                </a:cubicBezTo>
                <a:cubicBezTo>
                  <a:pt x="110806" y="664535"/>
                  <a:pt x="108528" y="666813"/>
                  <a:pt x="108528" y="669623"/>
                </a:cubicBezTo>
                <a:cubicBezTo>
                  <a:pt x="108528" y="672433"/>
                  <a:pt x="110806" y="674712"/>
                  <a:pt x="113616" y="674712"/>
                </a:cubicBezTo>
                <a:cubicBezTo>
                  <a:pt x="116427" y="674712"/>
                  <a:pt x="118705" y="672433"/>
                  <a:pt x="118705" y="669623"/>
                </a:cubicBezTo>
                <a:moveTo>
                  <a:pt x="6453204" y="6845925"/>
                </a:moveTo>
                <a:cubicBezTo>
                  <a:pt x="6453204" y="6842811"/>
                  <a:pt x="6450697" y="6840305"/>
                  <a:pt x="6447584" y="6840305"/>
                </a:cubicBezTo>
                <a:cubicBezTo>
                  <a:pt x="6444469" y="6840305"/>
                  <a:pt x="6441963" y="6842811"/>
                  <a:pt x="6441963" y="6845925"/>
                </a:cubicBezTo>
                <a:cubicBezTo>
                  <a:pt x="6441963" y="6849039"/>
                  <a:pt x="6444469" y="6851545"/>
                  <a:pt x="6447584" y="6851545"/>
                </a:cubicBezTo>
                <a:cubicBezTo>
                  <a:pt x="6450697" y="6851545"/>
                  <a:pt x="6453204" y="6849039"/>
                  <a:pt x="6453204" y="6845925"/>
                </a:cubicBezTo>
                <a:moveTo>
                  <a:pt x="6542137" y="6685373"/>
                </a:moveTo>
                <a:cubicBezTo>
                  <a:pt x="6542137" y="6681348"/>
                  <a:pt x="6538871" y="6678006"/>
                  <a:pt x="6534770" y="6678006"/>
                </a:cubicBezTo>
                <a:cubicBezTo>
                  <a:pt x="6530669" y="6678006"/>
                  <a:pt x="6527403" y="6681272"/>
                  <a:pt x="6527403" y="6685373"/>
                </a:cubicBezTo>
                <a:cubicBezTo>
                  <a:pt x="6527403" y="6689398"/>
                  <a:pt x="6530669" y="6692740"/>
                  <a:pt x="6534770" y="6692740"/>
                </a:cubicBezTo>
                <a:cubicBezTo>
                  <a:pt x="6538871" y="6692740"/>
                  <a:pt x="6542137" y="6689474"/>
                  <a:pt x="6542137" y="6685373"/>
                </a:cubicBezTo>
                <a:moveTo>
                  <a:pt x="6624084" y="6521631"/>
                </a:moveTo>
                <a:cubicBezTo>
                  <a:pt x="6624084" y="6516999"/>
                  <a:pt x="6620287" y="6513202"/>
                  <a:pt x="6615654" y="6513202"/>
                </a:cubicBezTo>
                <a:cubicBezTo>
                  <a:pt x="6611021" y="6513202"/>
                  <a:pt x="6607224" y="6516999"/>
                  <a:pt x="6607224" y="6521631"/>
                </a:cubicBezTo>
                <a:cubicBezTo>
                  <a:pt x="6607224" y="6526340"/>
                  <a:pt x="6611021" y="6530062"/>
                  <a:pt x="6615654" y="6530062"/>
                </a:cubicBezTo>
                <a:cubicBezTo>
                  <a:pt x="6620287" y="6530062"/>
                  <a:pt x="6624084" y="6526265"/>
                  <a:pt x="6624084" y="6521631"/>
                </a:cubicBezTo>
                <a:moveTo>
                  <a:pt x="6700790" y="6354776"/>
                </a:moveTo>
                <a:cubicBezTo>
                  <a:pt x="6700790" y="6348852"/>
                  <a:pt x="6696005" y="6344068"/>
                  <a:pt x="6690082" y="6344068"/>
                </a:cubicBezTo>
                <a:cubicBezTo>
                  <a:pt x="6684158" y="6344068"/>
                  <a:pt x="6679373" y="6348852"/>
                  <a:pt x="6679373" y="6354776"/>
                </a:cubicBezTo>
                <a:cubicBezTo>
                  <a:pt x="6679373" y="6360700"/>
                  <a:pt x="6684158" y="6365485"/>
                  <a:pt x="6690082" y="6365485"/>
                </a:cubicBezTo>
                <a:cubicBezTo>
                  <a:pt x="6695929" y="6365485"/>
                  <a:pt x="6700790" y="6360700"/>
                  <a:pt x="6700790" y="6354776"/>
                </a:cubicBezTo>
                <a:moveTo>
                  <a:pt x="6770282" y="6185187"/>
                </a:moveTo>
                <a:cubicBezTo>
                  <a:pt x="6770282" y="6178352"/>
                  <a:pt x="6764737" y="6172732"/>
                  <a:pt x="6757826" y="6172732"/>
                </a:cubicBezTo>
                <a:cubicBezTo>
                  <a:pt x="6750991" y="6172732"/>
                  <a:pt x="6745371" y="6178276"/>
                  <a:pt x="6745371" y="6185187"/>
                </a:cubicBezTo>
                <a:cubicBezTo>
                  <a:pt x="6745371" y="6192098"/>
                  <a:pt x="6750915" y="6197642"/>
                  <a:pt x="6757826" y="6197642"/>
                </a:cubicBezTo>
                <a:cubicBezTo>
                  <a:pt x="6764737" y="6197566"/>
                  <a:pt x="6770282" y="6192022"/>
                  <a:pt x="6770282" y="6185187"/>
                </a:cubicBezTo>
                <a:moveTo>
                  <a:pt x="6833697" y="6013092"/>
                </a:moveTo>
                <a:cubicBezTo>
                  <a:pt x="6833697" y="6004965"/>
                  <a:pt x="6827090" y="5998434"/>
                  <a:pt x="6819039" y="5998434"/>
                </a:cubicBezTo>
                <a:cubicBezTo>
                  <a:pt x="6810913" y="5998434"/>
                  <a:pt x="6804382" y="6004965"/>
                  <a:pt x="6804382" y="6013092"/>
                </a:cubicBezTo>
                <a:cubicBezTo>
                  <a:pt x="6804382" y="6021218"/>
                  <a:pt x="6810913" y="6027749"/>
                  <a:pt x="6819039" y="6027749"/>
                </a:cubicBezTo>
                <a:cubicBezTo>
                  <a:pt x="6827166" y="6027749"/>
                  <a:pt x="6833697" y="6021142"/>
                  <a:pt x="6833697" y="6013092"/>
                </a:cubicBezTo>
                <a:moveTo>
                  <a:pt x="6889822" y="5838718"/>
                </a:moveTo>
                <a:cubicBezTo>
                  <a:pt x="6889822" y="5829680"/>
                  <a:pt x="6882455" y="5822313"/>
                  <a:pt x="6873418" y="5822313"/>
                </a:cubicBezTo>
                <a:cubicBezTo>
                  <a:pt x="6864380" y="5822313"/>
                  <a:pt x="6857013" y="5829680"/>
                  <a:pt x="6857013" y="5838718"/>
                </a:cubicBezTo>
                <a:cubicBezTo>
                  <a:pt x="6857013" y="5847755"/>
                  <a:pt x="6864304" y="5855046"/>
                  <a:pt x="6873418" y="5855046"/>
                </a:cubicBezTo>
                <a:cubicBezTo>
                  <a:pt x="6882531" y="5855046"/>
                  <a:pt x="6889822" y="5847679"/>
                  <a:pt x="6889822" y="5838718"/>
                </a:cubicBezTo>
                <a:moveTo>
                  <a:pt x="6901214" y="3264195"/>
                </a:moveTo>
                <a:cubicBezTo>
                  <a:pt x="6900151" y="3264119"/>
                  <a:pt x="6899163" y="3263892"/>
                  <a:pt x="6898100" y="3263892"/>
                </a:cubicBezTo>
                <a:cubicBezTo>
                  <a:pt x="6870987" y="3263892"/>
                  <a:pt x="6849038" y="3285840"/>
                  <a:pt x="6849038" y="3312953"/>
                </a:cubicBezTo>
                <a:cubicBezTo>
                  <a:pt x="6849038" y="3340066"/>
                  <a:pt x="6871063" y="3362015"/>
                  <a:pt x="6898100" y="3362015"/>
                </a:cubicBezTo>
                <a:cubicBezTo>
                  <a:pt x="6899163" y="3362015"/>
                  <a:pt x="6900151" y="3361787"/>
                  <a:pt x="6901214" y="3361711"/>
                </a:cubicBezTo>
                <a:lnTo>
                  <a:pt x="6901214" y="3264195"/>
                </a:lnTo>
                <a:close/>
                <a:moveTo>
                  <a:pt x="6897872" y="3137592"/>
                </a:moveTo>
                <a:cubicBezTo>
                  <a:pt x="6897872" y="3109568"/>
                  <a:pt x="6875164" y="3086784"/>
                  <a:pt x="6847064" y="3086784"/>
                </a:cubicBezTo>
                <a:cubicBezTo>
                  <a:pt x="6819039" y="3086784"/>
                  <a:pt x="6796255" y="3109492"/>
                  <a:pt x="6796255" y="3137592"/>
                </a:cubicBezTo>
                <a:cubicBezTo>
                  <a:pt x="6796255" y="3165616"/>
                  <a:pt x="6818963" y="3188400"/>
                  <a:pt x="6847064" y="3188400"/>
                </a:cubicBezTo>
                <a:cubicBezTo>
                  <a:pt x="6875164" y="3188400"/>
                  <a:pt x="6897872" y="3165616"/>
                  <a:pt x="6897872" y="3137592"/>
                </a:cubicBezTo>
                <a:moveTo>
                  <a:pt x="6842355" y="2964281"/>
                </a:moveTo>
                <a:cubicBezTo>
                  <a:pt x="6842355" y="2934966"/>
                  <a:pt x="6818584" y="2911270"/>
                  <a:pt x="6789344" y="2911270"/>
                </a:cubicBezTo>
                <a:cubicBezTo>
                  <a:pt x="6760029" y="2911270"/>
                  <a:pt x="6736257" y="2935042"/>
                  <a:pt x="6736257" y="2964281"/>
                </a:cubicBezTo>
                <a:cubicBezTo>
                  <a:pt x="6736257" y="2993597"/>
                  <a:pt x="6760029" y="3017368"/>
                  <a:pt x="6789344" y="3017368"/>
                </a:cubicBezTo>
                <a:cubicBezTo>
                  <a:pt x="6818584" y="3017368"/>
                  <a:pt x="6842355" y="2993597"/>
                  <a:pt x="6842355" y="2964281"/>
                </a:cubicBezTo>
                <a:moveTo>
                  <a:pt x="6779547" y="2793401"/>
                </a:moveTo>
                <a:cubicBezTo>
                  <a:pt x="6779547" y="2763174"/>
                  <a:pt x="6755016" y="2738643"/>
                  <a:pt x="6724790" y="2738643"/>
                </a:cubicBezTo>
                <a:cubicBezTo>
                  <a:pt x="6694562" y="2738643"/>
                  <a:pt x="6670032" y="2763174"/>
                  <a:pt x="6670032" y="2793401"/>
                </a:cubicBezTo>
                <a:cubicBezTo>
                  <a:pt x="6670032" y="2823628"/>
                  <a:pt x="6694562" y="2848159"/>
                  <a:pt x="6724790" y="2848159"/>
                </a:cubicBezTo>
                <a:cubicBezTo>
                  <a:pt x="6755016" y="2848159"/>
                  <a:pt x="6779547" y="2823628"/>
                  <a:pt x="6779547" y="2793401"/>
                </a:cubicBezTo>
                <a:moveTo>
                  <a:pt x="6710056" y="2625179"/>
                </a:moveTo>
                <a:cubicBezTo>
                  <a:pt x="6710056" y="2594041"/>
                  <a:pt x="6684765" y="2568750"/>
                  <a:pt x="6653627" y="2568750"/>
                </a:cubicBezTo>
                <a:cubicBezTo>
                  <a:pt x="6622489" y="2568750"/>
                  <a:pt x="6597198" y="2594041"/>
                  <a:pt x="6597198" y="2625179"/>
                </a:cubicBezTo>
                <a:cubicBezTo>
                  <a:pt x="6597198" y="2656317"/>
                  <a:pt x="6622489" y="2681607"/>
                  <a:pt x="6653627" y="2681607"/>
                </a:cubicBezTo>
                <a:cubicBezTo>
                  <a:pt x="6684841" y="2681607"/>
                  <a:pt x="6710056" y="2656317"/>
                  <a:pt x="6710056" y="2625179"/>
                </a:cubicBezTo>
                <a:moveTo>
                  <a:pt x="6634109" y="2459842"/>
                </a:moveTo>
                <a:cubicBezTo>
                  <a:pt x="6634109" y="2427717"/>
                  <a:pt x="6608059" y="2401743"/>
                  <a:pt x="6576009" y="2401743"/>
                </a:cubicBezTo>
                <a:cubicBezTo>
                  <a:pt x="6543884" y="2401743"/>
                  <a:pt x="6517834" y="2427793"/>
                  <a:pt x="6517834" y="2459842"/>
                </a:cubicBezTo>
                <a:cubicBezTo>
                  <a:pt x="6517834" y="2491968"/>
                  <a:pt x="6543884" y="2517942"/>
                  <a:pt x="6576009" y="2517942"/>
                </a:cubicBezTo>
                <a:cubicBezTo>
                  <a:pt x="6608135" y="2517942"/>
                  <a:pt x="6634109" y="2491892"/>
                  <a:pt x="6634109" y="2459842"/>
                </a:cubicBezTo>
                <a:moveTo>
                  <a:pt x="6551782" y="2297620"/>
                </a:moveTo>
                <a:cubicBezTo>
                  <a:pt x="6551782" y="2264583"/>
                  <a:pt x="6524973" y="2237774"/>
                  <a:pt x="6491936" y="2237774"/>
                </a:cubicBezTo>
                <a:cubicBezTo>
                  <a:pt x="6458900" y="2237774"/>
                  <a:pt x="6432090" y="2264583"/>
                  <a:pt x="6432090" y="2297620"/>
                </a:cubicBezTo>
                <a:cubicBezTo>
                  <a:pt x="6432090" y="2330657"/>
                  <a:pt x="6458900" y="2357466"/>
                  <a:pt x="6491936" y="2357466"/>
                </a:cubicBezTo>
                <a:cubicBezTo>
                  <a:pt x="6524973" y="2357466"/>
                  <a:pt x="6551782" y="2330657"/>
                  <a:pt x="6551782" y="2297620"/>
                </a:cubicBezTo>
                <a:moveTo>
                  <a:pt x="6462621" y="2138815"/>
                </a:moveTo>
                <a:cubicBezTo>
                  <a:pt x="6462621" y="2105171"/>
                  <a:pt x="6435356" y="2077906"/>
                  <a:pt x="6401635" y="2077906"/>
                </a:cubicBezTo>
                <a:cubicBezTo>
                  <a:pt x="6367991" y="2077906"/>
                  <a:pt x="6340650" y="2105171"/>
                  <a:pt x="6340650" y="2138815"/>
                </a:cubicBezTo>
                <a:cubicBezTo>
                  <a:pt x="6340650" y="2172460"/>
                  <a:pt x="6367915" y="2199801"/>
                  <a:pt x="6401635" y="2199801"/>
                </a:cubicBezTo>
                <a:cubicBezTo>
                  <a:pt x="6435356" y="2199801"/>
                  <a:pt x="6462621" y="2172536"/>
                  <a:pt x="6462621" y="2138815"/>
                </a:cubicBezTo>
                <a:moveTo>
                  <a:pt x="6367308" y="1983732"/>
                </a:moveTo>
                <a:cubicBezTo>
                  <a:pt x="6367308" y="1949479"/>
                  <a:pt x="6339511" y="1921683"/>
                  <a:pt x="6305183" y="1921683"/>
                </a:cubicBezTo>
                <a:cubicBezTo>
                  <a:pt x="6270931" y="1921683"/>
                  <a:pt x="6243134" y="1949479"/>
                  <a:pt x="6243134" y="1983732"/>
                </a:cubicBezTo>
                <a:cubicBezTo>
                  <a:pt x="6243134" y="2018059"/>
                  <a:pt x="6270931" y="2045780"/>
                  <a:pt x="6305183" y="2045780"/>
                </a:cubicBezTo>
                <a:cubicBezTo>
                  <a:pt x="6339511" y="2045780"/>
                  <a:pt x="6367308" y="2017984"/>
                  <a:pt x="6367308" y="1983732"/>
                </a:cubicBezTo>
                <a:moveTo>
                  <a:pt x="6266070" y="1832445"/>
                </a:moveTo>
                <a:cubicBezTo>
                  <a:pt x="6266070" y="1797510"/>
                  <a:pt x="6237742" y="1769258"/>
                  <a:pt x="6202883" y="1769258"/>
                </a:cubicBezTo>
                <a:cubicBezTo>
                  <a:pt x="6167947" y="1769258"/>
                  <a:pt x="6139695" y="1797510"/>
                  <a:pt x="6139695" y="1832445"/>
                </a:cubicBezTo>
                <a:cubicBezTo>
                  <a:pt x="6139695" y="1867381"/>
                  <a:pt x="6168023" y="1895633"/>
                  <a:pt x="6202883" y="1895633"/>
                </a:cubicBezTo>
                <a:cubicBezTo>
                  <a:pt x="6237742" y="1895633"/>
                  <a:pt x="6266070" y="1867381"/>
                  <a:pt x="6266070" y="1832445"/>
                </a:cubicBezTo>
                <a:moveTo>
                  <a:pt x="6158378" y="1685260"/>
                </a:moveTo>
                <a:cubicBezTo>
                  <a:pt x="6158378" y="1650021"/>
                  <a:pt x="6129822" y="1621465"/>
                  <a:pt x="6094582" y="1621465"/>
                </a:cubicBezTo>
                <a:cubicBezTo>
                  <a:pt x="6059343" y="1621465"/>
                  <a:pt x="6030787" y="1650021"/>
                  <a:pt x="6030787" y="1685260"/>
                </a:cubicBezTo>
                <a:cubicBezTo>
                  <a:pt x="6030787" y="1720500"/>
                  <a:pt x="6059343" y="1749056"/>
                  <a:pt x="6094582" y="1749056"/>
                </a:cubicBezTo>
                <a:cubicBezTo>
                  <a:pt x="6129822" y="1749056"/>
                  <a:pt x="6158378" y="1720500"/>
                  <a:pt x="6158378" y="1685260"/>
                </a:cubicBezTo>
                <a:moveTo>
                  <a:pt x="6045065" y="1542481"/>
                </a:moveTo>
                <a:cubicBezTo>
                  <a:pt x="6045065" y="1506937"/>
                  <a:pt x="6016281" y="1478154"/>
                  <a:pt x="5980738" y="1478154"/>
                </a:cubicBezTo>
                <a:cubicBezTo>
                  <a:pt x="5945195" y="1478154"/>
                  <a:pt x="5916411" y="1506937"/>
                  <a:pt x="5916411" y="1542481"/>
                </a:cubicBezTo>
                <a:cubicBezTo>
                  <a:pt x="5916411" y="1578024"/>
                  <a:pt x="5945195" y="1606807"/>
                  <a:pt x="5980738" y="1606807"/>
                </a:cubicBezTo>
                <a:cubicBezTo>
                  <a:pt x="6016205" y="1606807"/>
                  <a:pt x="6045065" y="1578024"/>
                  <a:pt x="6045065" y="1542481"/>
                </a:cubicBezTo>
                <a:moveTo>
                  <a:pt x="5925677" y="1404181"/>
                </a:moveTo>
                <a:cubicBezTo>
                  <a:pt x="5925677" y="1368638"/>
                  <a:pt x="5896893" y="1339854"/>
                  <a:pt x="5861350" y="1339854"/>
                </a:cubicBezTo>
                <a:cubicBezTo>
                  <a:pt x="5825807" y="1339854"/>
                  <a:pt x="5797023" y="1368638"/>
                  <a:pt x="5797023" y="1404181"/>
                </a:cubicBezTo>
                <a:cubicBezTo>
                  <a:pt x="5797023" y="1439724"/>
                  <a:pt x="5825807" y="1468508"/>
                  <a:pt x="5861350" y="1468508"/>
                </a:cubicBezTo>
                <a:cubicBezTo>
                  <a:pt x="5896893" y="1468584"/>
                  <a:pt x="5925677" y="1439724"/>
                  <a:pt x="5925677" y="1404181"/>
                </a:cubicBezTo>
                <a:moveTo>
                  <a:pt x="5801580" y="1270743"/>
                </a:moveTo>
                <a:cubicBezTo>
                  <a:pt x="5801580" y="1234896"/>
                  <a:pt x="5772492" y="1205808"/>
                  <a:pt x="5736645" y="1205808"/>
                </a:cubicBezTo>
                <a:cubicBezTo>
                  <a:pt x="5700798" y="1205808"/>
                  <a:pt x="5671710" y="1234896"/>
                  <a:pt x="5671710" y="1270743"/>
                </a:cubicBezTo>
                <a:cubicBezTo>
                  <a:pt x="5671710" y="1306590"/>
                  <a:pt x="5700798" y="1335677"/>
                  <a:pt x="5736645" y="1335677"/>
                </a:cubicBezTo>
                <a:cubicBezTo>
                  <a:pt x="5772492" y="1335601"/>
                  <a:pt x="5801580" y="1306590"/>
                  <a:pt x="5801580" y="1270743"/>
                </a:cubicBezTo>
                <a:moveTo>
                  <a:pt x="5671786" y="1142165"/>
                </a:moveTo>
                <a:cubicBezTo>
                  <a:pt x="5671786" y="1106318"/>
                  <a:pt x="5642699" y="1077230"/>
                  <a:pt x="5606852" y="1077230"/>
                </a:cubicBezTo>
                <a:cubicBezTo>
                  <a:pt x="5571005" y="1077230"/>
                  <a:pt x="5541917" y="1106318"/>
                  <a:pt x="5541917" y="1142165"/>
                </a:cubicBezTo>
                <a:cubicBezTo>
                  <a:pt x="5541917" y="1178012"/>
                  <a:pt x="5571005" y="1207099"/>
                  <a:pt x="5606852" y="1207099"/>
                </a:cubicBezTo>
                <a:cubicBezTo>
                  <a:pt x="5642699" y="1207099"/>
                  <a:pt x="5671786" y="1178012"/>
                  <a:pt x="5671786" y="1142165"/>
                </a:cubicBezTo>
                <a:moveTo>
                  <a:pt x="5536449" y="1018827"/>
                </a:moveTo>
                <a:cubicBezTo>
                  <a:pt x="5536449" y="983284"/>
                  <a:pt x="5507665" y="954500"/>
                  <a:pt x="5472122" y="954500"/>
                </a:cubicBezTo>
                <a:cubicBezTo>
                  <a:pt x="5436579" y="954500"/>
                  <a:pt x="5407795" y="983284"/>
                  <a:pt x="5407795" y="1018827"/>
                </a:cubicBezTo>
                <a:cubicBezTo>
                  <a:pt x="5407795" y="1054370"/>
                  <a:pt x="5436579" y="1083154"/>
                  <a:pt x="5472122" y="1083154"/>
                </a:cubicBezTo>
                <a:cubicBezTo>
                  <a:pt x="5507665" y="1083154"/>
                  <a:pt x="5536449" y="1054370"/>
                  <a:pt x="5536449" y="1018827"/>
                </a:cubicBezTo>
                <a:moveTo>
                  <a:pt x="5397087" y="900806"/>
                </a:moveTo>
                <a:cubicBezTo>
                  <a:pt x="5397087" y="865262"/>
                  <a:pt x="5368303" y="836479"/>
                  <a:pt x="5332760" y="836479"/>
                </a:cubicBezTo>
                <a:cubicBezTo>
                  <a:pt x="5297217" y="836479"/>
                  <a:pt x="5268433" y="865262"/>
                  <a:pt x="5268433" y="900806"/>
                </a:cubicBezTo>
                <a:cubicBezTo>
                  <a:pt x="5268433" y="936349"/>
                  <a:pt x="5297217" y="965133"/>
                  <a:pt x="5332760" y="965133"/>
                </a:cubicBezTo>
                <a:cubicBezTo>
                  <a:pt x="5368227" y="965133"/>
                  <a:pt x="5397087" y="936349"/>
                  <a:pt x="5397087" y="900806"/>
                </a:cubicBezTo>
                <a:moveTo>
                  <a:pt x="5252560" y="788328"/>
                </a:moveTo>
                <a:cubicBezTo>
                  <a:pt x="5252560" y="753089"/>
                  <a:pt x="5224004" y="724533"/>
                  <a:pt x="5188765" y="724533"/>
                </a:cubicBezTo>
                <a:cubicBezTo>
                  <a:pt x="5153525" y="724533"/>
                  <a:pt x="5124969" y="753089"/>
                  <a:pt x="5124969" y="788328"/>
                </a:cubicBezTo>
                <a:cubicBezTo>
                  <a:pt x="5124969" y="823568"/>
                  <a:pt x="5153525" y="852124"/>
                  <a:pt x="5188765" y="852124"/>
                </a:cubicBezTo>
                <a:cubicBezTo>
                  <a:pt x="5224004" y="852048"/>
                  <a:pt x="5252560" y="823492"/>
                  <a:pt x="5252560" y="788328"/>
                </a:cubicBezTo>
                <a:moveTo>
                  <a:pt x="5103248" y="681471"/>
                </a:moveTo>
                <a:cubicBezTo>
                  <a:pt x="5103248" y="646839"/>
                  <a:pt x="5075224" y="618815"/>
                  <a:pt x="5040592" y="618815"/>
                </a:cubicBezTo>
                <a:cubicBezTo>
                  <a:pt x="5005961" y="618815"/>
                  <a:pt x="4977936" y="646839"/>
                  <a:pt x="4977936" y="681471"/>
                </a:cubicBezTo>
                <a:cubicBezTo>
                  <a:pt x="4977936" y="716103"/>
                  <a:pt x="5005961" y="744127"/>
                  <a:pt x="5040592" y="744127"/>
                </a:cubicBezTo>
                <a:cubicBezTo>
                  <a:pt x="5075224" y="744127"/>
                  <a:pt x="5103248" y="716103"/>
                  <a:pt x="5103248" y="681471"/>
                </a:cubicBezTo>
                <a:moveTo>
                  <a:pt x="4949836" y="580614"/>
                </a:moveTo>
                <a:cubicBezTo>
                  <a:pt x="4949836" y="546665"/>
                  <a:pt x="4922267" y="519097"/>
                  <a:pt x="4888319" y="519097"/>
                </a:cubicBezTo>
                <a:cubicBezTo>
                  <a:pt x="4854370" y="519097"/>
                  <a:pt x="4826802" y="546665"/>
                  <a:pt x="4826802" y="580614"/>
                </a:cubicBezTo>
                <a:cubicBezTo>
                  <a:pt x="4826802" y="614562"/>
                  <a:pt x="4854370" y="642131"/>
                  <a:pt x="4888319" y="642131"/>
                </a:cubicBezTo>
                <a:cubicBezTo>
                  <a:pt x="4922343" y="642131"/>
                  <a:pt x="4949836" y="614562"/>
                  <a:pt x="4949836" y="580614"/>
                </a:cubicBezTo>
                <a:moveTo>
                  <a:pt x="4792702" y="485680"/>
                </a:moveTo>
                <a:cubicBezTo>
                  <a:pt x="4792702" y="452339"/>
                  <a:pt x="4765665" y="425302"/>
                  <a:pt x="4732324" y="425302"/>
                </a:cubicBezTo>
                <a:cubicBezTo>
                  <a:pt x="4698983" y="425302"/>
                  <a:pt x="4671946" y="452339"/>
                  <a:pt x="4671946" y="485680"/>
                </a:cubicBezTo>
                <a:cubicBezTo>
                  <a:pt x="4671946" y="519021"/>
                  <a:pt x="4698983" y="546058"/>
                  <a:pt x="4732324" y="546058"/>
                </a:cubicBezTo>
                <a:cubicBezTo>
                  <a:pt x="4765665" y="546058"/>
                  <a:pt x="4792702" y="519021"/>
                  <a:pt x="4792702" y="485680"/>
                </a:cubicBezTo>
                <a:moveTo>
                  <a:pt x="4631846" y="396898"/>
                </a:moveTo>
                <a:cubicBezTo>
                  <a:pt x="4631846" y="364165"/>
                  <a:pt x="4605341" y="337660"/>
                  <a:pt x="4572608" y="337660"/>
                </a:cubicBezTo>
                <a:cubicBezTo>
                  <a:pt x="4539875" y="337660"/>
                  <a:pt x="4513369" y="364165"/>
                  <a:pt x="4513369" y="396898"/>
                </a:cubicBezTo>
                <a:cubicBezTo>
                  <a:pt x="4513369" y="429631"/>
                  <a:pt x="4539875" y="456137"/>
                  <a:pt x="4572608" y="456137"/>
                </a:cubicBezTo>
                <a:cubicBezTo>
                  <a:pt x="4605341" y="456137"/>
                  <a:pt x="4631846" y="429631"/>
                  <a:pt x="4631846" y="396898"/>
                </a:cubicBezTo>
                <a:moveTo>
                  <a:pt x="4467194" y="314496"/>
                </a:moveTo>
                <a:cubicBezTo>
                  <a:pt x="4467194" y="282674"/>
                  <a:pt x="4441448" y="256928"/>
                  <a:pt x="4409626" y="256928"/>
                </a:cubicBezTo>
                <a:cubicBezTo>
                  <a:pt x="4377804" y="256928"/>
                  <a:pt x="4352058" y="282674"/>
                  <a:pt x="4352058" y="314496"/>
                </a:cubicBezTo>
                <a:cubicBezTo>
                  <a:pt x="4352058" y="346318"/>
                  <a:pt x="4377804" y="372064"/>
                  <a:pt x="4409626" y="372064"/>
                </a:cubicBezTo>
                <a:cubicBezTo>
                  <a:pt x="4441448" y="372064"/>
                  <a:pt x="4467194" y="346242"/>
                  <a:pt x="4467194" y="314496"/>
                </a:cubicBezTo>
                <a:moveTo>
                  <a:pt x="4299959" y="238397"/>
                </a:moveTo>
                <a:cubicBezTo>
                  <a:pt x="4299959" y="207259"/>
                  <a:pt x="4274668" y="181969"/>
                  <a:pt x="4243530" y="181969"/>
                </a:cubicBezTo>
                <a:cubicBezTo>
                  <a:pt x="4212392" y="181969"/>
                  <a:pt x="4187102" y="207259"/>
                  <a:pt x="4187102" y="238397"/>
                </a:cubicBezTo>
                <a:cubicBezTo>
                  <a:pt x="4187102" y="269535"/>
                  <a:pt x="4212392" y="294826"/>
                  <a:pt x="4243530" y="294826"/>
                </a:cubicBezTo>
                <a:cubicBezTo>
                  <a:pt x="4274668" y="294902"/>
                  <a:pt x="4299959" y="269611"/>
                  <a:pt x="4299959" y="238397"/>
                </a:cubicBezTo>
                <a:moveTo>
                  <a:pt x="4129306" y="168906"/>
                </a:moveTo>
                <a:cubicBezTo>
                  <a:pt x="4129306" y="138679"/>
                  <a:pt x="4104775" y="114148"/>
                  <a:pt x="4074548" y="114148"/>
                </a:cubicBezTo>
                <a:cubicBezTo>
                  <a:pt x="4044322" y="114148"/>
                  <a:pt x="4019790" y="138679"/>
                  <a:pt x="4019790" y="168906"/>
                </a:cubicBezTo>
                <a:cubicBezTo>
                  <a:pt x="4019790" y="199133"/>
                  <a:pt x="4044322" y="223663"/>
                  <a:pt x="4074548" y="223663"/>
                </a:cubicBezTo>
                <a:cubicBezTo>
                  <a:pt x="4104851" y="223663"/>
                  <a:pt x="4129306" y="199209"/>
                  <a:pt x="4129306" y="168906"/>
                </a:cubicBezTo>
                <a:moveTo>
                  <a:pt x="3955540" y="106098"/>
                </a:moveTo>
                <a:cubicBezTo>
                  <a:pt x="3955540" y="77086"/>
                  <a:pt x="3932072" y="53618"/>
                  <a:pt x="3903060" y="53618"/>
                </a:cubicBezTo>
                <a:cubicBezTo>
                  <a:pt x="3874049" y="53618"/>
                  <a:pt x="3850581" y="77086"/>
                  <a:pt x="3850581" y="106098"/>
                </a:cubicBezTo>
                <a:cubicBezTo>
                  <a:pt x="3850581" y="135109"/>
                  <a:pt x="3874049" y="158577"/>
                  <a:pt x="3903060" y="158577"/>
                </a:cubicBezTo>
                <a:cubicBezTo>
                  <a:pt x="3932072" y="158577"/>
                  <a:pt x="3955540" y="135109"/>
                  <a:pt x="3955540" y="106098"/>
                </a:cubicBezTo>
                <a:moveTo>
                  <a:pt x="3726560" y="0"/>
                </a:moveTo>
                <a:cubicBezTo>
                  <a:pt x="3700054" y="1443"/>
                  <a:pt x="3679017" y="23164"/>
                  <a:pt x="3679017" y="49973"/>
                </a:cubicBezTo>
                <a:cubicBezTo>
                  <a:pt x="3679017" y="77694"/>
                  <a:pt x="3701497" y="100174"/>
                  <a:pt x="3729218" y="100174"/>
                </a:cubicBezTo>
                <a:cubicBezTo>
                  <a:pt x="3756938" y="100174"/>
                  <a:pt x="3779419" y="77694"/>
                  <a:pt x="3779419" y="49973"/>
                </a:cubicBezTo>
                <a:cubicBezTo>
                  <a:pt x="3779419" y="23164"/>
                  <a:pt x="3758305" y="1443"/>
                  <a:pt x="3731876" y="0"/>
                </a:cubicBezTo>
                <a:lnTo>
                  <a:pt x="3726560" y="0"/>
                </a:lnTo>
                <a:close/>
                <a:moveTo>
                  <a:pt x="3504871" y="0"/>
                </a:moveTo>
                <a:cubicBezTo>
                  <a:pt x="3504871" y="228"/>
                  <a:pt x="3504795" y="456"/>
                  <a:pt x="3504795" y="684"/>
                </a:cubicBezTo>
                <a:cubicBezTo>
                  <a:pt x="3504795" y="27493"/>
                  <a:pt x="3526516" y="49214"/>
                  <a:pt x="3553325" y="49214"/>
                </a:cubicBezTo>
                <a:cubicBezTo>
                  <a:pt x="3580134" y="49214"/>
                  <a:pt x="3601855" y="27493"/>
                  <a:pt x="3601855" y="684"/>
                </a:cubicBezTo>
                <a:cubicBezTo>
                  <a:pt x="3601855" y="456"/>
                  <a:pt x="3601779" y="228"/>
                  <a:pt x="3601779" y="0"/>
                </a:cubicBezTo>
                <a:lnTo>
                  <a:pt x="3504871" y="0"/>
                </a:lnTo>
                <a:close/>
                <a:moveTo>
                  <a:pt x="1043813" y="49973"/>
                </a:moveTo>
                <a:cubicBezTo>
                  <a:pt x="1043813" y="41239"/>
                  <a:pt x="1036750" y="34176"/>
                  <a:pt x="1028016" y="34176"/>
                </a:cubicBezTo>
                <a:cubicBezTo>
                  <a:pt x="1019283" y="34176"/>
                  <a:pt x="1012220" y="41239"/>
                  <a:pt x="1012220" y="49973"/>
                </a:cubicBezTo>
                <a:cubicBezTo>
                  <a:pt x="1012220" y="58707"/>
                  <a:pt x="1019283" y="65770"/>
                  <a:pt x="1028016" y="65770"/>
                </a:cubicBezTo>
                <a:cubicBezTo>
                  <a:pt x="1036750" y="65770"/>
                  <a:pt x="1043813" y="58707"/>
                  <a:pt x="1043813" y="49973"/>
                </a:cubicBezTo>
                <a:moveTo>
                  <a:pt x="868300" y="106098"/>
                </a:moveTo>
                <a:cubicBezTo>
                  <a:pt x="868300" y="98351"/>
                  <a:pt x="861997" y="91972"/>
                  <a:pt x="854174" y="91972"/>
                </a:cubicBezTo>
                <a:cubicBezTo>
                  <a:pt x="846352" y="91972"/>
                  <a:pt x="840048" y="98275"/>
                  <a:pt x="840048" y="106098"/>
                </a:cubicBezTo>
                <a:cubicBezTo>
                  <a:pt x="840048" y="113920"/>
                  <a:pt x="846352" y="120224"/>
                  <a:pt x="854174" y="120224"/>
                </a:cubicBezTo>
                <a:cubicBezTo>
                  <a:pt x="861997" y="120224"/>
                  <a:pt x="868300" y="113844"/>
                  <a:pt x="868300" y="106098"/>
                </a:cubicBezTo>
                <a:moveTo>
                  <a:pt x="694534" y="168906"/>
                </a:moveTo>
                <a:cubicBezTo>
                  <a:pt x="694534" y="162374"/>
                  <a:pt x="689218" y="157058"/>
                  <a:pt x="682686" y="157058"/>
                </a:cubicBezTo>
                <a:cubicBezTo>
                  <a:pt x="676155" y="157058"/>
                  <a:pt x="670839" y="162374"/>
                  <a:pt x="670839" y="168906"/>
                </a:cubicBezTo>
                <a:cubicBezTo>
                  <a:pt x="670839" y="175437"/>
                  <a:pt x="676155" y="180754"/>
                  <a:pt x="682686" y="180754"/>
                </a:cubicBezTo>
                <a:cubicBezTo>
                  <a:pt x="689218" y="180829"/>
                  <a:pt x="694534" y="175513"/>
                  <a:pt x="694534" y="168906"/>
                </a:cubicBezTo>
                <a:moveTo>
                  <a:pt x="523881" y="238397"/>
                </a:moveTo>
                <a:cubicBezTo>
                  <a:pt x="523881" y="232777"/>
                  <a:pt x="519325" y="228220"/>
                  <a:pt x="513704" y="228220"/>
                </a:cubicBezTo>
                <a:cubicBezTo>
                  <a:pt x="508084" y="228220"/>
                  <a:pt x="503528" y="232777"/>
                  <a:pt x="503528" y="238397"/>
                </a:cubicBezTo>
                <a:cubicBezTo>
                  <a:pt x="503528" y="244017"/>
                  <a:pt x="508084" y="248574"/>
                  <a:pt x="513704" y="248574"/>
                </a:cubicBezTo>
                <a:cubicBezTo>
                  <a:pt x="519325" y="248574"/>
                  <a:pt x="523881" y="244017"/>
                  <a:pt x="523881" y="238397"/>
                </a:cubicBezTo>
                <a:moveTo>
                  <a:pt x="356115" y="314496"/>
                </a:moveTo>
                <a:cubicBezTo>
                  <a:pt x="356115" y="309863"/>
                  <a:pt x="352317" y="306066"/>
                  <a:pt x="347609" y="306066"/>
                </a:cubicBezTo>
                <a:cubicBezTo>
                  <a:pt x="342976" y="306066"/>
                  <a:pt x="339179" y="309863"/>
                  <a:pt x="339179" y="314496"/>
                </a:cubicBezTo>
                <a:cubicBezTo>
                  <a:pt x="339179" y="319205"/>
                  <a:pt x="342976" y="323002"/>
                  <a:pt x="347609" y="323002"/>
                </a:cubicBezTo>
                <a:cubicBezTo>
                  <a:pt x="352317" y="322926"/>
                  <a:pt x="356115" y="319129"/>
                  <a:pt x="356115" y="314496"/>
                </a:cubicBezTo>
                <a:moveTo>
                  <a:pt x="191386" y="396898"/>
                </a:moveTo>
                <a:cubicBezTo>
                  <a:pt x="191386" y="393177"/>
                  <a:pt x="188348" y="390139"/>
                  <a:pt x="184627" y="390139"/>
                </a:cubicBezTo>
                <a:cubicBezTo>
                  <a:pt x="180905" y="390139"/>
                  <a:pt x="177868" y="393177"/>
                  <a:pt x="177868" y="396898"/>
                </a:cubicBezTo>
                <a:cubicBezTo>
                  <a:pt x="177868" y="400620"/>
                  <a:pt x="180905" y="403657"/>
                  <a:pt x="184627" y="403657"/>
                </a:cubicBezTo>
                <a:cubicBezTo>
                  <a:pt x="188348" y="403657"/>
                  <a:pt x="191386" y="400620"/>
                  <a:pt x="191386" y="396898"/>
                </a:cubicBezTo>
                <a:moveTo>
                  <a:pt x="30607" y="485680"/>
                </a:moveTo>
                <a:cubicBezTo>
                  <a:pt x="30607" y="482566"/>
                  <a:pt x="28100" y="480060"/>
                  <a:pt x="24987" y="480060"/>
                </a:cubicBezTo>
                <a:cubicBezTo>
                  <a:pt x="21873" y="480060"/>
                  <a:pt x="19366" y="482566"/>
                  <a:pt x="19366" y="485680"/>
                </a:cubicBezTo>
                <a:cubicBezTo>
                  <a:pt x="19366" y="488794"/>
                  <a:pt x="21873" y="491300"/>
                  <a:pt x="24987" y="491300"/>
                </a:cubicBezTo>
                <a:cubicBezTo>
                  <a:pt x="28100" y="491300"/>
                  <a:pt x="30607" y="488794"/>
                  <a:pt x="30607" y="485680"/>
                </a:cubicBezTo>
                <a:moveTo>
                  <a:pt x="6704436" y="6814255"/>
                </a:moveTo>
                <a:cubicBezTo>
                  <a:pt x="6704436" y="6810229"/>
                  <a:pt x="6701170" y="6806888"/>
                  <a:pt x="6697069" y="6806888"/>
                </a:cubicBezTo>
                <a:cubicBezTo>
                  <a:pt x="6693044" y="6806888"/>
                  <a:pt x="6689702" y="6810154"/>
                  <a:pt x="6689702" y="6814255"/>
                </a:cubicBezTo>
                <a:cubicBezTo>
                  <a:pt x="6689702" y="6818280"/>
                  <a:pt x="6692968" y="6821622"/>
                  <a:pt x="6697069" y="6821622"/>
                </a:cubicBezTo>
                <a:cubicBezTo>
                  <a:pt x="6701094" y="6821546"/>
                  <a:pt x="6704436" y="6818280"/>
                  <a:pt x="6704436" y="6814255"/>
                </a:cubicBezTo>
                <a:moveTo>
                  <a:pt x="6788433" y="6651121"/>
                </a:moveTo>
                <a:cubicBezTo>
                  <a:pt x="6788433" y="6646108"/>
                  <a:pt x="6784408" y="6642084"/>
                  <a:pt x="6779395" y="6642084"/>
                </a:cubicBezTo>
                <a:cubicBezTo>
                  <a:pt x="6774383" y="6642084"/>
                  <a:pt x="6770358" y="6646108"/>
                  <a:pt x="6770358" y="6651121"/>
                </a:cubicBezTo>
                <a:cubicBezTo>
                  <a:pt x="6770358" y="6656134"/>
                  <a:pt x="6774383" y="6660159"/>
                  <a:pt x="6779395" y="6660159"/>
                </a:cubicBezTo>
                <a:cubicBezTo>
                  <a:pt x="6784408" y="6660159"/>
                  <a:pt x="6788433" y="6656134"/>
                  <a:pt x="6788433" y="6651121"/>
                </a:cubicBezTo>
                <a:moveTo>
                  <a:pt x="6866279" y="6485101"/>
                </a:moveTo>
                <a:cubicBezTo>
                  <a:pt x="6866279" y="6479177"/>
                  <a:pt x="6861494" y="6474393"/>
                  <a:pt x="6855570" y="6474393"/>
                </a:cubicBezTo>
                <a:cubicBezTo>
                  <a:pt x="6849646" y="6474393"/>
                  <a:pt x="6844861" y="6479177"/>
                  <a:pt x="6844861" y="6485101"/>
                </a:cubicBezTo>
                <a:cubicBezTo>
                  <a:pt x="6844861" y="6491025"/>
                  <a:pt x="6849646" y="6495810"/>
                  <a:pt x="6855570" y="6495810"/>
                </a:cubicBezTo>
                <a:cubicBezTo>
                  <a:pt x="6861494" y="6495810"/>
                  <a:pt x="6866279" y="6491025"/>
                  <a:pt x="6866279" y="6485101"/>
                </a:cubicBezTo>
                <a:moveTo>
                  <a:pt x="6901214" y="2693379"/>
                </a:moveTo>
                <a:cubicBezTo>
                  <a:pt x="6880556" y="2702645"/>
                  <a:pt x="6866203" y="2723302"/>
                  <a:pt x="6866203" y="2747377"/>
                </a:cubicBezTo>
                <a:cubicBezTo>
                  <a:pt x="6866203" y="2771452"/>
                  <a:pt x="6880632" y="2792034"/>
                  <a:pt x="6901214" y="2801375"/>
                </a:cubicBezTo>
                <a:lnTo>
                  <a:pt x="6901214" y="2693379"/>
                </a:lnTo>
                <a:close/>
                <a:moveTo>
                  <a:pt x="6901214" y="2538599"/>
                </a:moveTo>
                <a:cubicBezTo>
                  <a:pt x="6890049" y="2525840"/>
                  <a:pt x="6873797" y="2517638"/>
                  <a:pt x="6855494" y="2517638"/>
                </a:cubicBezTo>
                <a:cubicBezTo>
                  <a:pt x="6821849" y="2517638"/>
                  <a:pt x="6794585" y="2544903"/>
                  <a:pt x="6794585" y="2578623"/>
                </a:cubicBezTo>
                <a:cubicBezTo>
                  <a:pt x="6794585" y="2612268"/>
                  <a:pt x="6821849" y="2639609"/>
                  <a:pt x="6855494" y="2639609"/>
                </a:cubicBezTo>
                <a:cubicBezTo>
                  <a:pt x="6873797" y="2639609"/>
                  <a:pt x="6890049" y="2631406"/>
                  <a:pt x="6901214" y="2618647"/>
                </a:cubicBezTo>
                <a:lnTo>
                  <a:pt x="6901214" y="2538599"/>
                </a:lnTo>
                <a:moveTo>
                  <a:pt x="6842051" y="2412527"/>
                </a:moveTo>
                <a:cubicBezTo>
                  <a:pt x="6842051" y="2377972"/>
                  <a:pt x="6814027" y="2349871"/>
                  <a:pt x="6779395" y="2349871"/>
                </a:cubicBezTo>
                <a:cubicBezTo>
                  <a:pt x="6744764" y="2349871"/>
                  <a:pt x="6716739" y="2377896"/>
                  <a:pt x="6716739" y="2412527"/>
                </a:cubicBezTo>
                <a:cubicBezTo>
                  <a:pt x="6716739" y="2447159"/>
                  <a:pt x="6744764" y="2475184"/>
                  <a:pt x="6779395" y="2475184"/>
                </a:cubicBezTo>
                <a:cubicBezTo>
                  <a:pt x="6814027" y="2475184"/>
                  <a:pt x="6842051" y="2447159"/>
                  <a:pt x="6842051" y="2412527"/>
                </a:cubicBezTo>
                <a:moveTo>
                  <a:pt x="6761396" y="2249470"/>
                </a:moveTo>
                <a:cubicBezTo>
                  <a:pt x="6761396" y="2213927"/>
                  <a:pt x="6732612" y="2185143"/>
                  <a:pt x="6697069" y="2185143"/>
                </a:cubicBezTo>
                <a:cubicBezTo>
                  <a:pt x="6661526" y="2185143"/>
                  <a:pt x="6632742" y="2213927"/>
                  <a:pt x="6632742" y="2249470"/>
                </a:cubicBezTo>
                <a:cubicBezTo>
                  <a:pt x="6632742" y="2285013"/>
                  <a:pt x="6661526" y="2313797"/>
                  <a:pt x="6697069" y="2313797"/>
                </a:cubicBezTo>
                <a:cubicBezTo>
                  <a:pt x="6732612" y="2313797"/>
                  <a:pt x="6761396" y="2285013"/>
                  <a:pt x="6761396" y="2249470"/>
                </a:cubicBezTo>
                <a:moveTo>
                  <a:pt x="6674740" y="2089602"/>
                </a:moveTo>
                <a:cubicBezTo>
                  <a:pt x="6674740" y="2053147"/>
                  <a:pt x="6645197" y="2023604"/>
                  <a:pt x="6608743" y="2023604"/>
                </a:cubicBezTo>
                <a:cubicBezTo>
                  <a:pt x="6572288" y="2023604"/>
                  <a:pt x="6542745" y="2053147"/>
                  <a:pt x="6542745" y="2089602"/>
                </a:cubicBezTo>
                <a:cubicBezTo>
                  <a:pt x="6542745" y="2126056"/>
                  <a:pt x="6572288" y="2155599"/>
                  <a:pt x="6608743" y="2155599"/>
                </a:cubicBezTo>
                <a:cubicBezTo>
                  <a:pt x="6645197" y="2155675"/>
                  <a:pt x="6674740" y="2126056"/>
                  <a:pt x="6674740" y="2089602"/>
                </a:cubicBezTo>
                <a:moveTo>
                  <a:pt x="6581553" y="1933151"/>
                </a:moveTo>
                <a:cubicBezTo>
                  <a:pt x="6581553" y="1896089"/>
                  <a:pt x="6551479" y="1866014"/>
                  <a:pt x="6514417" y="1866014"/>
                </a:cubicBezTo>
                <a:cubicBezTo>
                  <a:pt x="6477355" y="1866014"/>
                  <a:pt x="6447279" y="1896089"/>
                  <a:pt x="6447279" y="1933151"/>
                </a:cubicBezTo>
                <a:cubicBezTo>
                  <a:pt x="6447279" y="1970213"/>
                  <a:pt x="6477355" y="2000288"/>
                  <a:pt x="6514417" y="2000288"/>
                </a:cubicBezTo>
                <a:cubicBezTo>
                  <a:pt x="6551555" y="2000288"/>
                  <a:pt x="6581553" y="1970289"/>
                  <a:pt x="6581553" y="1933151"/>
                </a:cubicBezTo>
                <a:moveTo>
                  <a:pt x="6482063" y="1780346"/>
                </a:moveTo>
                <a:cubicBezTo>
                  <a:pt x="6482063" y="1742904"/>
                  <a:pt x="6451761" y="1712601"/>
                  <a:pt x="6414319" y="1712601"/>
                </a:cubicBezTo>
                <a:cubicBezTo>
                  <a:pt x="6376953" y="1712601"/>
                  <a:pt x="6346574" y="1742904"/>
                  <a:pt x="6346574" y="1780346"/>
                </a:cubicBezTo>
                <a:cubicBezTo>
                  <a:pt x="6346574" y="1817712"/>
                  <a:pt x="6376877" y="1848091"/>
                  <a:pt x="6414319" y="1848091"/>
                </a:cubicBezTo>
                <a:cubicBezTo>
                  <a:pt x="6451761" y="1848091"/>
                  <a:pt x="6482063" y="1817712"/>
                  <a:pt x="6482063" y="1780346"/>
                </a:cubicBezTo>
                <a:moveTo>
                  <a:pt x="6377484" y="1631338"/>
                </a:moveTo>
                <a:cubicBezTo>
                  <a:pt x="6377484" y="1593289"/>
                  <a:pt x="6346650" y="1562454"/>
                  <a:pt x="6308600" y="1562454"/>
                </a:cubicBezTo>
                <a:cubicBezTo>
                  <a:pt x="6270552" y="1562454"/>
                  <a:pt x="6239717" y="1593289"/>
                  <a:pt x="6239717" y="1631338"/>
                </a:cubicBezTo>
                <a:cubicBezTo>
                  <a:pt x="6239717" y="1669388"/>
                  <a:pt x="6270552" y="1700222"/>
                  <a:pt x="6308600" y="1700222"/>
                </a:cubicBezTo>
                <a:cubicBezTo>
                  <a:pt x="6346726" y="1700222"/>
                  <a:pt x="6377484" y="1669388"/>
                  <a:pt x="6377484" y="1631338"/>
                </a:cubicBezTo>
                <a:moveTo>
                  <a:pt x="6266906" y="1486432"/>
                </a:moveTo>
                <a:cubicBezTo>
                  <a:pt x="6266906" y="1448079"/>
                  <a:pt x="6235844" y="1417016"/>
                  <a:pt x="6197491" y="1417016"/>
                </a:cubicBezTo>
                <a:cubicBezTo>
                  <a:pt x="6159137" y="1417016"/>
                  <a:pt x="6128075" y="1448079"/>
                  <a:pt x="6128075" y="1486432"/>
                </a:cubicBezTo>
                <a:cubicBezTo>
                  <a:pt x="6128075" y="1524785"/>
                  <a:pt x="6159137" y="1555847"/>
                  <a:pt x="6197491" y="1555847"/>
                </a:cubicBezTo>
                <a:cubicBezTo>
                  <a:pt x="6235768" y="1555847"/>
                  <a:pt x="6266906" y="1524785"/>
                  <a:pt x="6266906" y="1486432"/>
                </a:cubicBezTo>
                <a:moveTo>
                  <a:pt x="6150935" y="1345778"/>
                </a:moveTo>
                <a:cubicBezTo>
                  <a:pt x="6150935" y="1307121"/>
                  <a:pt x="6119569" y="1275831"/>
                  <a:pt x="6080988" y="1275831"/>
                </a:cubicBezTo>
                <a:cubicBezTo>
                  <a:pt x="6042331" y="1275831"/>
                  <a:pt x="6011041" y="1307197"/>
                  <a:pt x="6011041" y="1345778"/>
                </a:cubicBezTo>
                <a:cubicBezTo>
                  <a:pt x="6011041" y="1384435"/>
                  <a:pt x="6042407" y="1415801"/>
                  <a:pt x="6080988" y="1415801"/>
                </a:cubicBezTo>
                <a:cubicBezTo>
                  <a:pt x="6119569" y="1415725"/>
                  <a:pt x="6150935" y="1384435"/>
                  <a:pt x="6150935" y="1345778"/>
                </a:cubicBezTo>
                <a:moveTo>
                  <a:pt x="6029192" y="1209605"/>
                </a:moveTo>
                <a:cubicBezTo>
                  <a:pt x="6029192" y="1170949"/>
                  <a:pt x="5997826" y="1139658"/>
                  <a:pt x="5959245" y="1139658"/>
                </a:cubicBezTo>
                <a:cubicBezTo>
                  <a:pt x="5920588" y="1139658"/>
                  <a:pt x="5889298" y="1171024"/>
                  <a:pt x="5889298" y="1209605"/>
                </a:cubicBezTo>
                <a:cubicBezTo>
                  <a:pt x="5889298" y="1248262"/>
                  <a:pt x="5920664" y="1279552"/>
                  <a:pt x="5959245" y="1279552"/>
                </a:cubicBezTo>
                <a:cubicBezTo>
                  <a:pt x="5997826" y="1279552"/>
                  <a:pt x="6029192" y="1248186"/>
                  <a:pt x="6029192" y="1209605"/>
                </a:cubicBezTo>
                <a:moveTo>
                  <a:pt x="5903045" y="1077990"/>
                </a:moveTo>
                <a:cubicBezTo>
                  <a:pt x="5903045" y="1039029"/>
                  <a:pt x="5871450" y="1007435"/>
                  <a:pt x="5832490" y="1007435"/>
                </a:cubicBezTo>
                <a:cubicBezTo>
                  <a:pt x="5793529" y="1007435"/>
                  <a:pt x="5761935" y="1039029"/>
                  <a:pt x="5761935" y="1077990"/>
                </a:cubicBezTo>
                <a:cubicBezTo>
                  <a:pt x="5761935" y="1116950"/>
                  <a:pt x="5793529" y="1148544"/>
                  <a:pt x="5832490" y="1148544"/>
                </a:cubicBezTo>
                <a:cubicBezTo>
                  <a:pt x="5871450" y="1148544"/>
                  <a:pt x="5903045" y="1116950"/>
                  <a:pt x="5903045" y="1077990"/>
                </a:cubicBezTo>
                <a:moveTo>
                  <a:pt x="5770897" y="951310"/>
                </a:moveTo>
                <a:cubicBezTo>
                  <a:pt x="5770897" y="912653"/>
                  <a:pt x="5739531" y="881363"/>
                  <a:pt x="5700950" y="881363"/>
                </a:cubicBezTo>
                <a:cubicBezTo>
                  <a:pt x="5662293" y="881363"/>
                  <a:pt x="5631003" y="912729"/>
                  <a:pt x="5631003" y="951310"/>
                </a:cubicBezTo>
                <a:cubicBezTo>
                  <a:pt x="5631003" y="989967"/>
                  <a:pt x="5662369" y="1021333"/>
                  <a:pt x="5700950" y="1021333"/>
                </a:cubicBezTo>
                <a:cubicBezTo>
                  <a:pt x="5739531" y="1021257"/>
                  <a:pt x="5770897" y="989967"/>
                  <a:pt x="5770897" y="951310"/>
                </a:cubicBezTo>
                <a:moveTo>
                  <a:pt x="5634724" y="829567"/>
                </a:moveTo>
                <a:cubicBezTo>
                  <a:pt x="5634724" y="790910"/>
                  <a:pt x="5603358" y="759620"/>
                  <a:pt x="5564702" y="759620"/>
                </a:cubicBezTo>
                <a:cubicBezTo>
                  <a:pt x="5526044" y="759620"/>
                  <a:pt x="5494754" y="790986"/>
                  <a:pt x="5494754" y="829567"/>
                </a:cubicBezTo>
                <a:cubicBezTo>
                  <a:pt x="5494754" y="868224"/>
                  <a:pt x="5526120" y="899514"/>
                  <a:pt x="5564702" y="899514"/>
                </a:cubicBezTo>
                <a:cubicBezTo>
                  <a:pt x="5603358" y="899514"/>
                  <a:pt x="5634724" y="868224"/>
                  <a:pt x="5634724" y="829567"/>
                </a:cubicBezTo>
                <a:moveTo>
                  <a:pt x="5493463" y="712989"/>
                </a:moveTo>
                <a:cubicBezTo>
                  <a:pt x="5493463" y="674636"/>
                  <a:pt x="5462401" y="643574"/>
                  <a:pt x="5424048" y="643574"/>
                </a:cubicBezTo>
                <a:cubicBezTo>
                  <a:pt x="5385695" y="643574"/>
                  <a:pt x="5354632" y="674636"/>
                  <a:pt x="5354632" y="712989"/>
                </a:cubicBezTo>
                <a:cubicBezTo>
                  <a:pt x="5354632" y="751342"/>
                  <a:pt x="5385695" y="782404"/>
                  <a:pt x="5424048" y="782404"/>
                </a:cubicBezTo>
                <a:cubicBezTo>
                  <a:pt x="5462401" y="782404"/>
                  <a:pt x="5493463" y="751342"/>
                  <a:pt x="5493463" y="712989"/>
                </a:cubicBezTo>
                <a:moveTo>
                  <a:pt x="5347949" y="601803"/>
                </a:moveTo>
                <a:cubicBezTo>
                  <a:pt x="5347949" y="563753"/>
                  <a:pt x="5317115" y="532995"/>
                  <a:pt x="5279065" y="532995"/>
                </a:cubicBezTo>
                <a:cubicBezTo>
                  <a:pt x="5241016" y="532995"/>
                  <a:pt x="5210182" y="563829"/>
                  <a:pt x="5210182" y="601803"/>
                </a:cubicBezTo>
                <a:cubicBezTo>
                  <a:pt x="5210182" y="639852"/>
                  <a:pt x="5241016" y="670687"/>
                  <a:pt x="5279065" y="670687"/>
                </a:cubicBezTo>
                <a:cubicBezTo>
                  <a:pt x="5317115" y="670687"/>
                  <a:pt x="5347949" y="639852"/>
                  <a:pt x="5347949" y="601803"/>
                </a:cubicBezTo>
                <a:moveTo>
                  <a:pt x="5197878" y="496085"/>
                </a:moveTo>
                <a:cubicBezTo>
                  <a:pt x="5197878" y="458719"/>
                  <a:pt x="5167575" y="428340"/>
                  <a:pt x="5130133" y="428340"/>
                </a:cubicBezTo>
                <a:cubicBezTo>
                  <a:pt x="5092768" y="428340"/>
                  <a:pt x="5062389" y="458643"/>
                  <a:pt x="5062389" y="496085"/>
                </a:cubicBezTo>
                <a:cubicBezTo>
                  <a:pt x="5062389" y="533527"/>
                  <a:pt x="5092692" y="563829"/>
                  <a:pt x="5130133" y="563829"/>
                </a:cubicBezTo>
                <a:cubicBezTo>
                  <a:pt x="5167575" y="563829"/>
                  <a:pt x="5197878" y="533527"/>
                  <a:pt x="5197878" y="496085"/>
                </a:cubicBezTo>
                <a:moveTo>
                  <a:pt x="5044466" y="396063"/>
                </a:moveTo>
                <a:cubicBezTo>
                  <a:pt x="5044466" y="359001"/>
                  <a:pt x="5014391" y="328926"/>
                  <a:pt x="4977328" y="328926"/>
                </a:cubicBezTo>
                <a:cubicBezTo>
                  <a:pt x="4940266" y="328926"/>
                  <a:pt x="4910192" y="359001"/>
                  <a:pt x="4910192" y="396063"/>
                </a:cubicBezTo>
                <a:cubicBezTo>
                  <a:pt x="4910192" y="433125"/>
                  <a:pt x="4940266" y="463200"/>
                  <a:pt x="4977328" y="463200"/>
                </a:cubicBezTo>
                <a:cubicBezTo>
                  <a:pt x="5014391" y="463200"/>
                  <a:pt x="5044466" y="433125"/>
                  <a:pt x="5044466" y="396063"/>
                </a:cubicBezTo>
                <a:moveTo>
                  <a:pt x="4886876" y="301813"/>
                </a:moveTo>
                <a:cubicBezTo>
                  <a:pt x="4886876" y="265358"/>
                  <a:pt x="4857333" y="235815"/>
                  <a:pt x="4820878" y="235815"/>
                </a:cubicBezTo>
                <a:cubicBezTo>
                  <a:pt x="4784423" y="235815"/>
                  <a:pt x="4754880" y="265358"/>
                  <a:pt x="4754880" y="301813"/>
                </a:cubicBezTo>
                <a:cubicBezTo>
                  <a:pt x="4754880" y="338267"/>
                  <a:pt x="4784423" y="367811"/>
                  <a:pt x="4820878" y="367811"/>
                </a:cubicBezTo>
                <a:cubicBezTo>
                  <a:pt x="4857333" y="367811"/>
                  <a:pt x="4886876" y="338267"/>
                  <a:pt x="4886876" y="301813"/>
                </a:cubicBezTo>
                <a:moveTo>
                  <a:pt x="4725337" y="213411"/>
                </a:moveTo>
                <a:cubicBezTo>
                  <a:pt x="4725337" y="177868"/>
                  <a:pt x="4696553" y="149084"/>
                  <a:pt x="4661010" y="149084"/>
                </a:cubicBezTo>
                <a:cubicBezTo>
                  <a:pt x="4625467" y="149084"/>
                  <a:pt x="4596683" y="177868"/>
                  <a:pt x="4596683" y="213411"/>
                </a:cubicBezTo>
                <a:cubicBezTo>
                  <a:pt x="4596683" y="248954"/>
                  <a:pt x="4625467" y="277738"/>
                  <a:pt x="4661010" y="277738"/>
                </a:cubicBezTo>
                <a:cubicBezTo>
                  <a:pt x="4696553" y="277738"/>
                  <a:pt x="4725337" y="248954"/>
                  <a:pt x="4725337" y="213411"/>
                </a:cubicBezTo>
                <a:moveTo>
                  <a:pt x="4560608" y="131084"/>
                </a:moveTo>
                <a:cubicBezTo>
                  <a:pt x="4560608" y="96452"/>
                  <a:pt x="4532584" y="68428"/>
                  <a:pt x="4497952" y="68428"/>
                </a:cubicBezTo>
                <a:cubicBezTo>
                  <a:pt x="4463320" y="68428"/>
                  <a:pt x="4435296" y="96452"/>
                  <a:pt x="4435296" y="131084"/>
                </a:cubicBezTo>
                <a:cubicBezTo>
                  <a:pt x="4435296" y="165716"/>
                  <a:pt x="4463320" y="193740"/>
                  <a:pt x="4497952" y="193740"/>
                </a:cubicBezTo>
                <a:cubicBezTo>
                  <a:pt x="4532508" y="193740"/>
                  <a:pt x="4560608" y="165716"/>
                  <a:pt x="4560608" y="131084"/>
                </a:cubicBezTo>
                <a:moveTo>
                  <a:pt x="4305883" y="0"/>
                </a:moveTo>
                <a:cubicBezTo>
                  <a:pt x="4285301" y="9797"/>
                  <a:pt x="4270947" y="30607"/>
                  <a:pt x="4270947" y="54910"/>
                </a:cubicBezTo>
                <a:cubicBezTo>
                  <a:pt x="4270947" y="88554"/>
                  <a:pt x="4298212" y="115895"/>
                  <a:pt x="4331856" y="115895"/>
                </a:cubicBezTo>
                <a:cubicBezTo>
                  <a:pt x="4365501" y="115895"/>
                  <a:pt x="4392841" y="88630"/>
                  <a:pt x="4392841" y="54910"/>
                </a:cubicBezTo>
                <a:cubicBezTo>
                  <a:pt x="4392841" y="30607"/>
                  <a:pt x="4378488" y="9797"/>
                  <a:pt x="4357906" y="0"/>
                </a:cubicBezTo>
                <a:lnTo>
                  <a:pt x="4305883" y="0"/>
                </a:lnTo>
                <a:close/>
                <a:moveTo>
                  <a:pt x="4105990" y="0"/>
                </a:moveTo>
                <a:cubicBezTo>
                  <a:pt x="4112674" y="25442"/>
                  <a:pt x="4135609" y="44277"/>
                  <a:pt x="4163102" y="44277"/>
                </a:cubicBezTo>
                <a:cubicBezTo>
                  <a:pt x="4190595" y="44277"/>
                  <a:pt x="4213531" y="25442"/>
                  <a:pt x="4220214" y="0"/>
                </a:cubicBezTo>
                <a:lnTo>
                  <a:pt x="4105990" y="0"/>
                </a:lnTo>
                <a:close/>
                <a:moveTo>
                  <a:pt x="436087" y="54910"/>
                </a:moveTo>
                <a:cubicBezTo>
                  <a:pt x="436087" y="48986"/>
                  <a:pt x="431302" y="44201"/>
                  <a:pt x="425378" y="44201"/>
                </a:cubicBezTo>
                <a:cubicBezTo>
                  <a:pt x="419454" y="44201"/>
                  <a:pt x="414670" y="48986"/>
                  <a:pt x="414670" y="54910"/>
                </a:cubicBezTo>
                <a:cubicBezTo>
                  <a:pt x="414670" y="60833"/>
                  <a:pt x="419454" y="65618"/>
                  <a:pt x="425378" y="65618"/>
                </a:cubicBezTo>
                <a:cubicBezTo>
                  <a:pt x="431302" y="65618"/>
                  <a:pt x="436087" y="60833"/>
                  <a:pt x="436087" y="54910"/>
                </a:cubicBezTo>
                <a:moveTo>
                  <a:pt x="268396" y="131084"/>
                </a:moveTo>
                <a:cubicBezTo>
                  <a:pt x="268396" y="126072"/>
                  <a:pt x="264371" y="122047"/>
                  <a:pt x="259358" y="122047"/>
                </a:cubicBezTo>
                <a:cubicBezTo>
                  <a:pt x="254346" y="122047"/>
                  <a:pt x="250321" y="126072"/>
                  <a:pt x="250321" y="131084"/>
                </a:cubicBezTo>
                <a:cubicBezTo>
                  <a:pt x="250321" y="136097"/>
                  <a:pt x="254346" y="140122"/>
                  <a:pt x="259358" y="140122"/>
                </a:cubicBezTo>
                <a:cubicBezTo>
                  <a:pt x="264371" y="140122"/>
                  <a:pt x="268396" y="136097"/>
                  <a:pt x="268396" y="131084"/>
                </a:cubicBezTo>
                <a:moveTo>
                  <a:pt x="103591" y="213411"/>
                </a:moveTo>
                <a:cubicBezTo>
                  <a:pt x="103591" y="209385"/>
                  <a:pt x="100326" y="206044"/>
                  <a:pt x="96225" y="206044"/>
                </a:cubicBezTo>
                <a:cubicBezTo>
                  <a:pt x="92199" y="206044"/>
                  <a:pt x="88858" y="209310"/>
                  <a:pt x="88858" y="213411"/>
                </a:cubicBezTo>
                <a:cubicBezTo>
                  <a:pt x="88858" y="217436"/>
                  <a:pt x="92124" y="220777"/>
                  <a:pt x="96225" y="220777"/>
                </a:cubicBezTo>
                <a:cubicBezTo>
                  <a:pt x="100326" y="220777"/>
                  <a:pt x="103591" y="217436"/>
                  <a:pt x="103591" y="213411"/>
                </a:cubicBezTo>
                <a:moveTo>
                  <a:pt x="6901214" y="2132284"/>
                </a:moveTo>
                <a:cubicBezTo>
                  <a:pt x="6863088" y="2132511"/>
                  <a:pt x="6832178" y="2163498"/>
                  <a:pt x="6832178" y="2201699"/>
                </a:cubicBezTo>
                <a:cubicBezTo>
                  <a:pt x="6832178" y="2239900"/>
                  <a:pt x="6863012" y="2270811"/>
                  <a:pt x="6901214" y="2271039"/>
                </a:cubicBezTo>
                <a:lnTo>
                  <a:pt x="6901214" y="2132284"/>
                </a:lnTo>
                <a:close/>
                <a:moveTo>
                  <a:pt x="6885645" y="2040768"/>
                </a:moveTo>
                <a:cubicBezTo>
                  <a:pt x="6885645" y="2001807"/>
                  <a:pt x="6854051" y="1970213"/>
                  <a:pt x="6815090" y="1970213"/>
                </a:cubicBezTo>
                <a:cubicBezTo>
                  <a:pt x="6776129" y="1970213"/>
                  <a:pt x="6744536" y="2001807"/>
                  <a:pt x="6744536" y="2040768"/>
                </a:cubicBezTo>
                <a:cubicBezTo>
                  <a:pt x="6744536" y="2079729"/>
                  <a:pt x="6776129" y="2111322"/>
                  <a:pt x="6815090" y="2111322"/>
                </a:cubicBezTo>
                <a:cubicBezTo>
                  <a:pt x="6854051" y="2111322"/>
                  <a:pt x="6885645" y="2079729"/>
                  <a:pt x="6885645" y="2040768"/>
                </a:cubicBezTo>
                <a:moveTo>
                  <a:pt x="6795040" y="1883102"/>
                </a:moveTo>
                <a:cubicBezTo>
                  <a:pt x="6795040" y="1843230"/>
                  <a:pt x="6762687" y="1810877"/>
                  <a:pt x="6722815" y="1810877"/>
                </a:cubicBezTo>
                <a:cubicBezTo>
                  <a:pt x="6682943" y="1810877"/>
                  <a:pt x="6650589" y="1843230"/>
                  <a:pt x="6650589" y="1883102"/>
                </a:cubicBezTo>
                <a:cubicBezTo>
                  <a:pt x="6650589" y="1922974"/>
                  <a:pt x="6682943" y="1955328"/>
                  <a:pt x="6722815" y="1955328"/>
                </a:cubicBezTo>
                <a:cubicBezTo>
                  <a:pt x="6762687" y="1955403"/>
                  <a:pt x="6795040" y="1923050"/>
                  <a:pt x="6795040" y="1883102"/>
                </a:cubicBezTo>
                <a:moveTo>
                  <a:pt x="6698284" y="1728930"/>
                </a:moveTo>
                <a:cubicBezTo>
                  <a:pt x="6698284" y="1688450"/>
                  <a:pt x="6665399" y="1655565"/>
                  <a:pt x="6624919" y="1655565"/>
                </a:cubicBezTo>
                <a:cubicBezTo>
                  <a:pt x="6584363" y="1655565"/>
                  <a:pt x="6551555" y="1688450"/>
                  <a:pt x="6551555" y="1728930"/>
                </a:cubicBezTo>
                <a:cubicBezTo>
                  <a:pt x="6551555" y="1769486"/>
                  <a:pt x="6584363" y="1802295"/>
                  <a:pt x="6624919" y="1802295"/>
                </a:cubicBezTo>
                <a:cubicBezTo>
                  <a:pt x="6665475" y="1802295"/>
                  <a:pt x="6698284" y="1769410"/>
                  <a:pt x="6698284" y="1728930"/>
                </a:cubicBezTo>
                <a:moveTo>
                  <a:pt x="6595528" y="1578251"/>
                </a:moveTo>
                <a:cubicBezTo>
                  <a:pt x="6595528" y="1537392"/>
                  <a:pt x="6562415" y="1504355"/>
                  <a:pt x="6521632" y="1504355"/>
                </a:cubicBezTo>
                <a:cubicBezTo>
                  <a:pt x="6480772" y="1504355"/>
                  <a:pt x="6447659" y="1537468"/>
                  <a:pt x="6447659" y="1578251"/>
                </a:cubicBezTo>
                <a:cubicBezTo>
                  <a:pt x="6447659" y="1619111"/>
                  <a:pt x="6480772" y="1652148"/>
                  <a:pt x="6521632" y="1652148"/>
                </a:cubicBezTo>
                <a:cubicBezTo>
                  <a:pt x="6562415" y="1652224"/>
                  <a:pt x="6595528" y="1619111"/>
                  <a:pt x="6595528" y="1578251"/>
                </a:cubicBezTo>
                <a:moveTo>
                  <a:pt x="6487911" y="1431446"/>
                </a:moveTo>
                <a:cubicBezTo>
                  <a:pt x="6487911" y="1389979"/>
                  <a:pt x="6454342" y="1356411"/>
                  <a:pt x="6412876" y="1356411"/>
                </a:cubicBezTo>
                <a:cubicBezTo>
                  <a:pt x="6371409" y="1356411"/>
                  <a:pt x="6337840" y="1389979"/>
                  <a:pt x="6337840" y="1431446"/>
                </a:cubicBezTo>
                <a:cubicBezTo>
                  <a:pt x="6337840" y="1472913"/>
                  <a:pt x="6371485" y="1506482"/>
                  <a:pt x="6412876" y="1506482"/>
                </a:cubicBezTo>
                <a:cubicBezTo>
                  <a:pt x="6454342" y="1506558"/>
                  <a:pt x="6487911" y="1472913"/>
                  <a:pt x="6487911" y="1431446"/>
                </a:cubicBezTo>
                <a:moveTo>
                  <a:pt x="6374598" y="1288666"/>
                </a:moveTo>
                <a:cubicBezTo>
                  <a:pt x="6374598" y="1246895"/>
                  <a:pt x="6340726" y="1213023"/>
                  <a:pt x="6298956" y="1213023"/>
                </a:cubicBezTo>
                <a:cubicBezTo>
                  <a:pt x="6257185" y="1213023"/>
                  <a:pt x="6223312" y="1246895"/>
                  <a:pt x="6223312" y="1288666"/>
                </a:cubicBezTo>
                <a:cubicBezTo>
                  <a:pt x="6223312" y="1330437"/>
                  <a:pt x="6257185" y="1364309"/>
                  <a:pt x="6298956" y="1364309"/>
                </a:cubicBezTo>
                <a:cubicBezTo>
                  <a:pt x="6340726" y="1364309"/>
                  <a:pt x="6374598" y="1330437"/>
                  <a:pt x="6374598" y="1288666"/>
                </a:cubicBezTo>
                <a:moveTo>
                  <a:pt x="6256273" y="1149987"/>
                </a:moveTo>
                <a:cubicBezTo>
                  <a:pt x="6256273" y="1107913"/>
                  <a:pt x="6222173" y="1073812"/>
                  <a:pt x="6180099" y="1073812"/>
                </a:cubicBezTo>
                <a:cubicBezTo>
                  <a:pt x="6138024" y="1073812"/>
                  <a:pt x="6103924" y="1107913"/>
                  <a:pt x="6103924" y="1149987"/>
                </a:cubicBezTo>
                <a:cubicBezTo>
                  <a:pt x="6103924" y="1192062"/>
                  <a:pt x="6138024" y="1226162"/>
                  <a:pt x="6180099" y="1226162"/>
                </a:cubicBezTo>
                <a:cubicBezTo>
                  <a:pt x="6222097" y="1226238"/>
                  <a:pt x="6256273" y="1192062"/>
                  <a:pt x="6256273" y="1149987"/>
                </a:cubicBezTo>
                <a:moveTo>
                  <a:pt x="6132404" y="1015713"/>
                </a:moveTo>
                <a:cubicBezTo>
                  <a:pt x="6132404" y="973639"/>
                  <a:pt x="6098304" y="939538"/>
                  <a:pt x="6056229" y="939538"/>
                </a:cubicBezTo>
                <a:cubicBezTo>
                  <a:pt x="6014155" y="939538"/>
                  <a:pt x="5980055" y="973639"/>
                  <a:pt x="5980055" y="1015713"/>
                </a:cubicBezTo>
                <a:cubicBezTo>
                  <a:pt x="5980055" y="1057788"/>
                  <a:pt x="6014155" y="1091888"/>
                  <a:pt x="6056229" y="1091888"/>
                </a:cubicBezTo>
                <a:cubicBezTo>
                  <a:pt x="6098304" y="1091888"/>
                  <a:pt x="6132404" y="1057788"/>
                  <a:pt x="6132404" y="1015713"/>
                </a:cubicBezTo>
                <a:moveTo>
                  <a:pt x="6003826" y="885996"/>
                </a:moveTo>
                <a:cubicBezTo>
                  <a:pt x="6003826" y="843921"/>
                  <a:pt x="5969726" y="809821"/>
                  <a:pt x="5927651" y="809821"/>
                </a:cubicBezTo>
                <a:cubicBezTo>
                  <a:pt x="5885577" y="809821"/>
                  <a:pt x="5851476" y="843921"/>
                  <a:pt x="5851476" y="885996"/>
                </a:cubicBezTo>
                <a:cubicBezTo>
                  <a:pt x="5851476" y="928070"/>
                  <a:pt x="5885577" y="962171"/>
                  <a:pt x="5927651" y="962171"/>
                </a:cubicBezTo>
                <a:cubicBezTo>
                  <a:pt x="5969726" y="962171"/>
                  <a:pt x="6003826" y="928070"/>
                  <a:pt x="6003826" y="885996"/>
                </a:cubicBezTo>
                <a:moveTo>
                  <a:pt x="5870615" y="760911"/>
                </a:moveTo>
                <a:cubicBezTo>
                  <a:pt x="5870615" y="718837"/>
                  <a:pt x="5836515" y="684737"/>
                  <a:pt x="5794441" y="684737"/>
                </a:cubicBezTo>
                <a:cubicBezTo>
                  <a:pt x="5752366" y="684737"/>
                  <a:pt x="5718266" y="718837"/>
                  <a:pt x="5718266" y="760911"/>
                </a:cubicBezTo>
                <a:cubicBezTo>
                  <a:pt x="5718266" y="802986"/>
                  <a:pt x="5752366" y="837086"/>
                  <a:pt x="5794441" y="837086"/>
                </a:cubicBezTo>
                <a:cubicBezTo>
                  <a:pt x="5836515" y="837162"/>
                  <a:pt x="5870615" y="802986"/>
                  <a:pt x="5870615" y="760911"/>
                </a:cubicBezTo>
                <a:moveTo>
                  <a:pt x="5732544" y="640764"/>
                </a:moveTo>
                <a:cubicBezTo>
                  <a:pt x="5732544" y="598993"/>
                  <a:pt x="5698671" y="565121"/>
                  <a:pt x="5656901" y="565121"/>
                </a:cubicBezTo>
                <a:cubicBezTo>
                  <a:pt x="5615130" y="565121"/>
                  <a:pt x="5581258" y="598993"/>
                  <a:pt x="5581258" y="640764"/>
                </a:cubicBezTo>
                <a:cubicBezTo>
                  <a:pt x="5581258" y="682534"/>
                  <a:pt x="5615130" y="716407"/>
                  <a:pt x="5656901" y="716407"/>
                </a:cubicBezTo>
                <a:cubicBezTo>
                  <a:pt x="5698671" y="716407"/>
                  <a:pt x="5732544" y="682534"/>
                  <a:pt x="5732544" y="640764"/>
                </a:cubicBezTo>
                <a:moveTo>
                  <a:pt x="5590144" y="525628"/>
                </a:moveTo>
                <a:cubicBezTo>
                  <a:pt x="5590144" y="484161"/>
                  <a:pt x="5556499" y="450593"/>
                  <a:pt x="5515108" y="450593"/>
                </a:cubicBezTo>
                <a:cubicBezTo>
                  <a:pt x="5473641" y="450593"/>
                  <a:pt x="5440072" y="484161"/>
                  <a:pt x="5440072" y="525628"/>
                </a:cubicBezTo>
                <a:cubicBezTo>
                  <a:pt x="5440072" y="567095"/>
                  <a:pt x="5473717" y="600664"/>
                  <a:pt x="5515108" y="600664"/>
                </a:cubicBezTo>
                <a:cubicBezTo>
                  <a:pt x="5556575" y="600664"/>
                  <a:pt x="5590144" y="567019"/>
                  <a:pt x="5590144" y="525628"/>
                </a:cubicBezTo>
                <a:moveTo>
                  <a:pt x="5443794" y="415581"/>
                </a:moveTo>
                <a:cubicBezTo>
                  <a:pt x="5443794" y="374418"/>
                  <a:pt x="5410454" y="341077"/>
                  <a:pt x="5369290" y="341077"/>
                </a:cubicBezTo>
                <a:cubicBezTo>
                  <a:pt x="5328127" y="341077"/>
                  <a:pt x="5294786" y="374418"/>
                  <a:pt x="5294786" y="415581"/>
                </a:cubicBezTo>
                <a:cubicBezTo>
                  <a:pt x="5294786" y="456744"/>
                  <a:pt x="5328127" y="490085"/>
                  <a:pt x="5369290" y="490085"/>
                </a:cubicBezTo>
                <a:cubicBezTo>
                  <a:pt x="5410454" y="490085"/>
                  <a:pt x="5443794" y="456744"/>
                  <a:pt x="5443794" y="415581"/>
                </a:cubicBezTo>
                <a:moveTo>
                  <a:pt x="5292964" y="310850"/>
                </a:moveTo>
                <a:cubicBezTo>
                  <a:pt x="5292964" y="270371"/>
                  <a:pt x="5260078" y="237486"/>
                  <a:pt x="5219599" y="237486"/>
                </a:cubicBezTo>
                <a:cubicBezTo>
                  <a:pt x="5179043" y="237486"/>
                  <a:pt x="5146234" y="270371"/>
                  <a:pt x="5146234" y="310850"/>
                </a:cubicBezTo>
                <a:cubicBezTo>
                  <a:pt x="5146234" y="351406"/>
                  <a:pt x="5179043" y="384215"/>
                  <a:pt x="5219599" y="384215"/>
                </a:cubicBezTo>
                <a:cubicBezTo>
                  <a:pt x="5260078" y="384215"/>
                  <a:pt x="5292964" y="351406"/>
                  <a:pt x="5292964" y="310850"/>
                </a:cubicBezTo>
                <a:moveTo>
                  <a:pt x="5138488" y="211588"/>
                </a:moveTo>
                <a:cubicBezTo>
                  <a:pt x="5138488" y="171716"/>
                  <a:pt x="5106134" y="139362"/>
                  <a:pt x="5066262" y="139362"/>
                </a:cubicBezTo>
                <a:cubicBezTo>
                  <a:pt x="5026390" y="139362"/>
                  <a:pt x="4994037" y="171716"/>
                  <a:pt x="4994037" y="211588"/>
                </a:cubicBezTo>
                <a:cubicBezTo>
                  <a:pt x="4994037" y="251460"/>
                  <a:pt x="5026390" y="283813"/>
                  <a:pt x="5066262" y="283813"/>
                </a:cubicBezTo>
                <a:cubicBezTo>
                  <a:pt x="5106134" y="283889"/>
                  <a:pt x="5138488" y="251536"/>
                  <a:pt x="5138488" y="211588"/>
                </a:cubicBezTo>
                <a:moveTo>
                  <a:pt x="4980518" y="117945"/>
                </a:moveTo>
                <a:cubicBezTo>
                  <a:pt x="4980518" y="78681"/>
                  <a:pt x="4948696" y="46859"/>
                  <a:pt x="4909432" y="46859"/>
                </a:cubicBezTo>
                <a:cubicBezTo>
                  <a:pt x="4870168" y="46859"/>
                  <a:pt x="4838346" y="78681"/>
                  <a:pt x="4838346" y="117945"/>
                </a:cubicBezTo>
                <a:cubicBezTo>
                  <a:pt x="4838346" y="157210"/>
                  <a:pt x="4870168" y="189032"/>
                  <a:pt x="4909432" y="189032"/>
                </a:cubicBezTo>
                <a:cubicBezTo>
                  <a:pt x="4948696" y="189032"/>
                  <a:pt x="4980518" y="157210"/>
                  <a:pt x="4980518" y="117945"/>
                </a:cubicBezTo>
                <a:moveTo>
                  <a:pt x="4686984" y="0"/>
                </a:moveTo>
                <a:cubicBezTo>
                  <a:pt x="4682579" y="9114"/>
                  <a:pt x="4679996" y="19139"/>
                  <a:pt x="4679996" y="29923"/>
                </a:cubicBezTo>
                <a:cubicBezTo>
                  <a:pt x="4679996" y="68276"/>
                  <a:pt x="4711059" y="99338"/>
                  <a:pt x="4749412" y="99338"/>
                </a:cubicBezTo>
                <a:cubicBezTo>
                  <a:pt x="4787765" y="99338"/>
                  <a:pt x="4818827" y="68276"/>
                  <a:pt x="4818827" y="29923"/>
                </a:cubicBezTo>
                <a:cubicBezTo>
                  <a:pt x="4818827" y="19139"/>
                  <a:pt x="4816169" y="9114"/>
                  <a:pt x="4811840" y="0"/>
                </a:cubicBezTo>
                <a:lnTo>
                  <a:pt x="4686984" y="0"/>
                </a:lnTo>
                <a:close/>
                <a:moveTo>
                  <a:pt x="15797" y="29923"/>
                </a:moveTo>
                <a:cubicBezTo>
                  <a:pt x="15797" y="25594"/>
                  <a:pt x="12227" y="22025"/>
                  <a:pt x="7898" y="22025"/>
                </a:cubicBezTo>
                <a:cubicBezTo>
                  <a:pt x="3570" y="22025"/>
                  <a:pt x="0" y="25594"/>
                  <a:pt x="0" y="29923"/>
                </a:cubicBezTo>
                <a:cubicBezTo>
                  <a:pt x="0" y="34252"/>
                  <a:pt x="3570" y="37822"/>
                  <a:pt x="7898" y="37822"/>
                </a:cubicBezTo>
                <a:cubicBezTo>
                  <a:pt x="12303" y="37822"/>
                  <a:pt x="15797" y="34328"/>
                  <a:pt x="15797" y="29923"/>
                </a:cubicBezTo>
                <a:moveTo>
                  <a:pt x="6901214" y="1762043"/>
                </a:moveTo>
                <a:cubicBezTo>
                  <a:pt x="6873037" y="1773587"/>
                  <a:pt x="6853139" y="1801231"/>
                  <a:pt x="6853139" y="1833585"/>
                </a:cubicBezTo>
                <a:cubicBezTo>
                  <a:pt x="6853139" y="1865938"/>
                  <a:pt x="6873037" y="1893583"/>
                  <a:pt x="6901214" y="1905051"/>
                </a:cubicBezTo>
                <a:lnTo>
                  <a:pt x="6901214" y="1762043"/>
                </a:lnTo>
                <a:close/>
                <a:moveTo>
                  <a:pt x="6901214" y="1637034"/>
                </a:moveTo>
                <a:cubicBezTo>
                  <a:pt x="6887392" y="1614630"/>
                  <a:pt x="6862861" y="1599592"/>
                  <a:pt x="6834608" y="1599592"/>
                </a:cubicBezTo>
                <a:cubicBezTo>
                  <a:pt x="6791243" y="1599592"/>
                  <a:pt x="6756156" y="1634680"/>
                  <a:pt x="6756156" y="1678046"/>
                </a:cubicBezTo>
                <a:cubicBezTo>
                  <a:pt x="6756156" y="1721411"/>
                  <a:pt x="6791243" y="1756499"/>
                  <a:pt x="6834608" y="1756499"/>
                </a:cubicBezTo>
                <a:cubicBezTo>
                  <a:pt x="6862861" y="1756499"/>
                  <a:pt x="6887392" y="1741461"/>
                  <a:pt x="6901214" y="1719057"/>
                </a:cubicBezTo>
                <a:lnTo>
                  <a:pt x="6901214" y="1637034"/>
                </a:lnTo>
                <a:moveTo>
                  <a:pt x="6813040" y="1525924"/>
                </a:moveTo>
                <a:cubicBezTo>
                  <a:pt x="6813040" y="1481951"/>
                  <a:pt x="6777421" y="1446332"/>
                  <a:pt x="6733447" y="1446332"/>
                </a:cubicBezTo>
                <a:cubicBezTo>
                  <a:pt x="6689474" y="1446332"/>
                  <a:pt x="6653855" y="1481951"/>
                  <a:pt x="6653855" y="1525924"/>
                </a:cubicBezTo>
                <a:cubicBezTo>
                  <a:pt x="6653855" y="1569897"/>
                  <a:pt x="6689474" y="1605516"/>
                  <a:pt x="6733447" y="1605516"/>
                </a:cubicBezTo>
                <a:cubicBezTo>
                  <a:pt x="6777421" y="1605516"/>
                  <a:pt x="6813040" y="1569897"/>
                  <a:pt x="6813040" y="1525924"/>
                </a:cubicBezTo>
                <a:moveTo>
                  <a:pt x="6707853" y="1377448"/>
                </a:moveTo>
                <a:cubicBezTo>
                  <a:pt x="6707853" y="1332867"/>
                  <a:pt x="6671702" y="1296717"/>
                  <a:pt x="6627122" y="1296717"/>
                </a:cubicBezTo>
                <a:cubicBezTo>
                  <a:pt x="6582541" y="1296717"/>
                  <a:pt x="6546390" y="1332867"/>
                  <a:pt x="6546390" y="1377448"/>
                </a:cubicBezTo>
                <a:cubicBezTo>
                  <a:pt x="6546390" y="1422029"/>
                  <a:pt x="6582541" y="1458179"/>
                  <a:pt x="6627122" y="1458179"/>
                </a:cubicBezTo>
                <a:cubicBezTo>
                  <a:pt x="6671702" y="1458104"/>
                  <a:pt x="6707853" y="1421953"/>
                  <a:pt x="6707853" y="1377448"/>
                </a:cubicBezTo>
                <a:moveTo>
                  <a:pt x="6596971" y="1232617"/>
                </a:moveTo>
                <a:cubicBezTo>
                  <a:pt x="6596971" y="1187733"/>
                  <a:pt x="6560593" y="1151354"/>
                  <a:pt x="6515708" y="1151354"/>
                </a:cubicBezTo>
                <a:cubicBezTo>
                  <a:pt x="6470823" y="1151354"/>
                  <a:pt x="6434444" y="1187733"/>
                  <a:pt x="6434444" y="1232617"/>
                </a:cubicBezTo>
                <a:cubicBezTo>
                  <a:pt x="6434444" y="1277502"/>
                  <a:pt x="6470823" y="1313880"/>
                  <a:pt x="6515708" y="1313880"/>
                </a:cubicBezTo>
                <a:cubicBezTo>
                  <a:pt x="6560593" y="1313880"/>
                  <a:pt x="6596971" y="1277502"/>
                  <a:pt x="6596971" y="1232617"/>
                </a:cubicBezTo>
                <a:moveTo>
                  <a:pt x="6481228" y="1091812"/>
                </a:moveTo>
                <a:cubicBezTo>
                  <a:pt x="6481228" y="1046623"/>
                  <a:pt x="6444622" y="1010017"/>
                  <a:pt x="6399357" y="1010017"/>
                </a:cubicBezTo>
                <a:cubicBezTo>
                  <a:pt x="6354169" y="1010017"/>
                  <a:pt x="6317487" y="1046623"/>
                  <a:pt x="6317487" y="1091812"/>
                </a:cubicBezTo>
                <a:cubicBezTo>
                  <a:pt x="6317487" y="1137000"/>
                  <a:pt x="6354093" y="1173607"/>
                  <a:pt x="6399357" y="1173607"/>
                </a:cubicBezTo>
                <a:cubicBezTo>
                  <a:pt x="6444546" y="1173683"/>
                  <a:pt x="6481228" y="1137000"/>
                  <a:pt x="6481228" y="1091812"/>
                </a:cubicBezTo>
                <a:moveTo>
                  <a:pt x="6360624" y="955108"/>
                </a:moveTo>
                <a:cubicBezTo>
                  <a:pt x="6360624" y="909615"/>
                  <a:pt x="6323714" y="872705"/>
                  <a:pt x="6278222" y="872705"/>
                </a:cubicBezTo>
                <a:cubicBezTo>
                  <a:pt x="6232730" y="872705"/>
                  <a:pt x="6195820" y="909615"/>
                  <a:pt x="6195820" y="955108"/>
                </a:cubicBezTo>
                <a:cubicBezTo>
                  <a:pt x="6195820" y="1000600"/>
                  <a:pt x="6232730" y="1037510"/>
                  <a:pt x="6278222" y="1037510"/>
                </a:cubicBezTo>
                <a:cubicBezTo>
                  <a:pt x="6323714" y="1037510"/>
                  <a:pt x="6360624" y="1000600"/>
                  <a:pt x="6360624" y="955108"/>
                </a:cubicBezTo>
                <a:moveTo>
                  <a:pt x="6234856" y="822656"/>
                </a:moveTo>
                <a:cubicBezTo>
                  <a:pt x="6234856" y="777164"/>
                  <a:pt x="6197946" y="740254"/>
                  <a:pt x="6152454" y="740254"/>
                </a:cubicBezTo>
                <a:cubicBezTo>
                  <a:pt x="6106962" y="740254"/>
                  <a:pt x="6070052" y="777164"/>
                  <a:pt x="6070052" y="822656"/>
                </a:cubicBezTo>
                <a:cubicBezTo>
                  <a:pt x="6070052" y="868148"/>
                  <a:pt x="6106962" y="905059"/>
                  <a:pt x="6152454" y="905059"/>
                </a:cubicBezTo>
                <a:cubicBezTo>
                  <a:pt x="6197946" y="905059"/>
                  <a:pt x="6234856" y="868148"/>
                  <a:pt x="6234856" y="822656"/>
                </a:cubicBezTo>
                <a:moveTo>
                  <a:pt x="6104531" y="694610"/>
                </a:moveTo>
                <a:cubicBezTo>
                  <a:pt x="6104531" y="649118"/>
                  <a:pt x="6067621" y="612208"/>
                  <a:pt x="6022129" y="612208"/>
                </a:cubicBezTo>
                <a:cubicBezTo>
                  <a:pt x="5976637" y="612208"/>
                  <a:pt x="5939727" y="649118"/>
                  <a:pt x="5939727" y="694610"/>
                </a:cubicBezTo>
                <a:cubicBezTo>
                  <a:pt x="5939727" y="740102"/>
                  <a:pt x="5976637" y="777012"/>
                  <a:pt x="6022129" y="777012"/>
                </a:cubicBezTo>
                <a:cubicBezTo>
                  <a:pt x="6067697" y="777012"/>
                  <a:pt x="6104531" y="740102"/>
                  <a:pt x="6104531" y="694610"/>
                </a:cubicBezTo>
                <a:moveTo>
                  <a:pt x="5969422" y="571120"/>
                </a:moveTo>
                <a:cubicBezTo>
                  <a:pt x="5969422" y="525932"/>
                  <a:pt x="5932816" y="489326"/>
                  <a:pt x="5887627" y="489326"/>
                </a:cubicBezTo>
                <a:cubicBezTo>
                  <a:pt x="5842439" y="489326"/>
                  <a:pt x="5805757" y="525932"/>
                  <a:pt x="5805757" y="571120"/>
                </a:cubicBezTo>
                <a:cubicBezTo>
                  <a:pt x="5805757" y="616309"/>
                  <a:pt x="5842363" y="652991"/>
                  <a:pt x="5887627" y="652991"/>
                </a:cubicBezTo>
                <a:cubicBezTo>
                  <a:pt x="5932740" y="652915"/>
                  <a:pt x="5969422" y="616309"/>
                  <a:pt x="5969422" y="571120"/>
                </a:cubicBezTo>
                <a:moveTo>
                  <a:pt x="5830591" y="452339"/>
                </a:moveTo>
                <a:cubicBezTo>
                  <a:pt x="5830591" y="407151"/>
                  <a:pt x="5793985" y="370545"/>
                  <a:pt x="5748797" y="370545"/>
                </a:cubicBezTo>
                <a:cubicBezTo>
                  <a:pt x="5703608" y="370545"/>
                  <a:pt x="5666926" y="407151"/>
                  <a:pt x="5666926" y="452339"/>
                </a:cubicBezTo>
                <a:cubicBezTo>
                  <a:pt x="5666926" y="497528"/>
                  <a:pt x="5703532" y="534210"/>
                  <a:pt x="5748797" y="534210"/>
                </a:cubicBezTo>
                <a:cubicBezTo>
                  <a:pt x="5793909" y="534210"/>
                  <a:pt x="5830591" y="497528"/>
                  <a:pt x="5830591" y="452339"/>
                </a:cubicBezTo>
                <a:moveTo>
                  <a:pt x="5686672" y="338419"/>
                </a:moveTo>
                <a:cubicBezTo>
                  <a:pt x="5686672" y="293838"/>
                  <a:pt x="5650521" y="257688"/>
                  <a:pt x="5605941" y="257688"/>
                </a:cubicBezTo>
                <a:cubicBezTo>
                  <a:pt x="5561360" y="257688"/>
                  <a:pt x="5525209" y="293838"/>
                  <a:pt x="5525209" y="338419"/>
                </a:cubicBezTo>
                <a:cubicBezTo>
                  <a:pt x="5525209" y="383000"/>
                  <a:pt x="5561360" y="419151"/>
                  <a:pt x="5605941" y="419151"/>
                </a:cubicBezTo>
                <a:cubicBezTo>
                  <a:pt x="5650521" y="419151"/>
                  <a:pt x="5686672" y="383000"/>
                  <a:pt x="5686672" y="338419"/>
                </a:cubicBezTo>
                <a:moveTo>
                  <a:pt x="5539411" y="229587"/>
                </a:moveTo>
                <a:cubicBezTo>
                  <a:pt x="5539411" y="185310"/>
                  <a:pt x="5503564" y="149463"/>
                  <a:pt x="5459287" y="149463"/>
                </a:cubicBezTo>
                <a:cubicBezTo>
                  <a:pt x="5415010" y="149463"/>
                  <a:pt x="5379163" y="185386"/>
                  <a:pt x="5379163" y="229587"/>
                </a:cubicBezTo>
                <a:cubicBezTo>
                  <a:pt x="5379163" y="273864"/>
                  <a:pt x="5415010" y="309711"/>
                  <a:pt x="5459287" y="309711"/>
                </a:cubicBezTo>
                <a:cubicBezTo>
                  <a:pt x="5503564" y="309711"/>
                  <a:pt x="5539411" y="273788"/>
                  <a:pt x="5539411" y="229587"/>
                </a:cubicBezTo>
                <a:moveTo>
                  <a:pt x="5387973" y="125768"/>
                </a:moveTo>
                <a:cubicBezTo>
                  <a:pt x="5387973" y="82174"/>
                  <a:pt x="5352582" y="46783"/>
                  <a:pt x="5308988" y="46783"/>
                </a:cubicBezTo>
                <a:cubicBezTo>
                  <a:pt x="5265395" y="46783"/>
                  <a:pt x="5230004" y="82174"/>
                  <a:pt x="5230004" y="125768"/>
                </a:cubicBezTo>
                <a:cubicBezTo>
                  <a:pt x="5230004" y="169437"/>
                  <a:pt x="5265395" y="204753"/>
                  <a:pt x="5308988" y="204753"/>
                </a:cubicBezTo>
                <a:cubicBezTo>
                  <a:pt x="5352582" y="204829"/>
                  <a:pt x="5387973" y="169437"/>
                  <a:pt x="5387973" y="125768"/>
                </a:cubicBezTo>
                <a:moveTo>
                  <a:pt x="5082439" y="0"/>
                </a:moveTo>
                <a:cubicBezTo>
                  <a:pt x="5079249" y="8506"/>
                  <a:pt x="5077275" y="17620"/>
                  <a:pt x="5077275" y="27265"/>
                </a:cubicBezTo>
                <a:cubicBezTo>
                  <a:pt x="5077275" y="70251"/>
                  <a:pt x="5112134" y="105186"/>
                  <a:pt x="5155120" y="105186"/>
                </a:cubicBezTo>
                <a:cubicBezTo>
                  <a:pt x="5198106" y="105186"/>
                  <a:pt x="5233041" y="70327"/>
                  <a:pt x="5233041" y="27265"/>
                </a:cubicBezTo>
                <a:cubicBezTo>
                  <a:pt x="5233041" y="17620"/>
                  <a:pt x="5231067" y="8506"/>
                  <a:pt x="5227877" y="0"/>
                </a:cubicBezTo>
                <a:lnTo>
                  <a:pt x="5082439" y="0"/>
                </a:lnTo>
                <a:close/>
                <a:moveTo>
                  <a:pt x="6901214" y="1401143"/>
                </a:moveTo>
                <a:cubicBezTo>
                  <a:pt x="6876152" y="1415953"/>
                  <a:pt x="6859140" y="1442990"/>
                  <a:pt x="6859140" y="1474204"/>
                </a:cubicBezTo>
                <a:cubicBezTo>
                  <a:pt x="6859140" y="1505418"/>
                  <a:pt x="6876152" y="1532455"/>
                  <a:pt x="6901214" y="1547265"/>
                </a:cubicBezTo>
                <a:lnTo>
                  <a:pt x="6901214" y="1401143"/>
                </a:lnTo>
                <a:close/>
                <a:moveTo>
                  <a:pt x="6901214" y="1263072"/>
                </a:moveTo>
                <a:cubicBezTo>
                  <a:pt x="6885569" y="1247503"/>
                  <a:pt x="6864000" y="1237858"/>
                  <a:pt x="6840228" y="1237858"/>
                </a:cubicBezTo>
                <a:cubicBezTo>
                  <a:pt x="6792534" y="1237858"/>
                  <a:pt x="6753877" y="1276515"/>
                  <a:pt x="6753877" y="1324209"/>
                </a:cubicBezTo>
                <a:cubicBezTo>
                  <a:pt x="6753877" y="1371904"/>
                  <a:pt x="6792534" y="1410561"/>
                  <a:pt x="6840228" y="1410561"/>
                </a:cubicBezTo>
                <a:cubicBezTo>
                  <a:pt x="6864000" y="1410561"/>
                  <a:pt x="6885569" y="1400916"/>
                  <a:pt x="6901214" y="1385346"/>
                </a:cubicBezTo>
                <a:lnTo>
                  <a:pt x="6901214" y="1263072"/>
                </a:lnTo>
                <a:close/>
                <a:moveTo>
                  <a:pt x="6818052" y="1177632"/>
                </a:moveTo>
                <a:cubicBezTo>
                  <a:pt x="6818052" y="1129633"/>
                  <a:pt x="6779167" y="1090749"/>
                  <a:pt x="6731169" y="1090749"/>
                </a:cubicBezTo>
                <a:cubicBezTo>
                  <a:pt x="6683170" y="1090749"/>
                  <a:pt x="6644286" y="1129633"/>
                  <a:pt x="6644286" y="1177632"/>
                </a:cubicBezTo>
                <a:cubicBezTo>
                  <a:pt x="6644286" y="1225630"/>
                  <a:pt x="6683170" y="1264515"/>
                  <a:pt x="6731169" y="1264515"/>
                </a:cubicBezTo>
                <a:cubicBezTo>
                  <a:pt x="6779167" y="1264515"/>
                  <a:pt x="6818052" y="1225630"/>
                  <a:pt x="6818052" y="1177632"/>
                </a:cubicBezTo>
                <a:moveTo>
                  <a:pt x="6704739" y="1034852"/>
                </a:moveTo>
                <a:cubicBezTo>
                  <a:pt x="6704739" y="986549"/>
                  <a:pt x="6665551" y="947361"/>
                  <a:pt x="6617249" y="947361"/>
                </a:cubicBezTo>
                <a:cubicBezTo>
                  <a:pt x="6568946" y="947361"/>
                  <a:pt x="6529758" y="986549"/>
                  <a:pt x="6529758" y="1034852"/>
                </a:cubicBezTo>
                <a:cubicBezTo>
                  <a:pt x="6529758" y="1083154"/>
                  <a:pt x="6568946" y="1122343"/>
                  <a:pt x="6617249" y="1122343"/>
                </a:cubicBezTo>
                <a:cubicBezTo>
                  <a:pt x="6665627" y="1122343"/>
                  <a:pt x="6704739" y="1083154"/>
                  <a:pt x="6704739" y="1034852"/>
                </a:cubicBezTo>
                <a:moveTo>
                  <a:pt x="6586718" y="895869"/>
                </a:moveTo>
                <a:cubicBezTo>
                  <a:pt x="6586718" y="847263"/>
                  <a:pt x="6547302" y="807847"/>
                  <a:pt x="6498696" y="807847"/>
                </a:cubicBezTo>
                <a:cubicBezTo>
                  <a:pt x="6450089" y="807847"/>
                  <a:pt x="6410673" y="847263"/>
                  <a:pt x="6410673" y="895869"/>
                </a:cubicBezTo>
                <a:cubicBezTo>
                  <a:pt x="6410673" y="944475"/>
                  <a:pt x="6450089" y="983891"/>
                  <a:pt x="6498696" y="983891"/>
                </a:cubicBezTo>
                <a:cubicBezTo>
                  <a:pt x="6547302" y="983891"/>
                  <a:pt x="6586718" y="944475"/>
                  <a:pt x="6586718" y="895869"/>
                </a:cubicBezTo>
                <a:moveTo>
                  <a:pt x="6463608" y="760911"/>
                </a:moveTo>
                <a:cubicBezTo>
                  <a:pt x="6463608" y="712305"/>
                  <a:pt x="6424192" y="672889"/>
                  <a:pt x="6375586" y="672889"/>
                </a:cubicBezTo>
                <a:cubicBezTo>
                  <a:pt x="6326980" y="672889"/>
                  <a:pt x="6287564" y="712305"/>
                  <a:pt x="6287564" y="760911"/>
                </a:cubicBezTo>
                <a:cubicBezTo>
                  <a:pt x="6287564" y="809517"/>
                  <a:pt x="6326980" y="848934"/>
                  <a:pt x="6375586" y="848934"/>
                </a:cubicBezTo>
                <a:cubicBezTo>
                  <a:pt x="6424192" y="849010"/>
                  <a:pt x="6463608" y="809593"/>
                  <a:pt x="6463608" y="760911"/>
                </a:cubicBezTo>
                <a:moveTo>
                  <a:pt x="6336625" y="630131"/>
                </a:moveTo>
                <a:cubicBezTo>
                  <a:pt x="6336625" y="581221"/>
                  <a:pt x="6296981" y="541501"/>
                  <a:pt x="6247995" y="541501"/>
                </a:cubicBezTo>
                <a:cubicBezTo>
                  <a:pt x="6199085" y="541501"/>
                  <a:pt x="6159365" y="581145"/>
                  <a:pt x="6159365" y="630131"/>
                </a:cubicBezTo>
                <a:cubicBezTo>
                  <a:pt x="6159365" y="679041"/>
                  <a:pt x="6199009" y="718761"/>
                  <a:pt x="6247995" y="718761"/>
                </a:cubicBezTo>
                <a:cubicBezTo>
                  <a:pt x="6296981" y="718761"/>
                  <a:pt x="6336625" y="679117"/>
                  <a:pt x="6336625" y="630131"/>
                </a:cubicBezTo>
                <a:moveTo>
                  <a:pt x="6204250" y="503679"/>
                </a:moveTo>
                <a:cubicBezTo>
                  <a:pt x="6204250" y="455074"/>
                  <a:pt x="6164833" y="415657"/>
                  <a:pt x="6116227" y="415657"/>
                </a:cubicBezTo>
                <a:cubicBezTo>
                  <a:pt x="6067621" y="415657"/>
                  <a:pt x="6028205" y="455074"/>
                  <a:pt x="6028205" y="503679"/>
                </a:cubicBezTo>
                <a:cubicBezTo>
                  <a:pt x="6028205" y="552285"/>
                  <a:pt x="6067621" y="591702"/>
                  <a:pt x="6116227" y="591702"/>
                </a:cubicBezTo>
                <a:cubicBezTo>
                  <a:pt x="6164833" y="591778"/>
                  <a:pt x="6204250" y="552361"/>
                  <a:pt x="6204250" y="503679"/>
                </a:cubicBezTo>
                <a:moveTo>
                  <a:pt x="6068305" y="381709"/>
                </a:moveTo>
                <a:cubicBezTo>
                  <a:pt x="6068305" y="333103"/>
                  <a:pt x="6028889" y="293686"/>
                  <a:pt x="5980282" y="293686"/>
                </a:cubicBezTo>
                <a:cubicBezTo>
                  <a:pt x="5931677" y="293686"/>
                  <a:pt x="5892260" y="333103"/>
                  <a:pt x="5892260" y="381709"/>
                </a:cubicBezTo>
                <a:cubicBezTo>
                  <a:pt x="5892260" y="430315"/>
                  <a:pt x="5931677" y="469731"/>
                  <a:pt x="5980282" y="469731"/>
                </a:cubicBezTo>
                <a:cubicBezTo>
                  <a:pt x="6028889" y="469731"/>
                  <a:pt x="6068305" y="430315"/>
                  <a:pt x="6068305" y="381709"/>
                </a:cubicBezTo>
                <a:moveTo>
                  <a:pt x="5927803" y="264295"/>
                </a:moveTo>
                <a:cubicBezTo>
                  <a:pt x="5927803" y="215993"/>
                  <a:pt x="5888615" y="176804"/>
                  <a:pt x="5840312" y="176804"/>
                </a:cubicBezTo>
                <a:cubicBezTo>
                  <a:pt x="5792010" y="176804"/>
                  <a:pt x="5752822" y="215993"/>
                  <a:pt x="5752822" y="264295"/>
                </a:cubicBezTo>
                <a:cubicBezTo>
                  <a:pt x="5752822" y="312597"/>
                  <a:pt x="5792010" y="351786"/>
                  <a:pt x="5840312" y="351786"/>
                </a:cubicBezTo>
                <a:cubicBezTo>
                  <a:pt x="5888615" y="351786"/>
                  <a:pt x="5927803" y="312597"/>
                  <a:pt x="5927803" y="264295"/>
                </a:cubicBezTo>
                <a:moveTo>
                  <a:pt x="5783428" y="151590"/>
                </a:moveTo>
                <a:cubicBezTo>
                  <a:pt x="5783428" y="103591"/>
                  <a:pt x="5744544" y="64707"/>
                  <a:pt x="5696545" y="64707"/>
                </a:cubicBezTo>
                <a:cubicBezTo>
                  <a:pt x="5648547" y="64707"/>
                  <a:pt x="5609662" y="103591"/>
                  <a:pt x="5609662" y="151590"/>
                </a:cubicBezTo>
                <a:cubicBezTo>
                  <a:pt x="5609662" y="199588"/>
                  <a:pt x="5648547" y="238473"/>
                  <a:pt x="5696545" y="238473"/>
                </a:cubicBezTo>
                <a:cubicBezTo>
                  <a:pt x="5744544" y="238473"/>
                  <a:pt x="5783428" y="199588"/>
                  <a:pt x="5783428" y="151590"/>
                </a:cubicBezTo>
                <a:moveTo>
                  <a:pt x="5475692" y="0"/>
                </a:moveTo>
                <a:cubicBezTo>
                  <a:pt x="5468021" y="12835"/>
                  <a:pt x="5463312" y="27645"/>
                  <a:pt x="5463312" y="43669"/>
                </a:cubicBezTo>
                <a:cubicBezTo>
                  <a:pt x="5463312" y="91060"/>
                  <a:pt x="5501741" y="129413"/>
                  <a:pt x="5549132" y="129413"/>
                </a:cubicBezTo>
                <a:cubicBezTo>
                  <a:pt x="5596523" y="129413"/>
                  <a:pt x="5634952" y="90984"/>
                  <a:pt x="5634952" y="43669"/>
                </a:cubicBezTo>
                <a:cubicBezTo>
                  <a:pt x="5634952" y="27645"/>
                  <a:pt x="5630244" y="12835"/>
                  <a:pt x="5622573" y="0"/>
                </a:cubicBezTo>
                <a:lnTo>
                  <a:pt x="5475692" y="0"/>
                </a:lnTo>
                <a:close/>
                <a:moveTo>
                  <a:pt x="6901214" y="1042067"/>
                </a:moveTo>
                <a:cubicBezTo>
                  <a:pt x="6872278" y="1057864"/>
                  <a:pt x="6852380" y="1088166"/>
                  <a:pt x="6852380" y="1123482"/>
                </a:cubicBezTo>
                <a:cubicBezTo>
                  <a:pt x="6852380" y="1158797"/>
                  <a:pt x="6872278" y="1189100"/>
                  <a:pt x="6901214" y="1204897"/>
                </a:cubicBezTo>
                <a:lnTo>
                  <a:pt x="6901214" y="1042067"/>
                </a:lnTo>
                <a:close/>
                <a:moveTo>
                  <a:pt x="6901214" y="913033"/>
                </a:moveTo>
                <a:cubicBezTo>
                  <a:pt x="6884126" y="895565"/>
                  <a:pt x="6860278" y="884629"/>
                  <a:pt x="6833925" y="884629"/>
                </a:cubicBezTo>
                <a:cubicBezTo>
                  <a:pt x="6781901" y="884629"/>
                  <a:pt x="6739675" y="926855"/>
                  <a:pt x="6739675" y="978879"/>
                </a:cubicBezTo>
                <a:cubicBezTo>
                  <a:pt x="6739675" y="1030903"/>
                  <a:pt x="6781901" y="1073129"/>
                  <a:pt x="6833925" y="1073129"/>
                </a:cubicBezTo>
                <a:cubicBezTo>
                  <a:pt x="6860278" y="1073129"/>
                  <a:pt x="6884126" y="1062193"/>
                  <a:pt x="6901214" y="1044725"/>
                </a:cubicBezTo>
                <a:lnTo>
                  <a:pt x="6901214" y="913033"/>
                </a:lnTo>
                <a:moveTo>
                  <a:pt x="6812584" y="837922"/>
                </a:moveTo>
                <a:cubicBezTo>
                  <a:pt x="6812584" y="785594"/>
                  <a:pt x="6770130" y="743140"/>
                  <a:pt x="6717802" y="743140"/>
                </a:cubicBezTo>
                <a:cubicBezTo>
                  <a:pt x="6665399" y="743140"/>
                  <a:pt x="6623021" y="785594"/>
                  <a:pt x="6623021" y="837922"/>
                </a:cubicBezTo>
                <a:cubicBezTo>
                  <a:pt x="6623021" y="890325"/>
                  <a:pt x="6665475" y="932703"/>
                  <a:pt x="6717802" y="932703"/>
                </a:cubicBezTo>
                <a:cubicBezTo>
                  <a:pt x="6770130" y="932703"/>
                  <a:pt x="6812584" y="890249"/>
                  <a:pt x="6812584" y="837922"/>
                </a:cubicBezTo>
                <a:moveTo>
                  <a:pt x="6691980" y="700686"/>
                </a:moveTo>
                <a:cubicBezTo>
                  <a:pt x="6691980" y="648358"/>
                  <a:pt x="6649526" y="605904"/>
                  <a:pt x="6597198" y="605904"/>
                </a:cubicBezTo>
                <a:cubicBezTo>
                  <a:pt x="6544795" y="605904"/>
                  <a:pt x="6502417" y="648358"/>
                  <a:pt x="6502417" y="700686"/>
                </a:cubicBezTo>
                <a:cubicBezTo>
                  <a:pt x="6502417" y="753089"/>
                  <a:pt x="6544871" y="795467"/>
                  <a:pt x="6597198" y="795467"/>
                </a:cubicBezTo>
                <a:cubicBezTo>
                  <a:pt x="6649526" y="795543"/>
                  <a:pt x="6691980" y="753089"/>
                  <a:pt x="6691980" y="700686"/>
                </a:cubicBezTo>
                <a:moveTo>
                  <a:pt x="6567579" y="567475"/>
                </a:moveTo>
                <a:cubicBezTo>
                  <a:pt x="6567579" y="514768"/>
                  <a:pt x="6524897" y="472086"/>
                  <a:pt x="6472190" y="472086"/>
                </a:cubicBezTo>
                <a:cubicBezTo>
                  <a:pt x="6419559" y="472086"/>
                  <a:pt x="6376801" y="514768"/>
                  <a:pt x="6376801" y="567475"/>
                </a:cubicBezTo>
                <a:cubicBezTo>
                  <a:pt x="6376801" y="620182"/>
                  <a:pt x="6419483" y="662864"/>
                  <a:pt x="6472190" y="662864"/>
                </a:cubicBezTo>
                <a:cubicBezTo>
                  <a:pt x="6524821" y="662864"/>
                  <a:pt x="6567579" y="620182"/>
                  <a:pt x="6567579" y="567475"/>
                </a:cubicBezTo>
                <a:moveTo>
                  <a:pt x="6438394" y="438289"/>
                </a:moveTo>
                <a:cubicBezTo>
                  <a:pt x="6438394" y="385582"/>
                  <a:pt x="6395712" y="342900"/>
                  <a:pt x="6343005" y="342900"/>
                </a:cubicBezTo>
                <a:cubicBezTo>
                  <a:pt x="6290374" y="342900"/>
                  <a:pt x="6247615" y="385582"/>
                  <a:pt x="6247615" y="438289"/>
                </a:cubicBezTo>
                <a:cubicBezTo>
                  <a:pt x="6247615" y="490996"/>
                  <a:pt x="6290297" y="533679"/>
                  <a:pt x="6343005" y="533679"/>
                </a:cubicBezTo>
                <a:cubicBezTo>
                  <a:pt x="6395712" y="533679"/>
                  <a:pt x="6438394" y="490996"/>
                  <a:pt x="6438394" y="438289"/>
                </a:cubicBezTo>
                <a:moveTo>
                  <a:pt x="6304576" y="313357"/>
                </a:moveTo>
                <a:cubicBezTo>
                  <a:pt x="6304576" y="261029"/>
                  <a:pt x="6262121" y="218575"/>
                  <a:pt x="6209794" y="218575"/>
                </a:cubicBezTo>
                <a:cubicBezTo>
                  <a:pt x="6157391" y="218575"/>
                  <a:pt x="6115012" y="261029"/>
                  <a:pt x="6115012" y="313357"/>
                </a:cubicBezTo>
                <a:cubicBezTo>
                  <a:pt x="6115012" y="365760"/>
                  <a:pt x="6157467" y="408138"/>
                  <a:pt x="6209794" y="408138"/>
                </a:cubicBezTo>
                <a:cubicBezTo>
                  <a:pt x="6262121" y="408138"/>
                  <a:pt x="6304576" y="365684"/>
                  <a:pt x="6304576" y="313357"/>
                </a:cubicBezTo>
                <a:moveTo>
                  <a:pt x="6167416" y="192753"/>
                </a:moveTo>
                <a:cubicBezTo>
                  <a:pt x="6167416" y="140426"/>
                  <a:pt x="6124961" y="97971"/>
                  <a:pt x="6072634" y="97971"/>
                </a:cubicBezTo>
                <a:cubicBezTo>
                  <a:pt x="6020231" y="97971"/>
                  <a:pt x="5977852" y="140426"/>
                  <a:pt x="5977852" y="192753"/>
                </a:cubicBezTo>
                <a:cubicBezTo>
                  <a:pt x="5977852" y="245156"/>
                  <a:pt x="6020307" y="287535"/>
                  <a:pt x="6072634" y="287535"/>
                </a:cubicBezTo>
                <a:cubicBezTo>
                  <a:pt x="6124961" y="287535"/>
                  <a:pt x="6167416" y="245080"/>
                  <a:pt x="6167416" y="192753"/>
                </a:cubicBezTo>
                <a:moveTo>
                  <a:pt x="5876919" y="0"/>
                </a:moveTo>
                <a:cubicBezTo>
                  <a:pt x="5853071" y="17088"/>
                  <a:pt x="5837350" y="44885"/>
                  <a:pt x="5837350" y="76554"/>
                </a:cubicBezTo>
                <a:cubicBezTo>
                  <a:pt x="5837350" y="128578"/>
                  <a:pt x="5879577" y="170804"/>
                  <a:pt x="5931601" y="170804"/>
                </a:cubicBezTo>
                <a:cubicBezTo>
                  <a:pt x="5983624" y="170804"/>
                  <a:pt x="6025851" y="128654"/>
                  <a:pt x="6025851" y="76554"/>
                </a:cubicBezTo>
                <a:cubicBezTo>
                  <a:pt x="6025851" y="44961"/>
                  <a:pt x="6010129" y="17088"/>
                  <a:pt x="5986282" y="0"/>
                </a:cubicBezTo>
                <a:lnTo>
                  <a:pt x="5876919" y="0"/>
                </a:lnTo>
                <a:close/>
                <a:moveTo>
                  <a:pt x="5700798" y="0"/>
                </a:moveTo>
                <a:cubicBezTo>
                  <a:pt x="5714621" y="34024"/>
                  <a:pt x="5747961" y="58099"/>
                  <a:pt x="5786922" y="58099"/>
                </a:cubicBezTo>
                <a:cubicBezTo>
                  <a:pt x="5825958" y="58099"/>
                  <a:pt x="5859223" y="34100"/>
                  <a:pt x="5873122" y="0"/>
                </a:cubicBezTo>
                <a:lnTo>
                  <a:pt x="5700798" y="0"/>
                </a:lnTo>
                <a:close/>
                <a:moveTo>
                  <a:pt x="6901214" y="686332"/>
                </a:moveTo>
                <a:cubicBezTo>
                  <a:pt x="6862405" y="700458"/>
                  <a:pt x="6834532" y="737292"/>
                  <a:pt x="6834532" y="780961"/>
                </a:cubicBezTo>
                <a:cubicBezTo>
                  <a:pt x="6834532" y="824631"/>
                  <a:pt x="6862405" y="861541"/>
                  <a:pt x="6901214" y="875591"/>
                </a:cubicBezTo>
                <a:lnTo>
                  <a:pt x="6901214" y="686332"/>
                </a:lnTo>
                <a:close/>
                <a:moveTo>
                  <a:pt x="6901214" y="584639"/>
                </a:moveTo>
                <a:cubicBezTo>
                  <a:pt x="6882911" y="557830"/>
                  <a:pt x="6852152" y="540210"/>
                  <a:pt x="6817293" y="540210"/>
                </a:cubicBezTo>
                <a:cubicBezTo>
                  <a:pt x="6761168" y="540210"/>
                  <a:pt x="6715676" y="585702"/>
                  <a:pt x="6715676" y="641827"/>
                </a:cubicBezTo>
                <a:cubicBezTo>
                  <a:pt x="6715676" y="697952"/>
                  <a:pt x="6761168" y="743444"/>
                  <a:pt x="6817293" y="743444"/>
                </a:cubicBezTo>
                <a:cubicBezTo>
                  <a:pt x="6852228" y="743444"/>
                  <a:pt x="6882986" y="725824"/>
                  <a:pt x="6901214" y="699015"/>
                </a:cubicBezTo>
                <a:lnTo>
                  <a:pt x="6901214" y="584639"/>
                </a:lnTo>
                <a:moveTo>
                  <a:pt x="6796331" y="506262"/>
                </a:moveTo>
                <a:cubicBezTo>
                  <a:pt x="6796331" y="450137"/>
                  <a:pt x="6750839" y="404645"/>
                  <a:pt x="6694714" y="404645"/>
                </a:cubicBezTo>
                <a:cubicBezTo>
                  <a:pt x="6638590" y="404645"/>
                  <a:pt x="6593098" y="450137"/>
                  <a:pt x="6593098" y="506262"/>
                </a:cubicBezTo>
                <a:cubicBezTo>
                  <a:pt x="6593098" y="562386"/>
                  <a:pt x="6638590" y="607879"/>
                  <a:pt x="6694714" y="607879"/>
                </a:cubicBezTo>
                <a:cubicBezTo>
                  <a:pt x="6750915" y="607879"/>
                  <a:pt x="6796331" y="562386"/>
                  <a:pt x="6796331" y="506262"/>
                </a:cubicBezTo>
                <a:moveTo>
                  <a:pt x="6669728" y="374646"/>
                </a:moveTo>
                <a:cubicBezTo>
                  <a:pt x="6669728" y="318521"/>
                  <a:pt x="6624236" y="273029"/>
                  <a:pt x="6568111" y="273029"/>
                </a:cubicBezTo>
                <a:cubicBezTo>
                  <a:pt x="6511986" y="273029"/>
                  <a:pt x="6466494" y="318521"/>
                  <a:pt x="6466494" y="374646"/>
                </a:cubicBezTo>
                <a:cubicBezTo>
                  <a:pt x="6466494" y="430771"/>
                  <a:pt x="6511986" y="476263"/>
                  <a:pt x="6568111" y="476263"/>
                </a:cubicBezTo>
                <a:cubicBezTo>
                  <a:pt x="6624236" y="476263"/>
                  <a:pt x="6669728" y="430771"/>
                  <a:pt x="6669728" y="374646"/>
                </a:cubicBezTo>
                <a:moveTo>
                  <a:pt x="6539099" y="246979"/>
                </a:moveTo>
                <a:cubicBezTo>
                  <a:pt x="6539099" y="190854"/>
                  <a:pt x="6493607" y="145362"/>
                  <a:pt x="6437483" y="145362"/>
                </a:cubicBezTo>
                <a:cubicBezTo>
                  <a:pt x="6381358" y="145362"/>
                  <a:pt x="6335866" y="190854"/>
                  <a:pt x="6335866" y="246979"/>
                </a:cubicBezTo>
                <a:cubicBezTo>
                  <a:pt x="6335866" y="303104"/>
                  <a:pt x="6381358" y="348596"/>
                  <a:pt x="6437483" y="348596"/>
                </a:cubicBezTo>
                <a:cubicBezTo>
                  <a:pt x="6493607" y="348596"/>
                  <a:pt x="6539099" y="303104"/>
                  <a:pt x="6539099" y="246979"/>
                </a:cubicBezTo>
                <a:moveTo>
                  <a:pt x="6404521" y="123414"/>
                </a:moveTo>
                <a:cubicBezTo>
                  <a:pt x="6404521" y="67289"/>
                  <a:pt x="6359029" y="21797"/>
                  <a:pt x="6302904" y="21797"/>
                </a:cubicBezTo>
                <a:cubicBezTo>
                  <a:pt x="6246780" y="21797"/>
                  <a:pt x="6201288" y="67289"/>
                  <a:pt x="6201288" y="123414"/>
                </a:cubicBezTo>
                <a:cubicBezTo>
                  <a:pt x="6201288" y="179538"/>
                  <a:pt x="6246780" y="225031"/>
                  <a:pt x="6302904" y="225031"/>
                </a:cubicBezTo>
                <a:cubicBezTo>
                  <a:pt x="6359029" y="225031"/>
                  <a:pt x="6404521" y="179538"/>
                  <a:pt x="6404521" y="123414"/>
                </a:cubicBezTo>
                <a:moveTo>
                  <a:pt x="6064052" y="0"/>
                </a:moveTo>
                <a:cubicBezTo>
                  <a:pt x="6063976" y="1367"/>
                  <a:pt x="6063596" y="2658"/>
                  <a:pt x="6063596" y="4101"/>
                </a:cubicBezTo>
                <a:cubicBezTo>
                  <a:pt x="6063596" y="59922"/>
                  <a:pt x="6108860" y="105110"/>
                  <a:pt x="6164606" y="105110"/>
                </a:cubicBezTo>
                <a:cubicBezTo>
                  <a:pt x="6220426" y="105110"/>
                  <a:pt x="6265615" y="59846"/>
                  <a:pt x="6265615" y="4101"/>
                </a:cubicBezTo>
                <a:cubicBezTo>
                  <a:pt x="6265615" y="2734"/>
                  <a:pt x="6265235" y="1443"/>
                  <a:pt x="6265235" y="0"/>
                </a:cubicBezTo>
                <a:lnTo>
                  <a:pt x="6064052" y="0"/>
                </a:lnTo>
                <a:close/>
                <a:moveTo>
                  <a:pt x="6901214" y="339558"/>
                </a:moveTo>
                <a:cubicBezTo>
                  <a:pt x="6848431" y="346849"/>
                  <a:pt x="6807571" y="391658"/>
                  <a:pt x="6807571" y="446416"/>
                </a:cubicBezTo>
                <a:cubicBezTo>
                  <a:pt x="6807571" y="501249"/>
                  <a:pt x="6848355" y="546058"/>
                  <a:pt x="6901214" y="553273"/>
                </a:cubicBezTo>
                <a:lnTo>
                  <a:pt x="6901214" y="339558"/>
                </a:lnTo>
                <a:close/>
                <a:moveTo>
                  <a:pt x="6900606" y="312521"/>
                </a:moveTo>
                <a:cubicBezTo>
                  <a:pt x="6900606" y="252371"/>
                  <a:pt x="6851848" y="203614"/>
                  <a:pt x="6791699" y="203614"/>
                </a:cubicBezTo>
                <a:cubicBezTo>
                  <a:pt x="6731548" y="203614"/>
                  <a:pt x="6682791" y="252371"/>
                  <a:pt x="6682791" y="312521"/>
                </a:cubicBezTo>
                <a:cubicBezTo>
                  <a:pt x="6682791" y="372671"/>
                  <a:pt x="6731548" y="421429"/>
                  <a:pt x="6791699" y="421429"/>
                </a:cubicBezTo>
                <a:cubicBezTo>
                  <a:pt x="6851848" y="421429"/>
                  <a:pt x="6900606" y="372671"/>
                  <a:pt x="6900606" y="312521"/>
                </a:cubicBezTo>
                <a:moveTo>
                  <a:pt x="6772408" y="182348"/>
                </a:moveTo>
                <a:cubicBezTo>
                  <a:pt x="6772408" y="122198"/>
                  <a:pt x="6723650" y="73441"/>
                  <a:pt x="6663500" y="73441"/>
                </a:cubicBezTo>
                <a:cubicBezTo>
                  <a:pt x="6603350" y="73441"/>
                  <a:pt x="6554592" y="122198"/>
                  <a:pt x="6554592" y="182348"/>
                </a:cubicBezTo>
                <a:cubicBezTo>
                  <a:pt x="6554592" y="242498"/>
                  <a:pt x="6603350" y="291256"/>
                  <a:pt x="6663500" y="291256"/>
                </a:cubicBezTo>
                <a:cubicBezTo>
                  <a:pt x="6723650" y="291332"/>
                  <a:pt x="6772408" y="242498"/>
                  <a:pt x="6772408" y="182348"/>
                </a:cubicBezTo>
                <a:moveTo>
                  <a:pt x="6438546" y="0"/>
                </a:moveTo>
                <a:cubicBezTo>
                  <a:pt x="6428597" y="16405"/>
                  <a:pt x="6422521" y="35543"/>
                  <a:pt x="6422521" y="56125"/>
                </a:cubicBezTo>
                <a:cubicBezTo>
                  <a:pt x="6422521" y="116275"/>
                  <a:pt x="6471279" y="165033"/>
                  <a:pt x="6531429" y="165033"/>
                </a:cubicBezTo>
                <a:cubicBezTo>
                  <a:pt x="6591578" y="165033"/>
                  <a:pt x="6640337" y="116275"/>
                  <a:pt x="6640337" y="56125"/>
                </a:cubicBezTo>
                <a:cubicBezTo>
                  <a:pt x="6640337" y="35543"/>
                  <a:pt x="6634261" y="16405"/>
                  <a:pt x="6624312" y="0"/>
                </a:cubicBezTo>
                <a:lnTo>
                  <a:pt x="6438546" y="0"/>
                </a:lnTo>
                <a:close/>
                <a:moveTo>
                  <a:pt x="6310424" y="0"/>
                </a:moveTo>
                <a:cubicBezTo>
                  <a:pt x="6330246" y="25518"/>
                  <a:pt x="6360928" y="42226"/>
                  <a:pt x="6395712" y="42226"/>
                </a:cubicBezTo>
                <a:cubicBezTo>
                  <a:pt x="6430571" y="42226"/>
                  <a:pt x="6461178" y="25518"/>
                  <a:pt x="6481000" y="0"/>
                </a:cubicBezTo>
                <a:lnTo>
                  <a:pt x="6310424" y="0"/>
                </a:lnTo>
                <a:close/>
                <a:moveTo>
                  <a:pt x="6901214" y="4405"/>
                </a:moveTo>
                <a:cubicBezTo>
                  <a:pt x="6896809" y="3873"/>
                  <a:pt x="6892480" y="3114"/>
                  <a:pt x="6887999" y="3114"/>
                </a:cubicBezTo>
                <a:cubicBezTo>
                  <a:pt x="6823824" y="3114"/>
                  <a:pt x="6771725" y="55137"/>
                  <a:pt x="6771725" y="119388"/>
                </a:cubicBezTo>
                <a:cubicBezTo>
                  <a:pt x="6771725" y="183564"/>
                  <a:pt x="6823748" y="235663"/>
                  <a:pt x="6887999" y="235663"/>
                </a:cubicBezTo>
                <a:cubicBezTo>
                  <a:pt x="6892556" y="235663"/>
                  <a:pt x="6896809" y="234828"/>
                  <a:pt x="6901214" y="234296"/>
                </a:cubicBezTo>
                <a:lnTo>
                  <a:pt x="6901214" y="4405"/>
                </a:lnTo>
                <a:close/>
                <a:moveTo>
                  <a:pt x="6643071" y="0"/>
                </a:moveTo>
                <a:cubicBezTo>
                  <a:pt x="6647931" y="59770"/>
                  <a:pt x="6697372" y="106857"/>
                  <a:pt x="6758358" y="106857"/>
                </a:cubicBezTo>
                <a:cubicBezTo>
                  <a:pt x="6819343" y="106857"/>
                  <a:pt x="6868784" y="59694"/>
                  <a:pt x="6873645" y="0"/>
                </a:cubicBezTo>
                <a:lnTo>
                  <a:pt x="6643071" y="0"/>
                </a:lnTo>
                <a:close/>
              </a:path>
            </a:pathLst>
          </a:custGeom>
          <a:solidFill>
            <a:srgbClr val="6E99D0">
              <a:alpha val="24000"/>
            </a:srgbClr>
          </a:solidFill>
          <a:ln w="7586" cap="flat">
            <a:noFill/>
            <a:prstDash val="solid"/>
            <a:miter/>
          </a:ln>
        </p:spPr>
        <p:txBody>
          <a:bodyPr rtlCol="0" anchor="ctr"/>
          <a:lstStyle/>
          <a:p>
            <a:endParaRPr lang="hi-IN"/>
          </a:p>
        </p:txBody>
      </p:sp>
      <p:sp>
        <p:nvSpPr>
          <p:cNvPr id="619" name="Freeform: Shape 618"/>
          <p:cNvSpPr/>
          <p:nvPr/>
        </p:nvSpPr>
        <p:spPr>
          <a:xfrm>
            <a:off x="2518207" y="-9946"/>
            <a:ext cx="699622" cy="1546577"/>
          </a:xfrm>
          <a:custGeom>
            <a:avLst/>
            <a:gdLst>
              <a:gd name="connsiteX0" fmla="*/ 0 w 699622"/>
              <a:gd name="connsiteY0" fmla="*/ 0 h 1542176"/>
              <a:gd name="connsiteX1" fmla="*/ 699622 w 699622"/>
              <a:gd name="connsiteY1" fmla="*/ 1542177 h 1542176"/>
            </a:gdLst>
            <a:ahLst/>
            <a:cxnLst>
              <a:cxn ang="0">
                <a:pos x="connsiteX0" y="connsiteY0"/>
              </a:cxn>
              <a:cxn ang="0">
                <a:pos x="connsiteX1" y="connsiteY1"/>
              </a:cxn>
            </a:cxnLst>
            <a:rect l="l" t="t" r="r" b="b"/>
            <a:pathLst>
              <a:path w="699622" h="1542176">
                <a:moveTo>
                  <a:pt x="0" y="0"/>
                </a:moveTo>
                <a:lnTo>
                  <a:pt x="699622" y="1542177"/>
                </a:lnTo>
              </a:path>
            </a:pathLst>
          </a:custGeom>
          <a:ln w="15363" cap="flat">
            <a:solidFill>
              <a:srgbClr val="224F90"/>
            </a:solidFill>
            <a:prstDash val="solid"/>
            <a:miter/>
          </a:ln>
        </p:spPr>
        <p:txBody>
          <a:bodyPr rtlCol="0" anchor="ctr"/>
          <a:lstStyle/>
          <a:p>
            <a:endParaRPr lang="hi-IN"/>
          </a:p>
        </p:txBody>
      </p:sp>
      <p:sp>
        <p:nvSpPr>
          <p:cNvPr id="620" name="Freeform: Shape 619"/>
          <p:cNvSpPr/>
          <p:nvPr/>
        </p:nvSpPr>
        <p:spPr>
          <a:xfrm>
            <a:off x="3171342" y="1483158"/>
            <a:ext cx="77043" cy="77244"/>
          </a:xfrm>
          <a:custGeom>
            <a:avLst/>
            <a:gdLst>
              <a:gd name="connsiteX0" fmla="*/ 70866 w 77043"/>
              <a:gd name="connsiteY0" fmla="*/ 59398 h 77024"/>
              <a:gd name="connsiteX1" fmla="*/ 17627 w 77043"/>
              <a:gd name="connsiteY1" fmla="*/ 70866 h 77024"/>
              <a:gd name="connsiteX2" fmla="*/ 6159 w 77043"/>
              <a:gd name="connsiteY2" fmla="*/ 17627 h 77024"/>
              <a:gd name="connsiteX3" fmla="*/ 59398 w 77043"/>
              <a:gd name="connsiteY3" fmla="*/ 6159 h 77024"/>
              <a:gd name="connsiteX4" fmla="*/ 70866 w 77043"/>
              <a:gd name="connsiteY4" fmla="*/ 59398 h 77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043" h="77024">
                <a:moveTo>
                  <a:pt x="70866" y="59398"/>
                </a:moveTo>
                <a:cubicBezTo>
                  <a:pt x="59322" y="77245"/>
                  <a:pt x="35475" y="82410"/>
                  <a:pt x="17627" y="70866"/>
                </a:cubicBezTo>
                <a:cubicBezTo>
                  <a:pt x="-220" y="59322"/>
                  <a:pt x="-5385" y="35475"/>
                  <a:pt x="6159" y="17627"/>
                </a:cubicBezTo>
                <a:cubicBezTo>
                  <a:pt x="17703" y="-220"/>
                  <a:pt x="41550" y="-5385"/>
                  <a:pt x="59398" y="6159"/>
                </a:cubicBezTo>
                <a:cubicBezTo>
                  <a:pt x="77321" y="17703"/>
                  <a:pt x="82410" y="41550"/>
                  <a:pt x="70866" y="59398"/>
                </a:cubicBezTo>
                <a:close/>
              </a:path>
            </a:pathLst>
          </a:custGeom>
          <a:noFill/>
          <a:ln w="10227" cap="flat">
            <a:solidFill>
              <a:srgbClr val="72C4EE"/>
            </a:solidFill>
            <a:prstDash val="solid"/>
            <a:miter/>
          </a:ln>
        </p:spPr>
        <p:txBody>
          <a:bodyPr rtlCol="0" anchor="ctr"/>
          <a:lstStyle/>
          <a:p>
            <a:endParaRPr lang="hi-IN"/>
          </a:p>
        </p:txBody>
      </p:sp>
      <p:sp>
        <p:nvSpPr>
          <p:cNvPr id="621" name="Freeform: Shape 620"/>
          <p:cNvSpPr/>
          <p:nvPr/>
        </p:nvSpPr>
        <p:spPr>
          <a:xfrm>
            <a:off x="3176332" y="1488162"/>
            <a:ext cx="67121" cy="67313"/>
          </a:xfrm>
          <a:custGeom>
            <a:avLst/>
            <a:gdLst>
              <a:gd name="connsiteX0" fmla="*/ 61775 w 67121"/>
              <a:gd name="connsiteY0" fmla="*/ 51750 h 67121"/>
              <a:gd name="connsiteX1" fmla="*/ 15372 w 67121"/>
              <a:gd name="connsiteY1" fmla="*/ 61775 h 67121"/>
              <a:gd name="connsiteX2" fmla="*/ 5347 w 67121"/>
              <a:gd name="connsiteY2" fmla="*/ 15372 h 67121"/>
              <a:gd name="connsiteX3" fmla="*/ 51750 w 67121"/>
              <a:gd name="connsiteY3" fmla="*/ 5347 h 67121"/>
              <a:gd name="connsiteX4" fmla="*/ 61775 w 67121"/>
              <a:gd name="connsiteY4" fmla="*/ 51750 h 6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21" h="67121">
                <a:moveTo>
                  <a:pt x="61775" y="51750"/>
                </a:moveTo>
                <a:cubicBezTo>
                  <a:pt x="51674" y="67319"/>
                  <a:pt x="30941" y="71800"/>
                  <a:pt x="15372" y="61775"/>
                </a:cubicBezTo>
                <a:cubicBezTo>
                  <a:pt x="-197" y="51750"/>
                  <a:pt x="-4678" y="30941"/>
                  <a:pt x="5347" y="15372"/>
                </a:cubicBezTo>
                <a:cubicBezTo>
                  <a:pt x="15448" y="-198"/>
                  <a:pt x="36181" y="-4678"/>
                  <a:pt x="51750" y="5347"/>
                </a:cubicBezTo>
                <a:cubicBezTo>
                  <a:pt x="67319" y="15372"/>
                  <a:pt x="71800" y="36181"/>
                  <a:pt x="61775" y="51750"/>
                </a:cubicBezTo>
              </a:path>
            </a:pathLst>
          </a:custGeom>
          <a:solidFill>
            <a:srgbClr val="224F90"/>
          </a:solidFill>
          <a:ln w="7586" cap="flat">
            <a:noFill/>
            <a:prstDash val="solid"/>
            <a:miter/>
          </a:ln>
        </p:spPr>
        <p:txBody>
          <a:bodyPr rtlCol="0" anchor="ctr"/>
          <a:lstStyle/>
          <a:p>
            <a:endParaRPr lang="hi-IN"/>
          </a:p>
        </p:txBody>
      </p:sp>
      <p:sp>
        <p:nvSpPr>
          <p:cNvPr id="622" name="Freeform: Shape 621"/>
          <p:cNvSpPr/>
          <p:nvPr/>
        </p:nvSpPr>
        <p:spPr>
          <a:xfrm>
            <a:off x="3176332" y="1488162"/>
            <a:ext cx="67121" cy="67313"/>
          </a:xfrm>
          <a:custGeom>
            <a:avLst/>
            <a:gdLst>
              <a:gd name="connsiteX0" fmla="*/ 61775 w 67121"/>
              <a:gd name="connsiteY0" fmla="*/ 51750 h 67121"/>
              <a:gd name="connsiteX1" fmla="*/ 15372 w 67121"/>
              <a:gd name="connsiteY1" fmla="*/ 61775 h 67121"/>
              <a:gd name="connsiteX2" fmla="*/ 5347 w 67121"/>
              <a:gd name="connsiteY2" fmla="*/ 15372 h 67121"/>
              <a:gd name="connsiteX3" fmla="*/ 51750 w 67121"/>
              <a:gd name="connsiteY3" fmla="*/ 5347 h 67121"/>
              <a:gd name="connsiteX4" fmla="*/ 61775 w 67121"/>
              <a:gd name="connsiteY4" fmla="*/ 51750 h 6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21" h="67121">
                <a:moveTo>
                  <a:pt x="61775" y="51750"/>
                </a:moveTo>
                <a:cubicBezTo>
                  <a:pt x="51674" y="67319"/>
                  <a:pt x="30941" y="71800"/>
                  <a:pt x="15372" y="61775"/>
                </a:cubicBezTo>
                <a:cubicBezTo>
                  <a:pt x="-197" y="51750"/>
                  <a:pt x="-4678" y="30941"/>
                  <a:pt x="5347" y="15372"/>
                </a:cubicBezTo>
                <a:cubicBezTo>
                  <a:pt x="15448" y="-198"/>
                  <a:pt x="36181" y="-4678"/>
                  <a:pt x="51750" y="5347"/>
                </a:cubicBezTo>
                <a:cubicBezTo>
                  <a:pt x="67319" y="15372"/>
                  <a:pt x="71800" y="36181"/>
                  <a:pt x="61775" y="51750"/>
                </a:cubicBezTo>
                <a:close/>
              </a:path>
            </a:pathLst>
          </a:custGeom>
          <a:noFill/>
          <a:ln w="5113" cap="flat">
            <a:solidFill>
              <a:srgbClr val="C0D9F1"/>
            </a:solidFill>
            <a:prstDash val="solid"/>
            <a:miter/>
          </a:ln>
        </p:spPr>
        <p:txBody>
          <a:bodyPr rtlCol="0" anchor="ctr"/>
          <a:lstStyle/>
          <a:p>
            <a:endParaRPr lang="hi-IN"/>
          </a:p>
        </p:txBody>
      </p:sp>
      <p:sp>
        <p:nvSpPr>
          <p:cNvPr id="623" name="Freeform: Shape 622"/>
          <p:cNvSpPr/>
          <p:nvPr/>
        </p:nvSpPr>
        <p:spPr>
          <a:xfrm>
            <a:off x="3198202" y="1510095"/>
            <a:ext cx="23323" cy="23371"/>
          </a:xfrm>
          <a:custGeom>
            <a:avLst/>
            <a:gdLst>
              <a:gd name="connsiteX0" fmla="*/ 21449 w 23323"/>
              <a:gd name="connsiteY0" fmla="*/ 17956 h 23304"/>
              <a:gd name="connsiteX1" fmla="*/ 5349 w 23323"/>
              <a:gd name="connsiteY1" fmla="*/ 21449 h 23304"/>
              <a:gd name="connsiteX2" fmla="*/ 1855 w 23323"/>
              <a:gd name="connsiteY2" fmla="*/ 5348 h 23304"/>
              <a:gd name="connsiteX3" fmla="*/ 17956 w 23323"/>
              <a:gd name="connsiteY3" fmla="*/ 1855 h 23304"/>
              <a:gd name="connsiteX4" fmla="*/ 21449 w 23323"/>
              <a:gd name="connsiteY4" fmla="*/ 17956 h 23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23" h="23304">
                <a:moveTo>
                  <a:pt x="21449" y="17956"/>
                </a:moveTo>
                <a:cubicBezTo>
                  <a:pt x="17956" y="23348"/>
                  <a:pt x="10741" y="24943"/>
                  <a:pt x="5349" y="21449"/>
                </a:cubicBezTo>
                <a:cubicBezTo>
                  <a:pt x="-44" y="17956"/>
                  <a:pt x="-1639" y="10741"/>
                  <a:pt x="1855" y="5348"/>
                </a:cubicBezTo>
                <a:cubicBezTo>
                  <a:pt x="5349" y="-44"/>
                  <a:pt x="12563" y="-1639"/>
                  <a:pt x="17956" y="1855"/>
                </a:cubicBezTo>
                <a:cubicBezTo>
                  <a:pt x="23424" y="5348"/>
                  <a:pt x="24943" y="12563"/>
                  <a:pt x="21449" y="17956"/>
                </a:cubicBezTo>
              </a:path>
            </a:pathLst>
          </a:custGeom>
          <a:solidFill>
            <a:srgbClr val="D1247C"/>
          </a:solidFill>
          <a:ln w="7586" cap="flat">
            <a:noFill/>
            <a:prstDash val="solid"/>
            <a:miter/>
          </a:ln>
        </p:spPr>
        <p:txBody>
          <a:bodyPr rtlCol="0" anchor="ctr"/>
          <a:lstStyle/>
          <a:p>
            <a:endParaRPr lang="hi-IN"/>
          </a:p>
        </p:txBody>
      </p:sp>
      <p:sp>
        <p:nvSpPr>
          <p:cNvPr id="647" name="Freeform: Shape 646"/>
          <p:cNvSpPr/>
          <p:nvPr/>
        </p:nvSpPr>
        <p:spPr>
          <a:xfrm flipH="1">
            <a:off x="2647696" y="0"/>
            <a:ext cx="3414081" cy="6854724"/>
          </a:xfrm>
          <a:custGeom>
            <a:avLst/>
            <a:gdLst>
              <a:gd name="connsiteX0" fmla="*/ 3414081 w 3414081"/>
              <a:gd name="connsiteY0" fmla="*/ 0 h 6854724"/>
              <a:gd name="connsiteX1" fmla="*/ 1947927 w 3414081"/>
              <a:gd name="connsiteY1" fmla="*/ 0 h 6854724"/>
              <a:gd name="connsiteX2" fmla="*/ 1947735 w 3414081"/>
              <a:gd name="connsiteY2" fmla="*/ 421 h 6854724"/>
              <a:gd name="connsiteX3" fmla="*/ 3169581 w 3414081"/>
              <a:gd name="connsiteY3" fmla="*/ 421 h 6854724"/>
              <a:gd name="connsiteX4" fmla="*/ 0 w 3414081"/>
              <a:gd name="connsiteY4" fmla="*/ 6854724 h 6854724"/>
              <a:gd name="connsiteX5" fmla="*/ 253401 w 3414081"/>
              <a:gd name="connsiteY5" fmla="*/ 6854724 h 6854724"/>
              <a:gd name="connsiteX6" fmla="*/ 3414081 w 3414081"/>
              <a:gd name="connsiteY6" fmla="*/ 0 h 685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4081" h="6854724">
                <a:moveTo>
                  <a:pt x="3414081" y="0"/>
                </a:moveTo>
                <a:lnTo>
                  <a:pt x="1947927" y="0"/>
                </a:lnTo>
                <a:lnTo>
                  <a:pt x="1947735" y="421"/>
                </a:lnTo>
                <a:lnTo>
                  <a:pt x="3169581" y="421"/>
                </a:lnTo>
                <a:lnTo>
                  <a:pt x="0" y="6854724"/>
                </a:lnTo>
                <a:lnTo>
                  <a:pt x="253401" y="6854724"/>
                </a:lnTo>
                <a:lnTo>
                  <a:pt x="3414081" y="0"/>
                </a:lnTo>
                <a:close/>
              </a:path>
            </a:pathLst>
          </a:custGeom>
          <a:solidFill>
            <a:schemeClr val="accent3"/>
          </a:solidFill>
          <a:ln w="7613" cap="flat">
            <a:noFill/>
            <a:prstDash val="solid"/>
            <a:miter/>
          </a:ln>
        </p:spPr>
        <p:txBody>
          <a:bodyPr rtlCol="0" anchor="ctr"/>
          <a:lstStyle/>
          <a:p>
            <a:endParaRPr lang="hi-IN"/>
          </a:p>
        </p:txBody>
      </p:sp>
      <p:sp>
        <p:nvSpPr>
          <p:cNvPr id="650" name="Freeform: Shape 649"/>
          <p:cNvSpPr/>
          <p:nvPr/>
        </p:nvSpPr>
        <p:spPr>
          <a:xfrm flipH="1">
            <a:off x="2881654" y="0"/>
            <a:ext cx="7224694" cy="6854724"/>
          </a:xfrm>
          <a:custGeom>
            <a:avLst/>
            <a:gdLst>
              <a:gd name="connsiteX0" fmla="*/ 7224694 w 7224694"/>
              <a:gd name="connsiteY0" fmla="*/ 0 h 6858000"/>
              <a:gd name="connsiteX1" fmla="*/ 3171292 w 7224694"/>
              <a:gd name="connsiteY1" fmla="*/ 0 h 6858000"/>
              <a:gd name="connsiteX2" fmla="*/ 0 w 7224694"/>
              <a:gd name="connsiteY2" fmla="*/ 6858000 h 6858000"/>
              <a:gd name="connsiteX3" fmla="*/ 4053403 w 7224694"/>
              <a:gd name="connsiteY3" fmla="*/ 6858000 h 6858000"/>
              <a:gd name="connsiteX4" fmla="*/ 7224694 w 722469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4694" h="6858000">
                <a:moveTo>
                  <a:pt x="7224694" y="0"/>
                </a:moveTo>
                <a:lnTo>
                  <a:pt x="3171292" y="0"/>
                </a:lnTo>
                <a:lnTo>
                  <a:pt x="0" y="6858000"/>
                </a:lnTo>
                <a:lnTo>
                  <a:pt x="4053403" y="6858000"/>
                </a:lnTo>
                <a:lnTo>
                  <a:pt x="7224694" y="0"/>
                </a:lnTo>
                <a:close/>
              </a:path>
            </a:pathLst>
          </a:custGeom>
          <a:solidFill>
            <a:srgbClr val="185091">
              <a:alpha val="51000"/>
            </a:srgbClr>
          </a:solidFill>
          <a:ln w="8195" cap="flat">
            <a:noFill/>
            <a:prstDash val="solid"/>
            <a:miter/>
          </a:ln>
        </p:spPr>
        <p:txBody>
          <a:bodyPr rtlCol="0" anchor="ctr"/>
          <a:lstStyle/>
          <a:p>
            <a:endParaRPr lang="hi-IN"/>
          </a:p>
        </p:txBody>
      </p:sp>
      <p:pic>
        <p:nvPicPr>
          <p:cNvPr id="2" name="Picture 1"/>
          <p:cNvPicPr>
            <a:picLocks noChangeAspect="1"/>
          </p:cNvPicPr>
          <p:nvPr userDrawn="1"/>
        </p:nvPicPr>
        <p:blipFill rotWithShape="1">
          <a:blip r:embed="rId3"/>
          <a:srcRect b="11600"/>
          <a:stretch>
            <a:fillRect/>
          </a:stretch>
        </p:blipFill>
        <p:spPr>
          <a:xfrm>
            <a:off x="0" y="3932014"/>
            <a:ext cx="3340898" cy="2931773"/>
          </a:xfrm>
          <a:prstGeom prst="rect">
            <a:avLst/>
          </a:prstGeom>
        </p:spPr>
      </p:pic>
      <p:sp>
        <p:nvSpPr>
          <p:cNvPr id="16" name="TextBox 37"/>
          <p:cNvSpPr txBox="1"/>
          <p:nvPr userDrawn="1"/>
        </p:nvSpPr>
        <p:spPr bwMode="gray">
          <a:xfrm>
            <a:off x="580222" y="5549019"/>
            <a:ext cx="4369149" cy="720197"/>
          </a:xfrm>
          <a:prstGeom prst="rect">
            <a:avLst/>
          </a:prstGeom>
          <a:noFill/>
        </p:spPr>
        <p:txBody>
          <a:bodyPr wrap="square" lIns="0" tIns="0" rIns="0" bIns="0">
            <a:spAutoFit/>
          </a:bodyPr>
          <a:lstStyle/>
          <a:p>
            <a:pPr>
              <a:spcBef>
                <a:spcPct val="20000"/>
              </a:spcBef>
              <a:defRPr/>
            </a:pPr>
            <a:r>
              <a:rPr lang="en-US" sz="900">
                <a:solidFill>
                  <a:schemeClr val="accent2"/>
                </a:solidFill>
                <a:ea typeface="MS PGothic" panose="020B0600070205080204" pitchFamily="34" charset="-128"/>
                <a:cs typeface="Arial" panose="020B0604020202020204" pitchFamily="34" charset="0"/>
              </a:rPr>
              <a:t>COPYRIGHT © 2020. ALL RIGHTS PROTECTED AND RESERVED.</a:t>
            </a:r>
          </a:p>
          <a:p>
            <a:pPr>
              <a:spcBef>
                <a:spcPct val="20000"/>
              </a:spcBef>
              <a:defRPr/>
            </a:pPr>
            <a:r>
              <a:rPr lang="en-US" sz="900">
                <a:solidFill>
                  <a:schemeClr val="accent2"/>
                </a:solidFill>
                <a:ea typeface="MS PGothic" panose="020B0600070205080204" pitchFamily="34" charset="-128"/>
                <a:cs typeface="Arial" panose="020B0604020202020204" pitchFamily="34" charset="0"/>
              </a:rPr>
              <a:t>The information contained in this document, much of which is confidential to Maveric Systems, is for the sole use of the intended recipients. No part of this document may be reproduced in any form or by any means, electronic, mechanical, photocopying, recording, or otherwise, without the prior written permission of Maveric Systems.</a:t>
            </a:r>
          </a:p>
        </p:txBody>
      </p:sp>
      <p:sp>
        <p:nvSpPr>
          <p:cNvPr id="17" name="TextBox 16"/>
          <p:cNvSpPr txBox="1"/>
          <p:nvPr userDrawn="1"/>
        </p:nvSpPr>
        <p:spPr bwMode="gray">
          <a:xfrm>
            <a:off x="580222" y="3006991"/>
            <a:ext cx="3392974" cy="1569660"/>
          </a:xfrm>
          <a:prstGeom prst="rect">
            <a:avLst/>
          </a:prstGeom>
          <a:noFill/>
        </p:spPr>
        <p:txBody>
          <a:bodyPr wrap="square" lIns="0" tIns="0" rIns="0" bIns="0" anchor="b" anchorCtr="0">
            <a:spAutoFit/>
          </a:bodyPr>
          <a:lstStyle/>
          <a:p>
            <a:pPr>
              <a:defRPr/>
            </a:pPr>
            <a:r>
              <a:rPr lang="en-US" sz="1400" b="1">
                <a:solidFill>
                  <a:schemeClr val="tx2"/>
                </a:solidFill>
                <a:ea typeface="MS PGothic" panose="020B0600070205080204" pitchFamily="34" charset="-128"/>
                <a:cs typeface="Arial" panose="020B0604020202020204" pitchFamily="34" charset="0"/>
              </a:rPr>
              <a:t>CORPORATE HEADQUARTERS</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Lords Tower, Block 1, 2</a:t>
            </a:r>
            <a:r>
              <a:rPr lang="en-US" sz="1400" baseline="30000">
                <a:solidFill>
                  <a:schemeClr val="tx2"/>
                </a:solidFill>
                <a:ea typeface="MS PGothic" panose="020B0600070205080204" pitchFamily="34" charset="-128"/>
                <a:cs typeface="Arial" panose="020B0604020202020204" pitchFamily="34" charset="0"/>
              </a:rPr>
              <a:t>nd</a:t>
            </a:r>
            <a:r>
              <a:rPr lang="en-US" sz="1400">
                <a:solidFill>
                  <a:schemeClr val="tx2"/>
                </a:solidFill>
                <a:ea typeface="MS PGothic" panose="020B0600070205080204" pitchFamily="34" charset="-128"/>
                <a:cs typeface="Arial" panose="020B0604020202020204" pitchFamily="34" charset="0"/>
              </a:rPr>
              <a:t> Floor</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Jawaharlal Nehru Road,</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Thiru Vi Ka Industrial Estate</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Ekkaduthangal, Chennai – 600 032</a:t>
            </a:r>
          </a:p>
          <a:p>
            <a:pPr>
              <a:tabLst>
                <a:tab pos="457200" algn="l"/>
              </a:tabLst>
              <a:defRPr/>
            </a:pPr>
            <a:endParaRPr lang="en-US" sz="1600" b="1">
              <a:solidFill>
                <a:schemeClr val="tx2"/>
              </a:solidFill>
              <a:ea typeface="MS PGothic" panose="020B0600070205080204" pitchFamily="34" charset="-128"/>
              <a:cs typeface="Arial" panose="020B0604020202020204" pitchFamily="34" charset="0"/>
              <a:hlinkClick r:id="" action="ppaction://noaction"/>
            </a:endParaRPr>
          </a:p>
          <a:p>
            <a:pPr>
              <a:tabLst>
                <a:tab pos="457200" algn="l"/>
              </a:tabLst>
              <a:defRPr/>
            </a:pPr>
            <a:r>
              <a:rPr lang="en-US" sz="1600" b="1">
                <a:solidFill>
                  <a:schemeClr val="tx2"/>
                </a:solidFill>
                <a:ea typeface="MS PGothic" panose="020B0600070205080204" pitchFamily="34" charset="-128"/>
                <a:cs typeface="Arial" panose="020B0604020202020204" pitchFamily="34" charset="0"/>
                <a:hlinkClick r:id="" action="ppaction://noaction"/>
              </a:rPr>
              <a:t>www.maveric-systems.com</a:t>
            </a:r>
            <a:endParaRPr lang="en-US" sz="1600" b="1">
              <a:solidFill>
                <a:schemeClr val="tx2"/>
              </a:solidFill>
              <a:ea typeface="MS PGothic" panose="020B0600070205080204" pitchFamily="34" charset="-128"/>
              <a:cs typeface="Arial" panose="020B0604020202020204" pitchFamily="34" charset="0"/>
            </a:endParaRPr>
          </a:p>
        </p:txBody>
      </p:sp>
      <p:sp>
        <p:nvSpPr>
          <p:cNvPr id="19" name="TextBox 18"/>
          <p:cNvSpPr txBox="1"/>
          <p:nvPr userDrawn="1"/>
        </p:nvSpPr>
        <p:spPr>
          <a:xfrm>
            <a:off x="4207448" y="830633"/>
            <a:ext cx="2590409" cy="369332"/>
          </a:xfrm>
          <a:prstGeom prst="rect">
            <a:avLst/>
          </a:prstGeom>
        </p:spPr>
        <p:txBody>
          <a:bodyPr wrap="square" rtlCol="0">
            <a:spAutoFit/>
          </a:bodyPr>
          <a:lstStyle/>
          <a:p>
            <a:pPr>
              <a:tabLst>
                <a:tab pos="457200" algn="l"/>
              </a:tabLst>
              <a:defRPr/>
            </a:pPr>
            <a:r>
              <a:rPr lang="tr-TR" b="1">
                <a:solidFill>
                  <a:schemeClr val="bg1"/>
                </a:solidFill>
                <a:cs typeface="Arial" panose="020B0604020202020204" pitchFamily="34" charset="0"/>
              </a:rPr>
              <a:t>GLOBAL LOCATİONS</a:t>
            </a:r>
          </a:p>
        </p:txBody>
      </p:sp>
      <p:sp>
        <p:nvSpPr>
          <p:cNvPr id="20" name="TextBox 19"/>
          <p:cNvSpPr txBox="1"/>
          <p:nvPr userDrawn="1"/>
        </p:nvSpPr>
        <p:spPr>
          <a:xfrm>
            <a:off x="4894921" y="2085911"/>
            <a:ext cx="1477163" cy="369332"/>
          </a:xfrm>
          <a:prstGeom prst="rect">
            <a:avLst/>
          </a:prstGeom>
        </p:spPr>
        <p:txBody>
          <a:bodyPr wrap="square" rtlCol="0">
            <a:spAutoFit/>
          </a:bodyPr>
          <a:lstStyle/>
          <a:p>
            <a:pPr>
              <a:tabLst>
                <a:tab pos="457200" algn="l"/>
              </a:tabLst>
              <a:defRPr/>
            </a:pPr>
            <a:r>
              <a:rPr lang="tr-TR">
                <a:solidFill>
                  <a:schemeClr val="bg1"/>
                </a:solidFill>
                <a:cs typeface="Arial" panose="020B0604020202020204" pitchFamily="34" charset="0"/>
              </a:rPr>
              <a:t>SINGAPORE</a:t>
            </a:r>
          </a:p>
        </p:txBody>
      </p:sp>
      <p:sp>
        <p:nvSpPr>
          <p:cNvPr id="21" name="TextBox 20"/>
          <p:cNvSpPr txBox="1"/>
          <p:nvPr userDrawn="1"/>
        </p:nvSpPr>
        <p:spPr>
          <a:xfrm>
            <a:off x="5147421" y="2713550"/>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UK</a:t>
            </a:r>
            <a:endParaRPr lang="tr-TR">
              <a:solidFill>
                <a:schemeClr val="bg1"/>
              </a:solidFill>
              <a:cs typeface="Arial" panose="020B0604020202020204" pitchFamily="34" charset="0"/>
            </a:endParaRPr>
          </a:p>
        </p:txBody>
      </p:sp>
      <p:sp>
        <p:nvSpPr>
          <p:cNvPr id="22" name="TextBox 21"/>
          <p:cNvSpPr txBox="1"/>
          <p:nvPr userDrawn="1"/>
        </p:nvSpPr>
        <p:spPr>
          <a:xfrm>
            <a:off x="5399921" y="3341189"/>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US</a:t>
            </a:r>
            <a:endParaRPr lang="tr-TR">
              <a:solidFill>
                <a:schemeClr val="bg1"/>
              </a:solidFill>
              <a:cs typeface="Arial" panose="020B0604020202020204" pitchFamily="34" charset="0"/>
            </a:endParaRPr>
          </a:p>
        </p:txBody>
      </p:sp>
      <p:sp>
        <p:nvSpPr>
          <p:cNvPr id="23" name="TextBox 22"/>
          <p:cNvSpPr txBox="1"/>
          <p:nvPr userDrawn="1"/>
        </p:nvSpPr>
        <p:spPr>
          <a:xfrm>
            <a:off x="5652421" y="3968828"/>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DUBAI</a:t>
            </a:r>
            <a:endParaRPr lang="tr-TR">
              <a:solidFill>
                <a:schemeClr val="bg1"/>
              </a:solidFill>
              <a:cs typeface="Arial" panose="020B0604020202020204" pitchFamily="34" charset="0"/>
            </a:endParaRPr>
          </a:p>
        </p:txBody>
      </p:sp>
      <p:sp>
        <p:nvSpPr>
          <p:cNvPr id="24" name="TextBox 23"/>
          <p:cNvSpPr txBox="1"/>
          <p:nvPr userDrawn="1"/>
        </p:nvSpPr>
        <p:spPr>
          <a:xfrm>
            <a:off x="5904921" y="4596467"/>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RIYADH</a:t>
            </a:r>
            <a:endParaRPr lang="tr-TR">
              <a:solidFill>
                <a:schemeClr val="bg1"/>
              </a:solidFill>
              <a:cs typeface="Arial" panose="020B0604020202020204" pitchFamily="34" charset="0"/>
            </a:endParaRPr>
          </a:p>
        </p:txBody>
      </p:sp>
      <p:sp>
        <p:nvSpPr>
          <p:cNvPr id="25" name="TextBox 24"/>
          <p:cNvSpPr txBox="1"/>
          <p:nvPr userDrawn="1"/>
        </p:nvSpPr>
        <p:spPr>
          <a:xfrm>
            <a:off x="6157421" y="5224106"/>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MALAYSIA</a:t>
            </a:r>
            <a:endParaRPr lang="tr-TR">
              <a:solidFill>
                <a:schemeClr val="bg1"/>
              </a:solidFill>
              <a:cs typeface="Arial" panose="020B0604020202020204" pitchFamily="34" charset="0"/>
            </a:endParaRPr>
          </a:p>
        </p:txBody>
      </p:sp>
      <p:sp>
        <p:nvSpPr>
          <p:cNvPr id="26" name="TextBox 25"/>
          <p:cNvSpPr txBox="1"/>
          <p:nvPr userDrawn="1"/>
        </p:nvSpPr>
        <p:spPr>
          <a:xfrm>
            <a:off x="6409918" y="5851742"/>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MEXICO</a:t>
            </a:r>
            <a:endParaRPr lang="tr-TR">
              <a:solidFill>
                <a:schemeClr val="bg1"/>
              </a:solidFill>
              <a:cs typeface="Arial" panose="020B0604020202020204" pitchFamily="34" charset="0"/>
            </a:endParaRPr>
          </a:p>
        </p:txBody>
      </p:sp>
      <p:sp>
        <p:nvSpPr>
          <p:cNvPr id="27" name="TextBox 26"/>
          <p:cNvSpPr txBox="1"/>
          <p:nvPr userDrawn="1"/>
        </p:nvSpPr>
        <p:spPr>
          <a:xfrm>
            <a:off x="4642421" y="1458272"/>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INDIA</a:t>
            </a:r>
            <a:endParaRPr lang="tr-TR">
              <a:solidFill>
                <a:schemeClr val="bg1"/>
              </a:solidFill>
              <a:cs typeface="Arial" panose="020B0604020202020204" pitchFamily="34" charset="0"/>
            </a:endParaRPr>
          </a:p>
        </p:txBody>
      </p:sp>
      <p:grpSp>
        <p:nvGrpSpPr>
          <p:cNvPr id="28" name="Group 27"/>
          <p:cNvGrpSpPr/>
          <p:nvPr userDrawn="1"/>
        </p:nvGrpSpPr>
        <p:grpSpPr>
          <a:xfrm>
            <a:off x="626423" y="1490770"/>
            <a:ext cx="2010211" cy="537284"/>
            <a:chOff x="4971814" y="299551"/>
            <a:chExt cx="2248375" cy="600940"/>
          </a:xfrm>
          <a:solidFill>
            <a:schemeClr val="accent2"/>
          </a:solidFill>
        </p:grpSpPr>
        <p:sp>
          <p:nvSpPr>
            <p:cNvPr id="29" name="Freeform 28"/>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0" name="Freeform 29"/>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1" name="Freeform 28"/>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2" name="Freeform 29"/>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chemeClr val="accent3"/>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3" name="Freeform 30"/>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chemeClr val="accent1"/>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4" name="Freeform 31"/>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5"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6"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9510713" y="1474788"/>
            <a:ext cx="2286000" cy="2851150"/>
          </a:xfrm>
          <a:prstGeom prst="rect">
            <a:avLst/>
          </a:prstGeom>
        </p:spPr>
        <p:txBody>
          <a:bodyPr/>
          <a:lstStyle/>
          <a:p>
            <a:r>
              <a:rPr lang="en-US" dirty="0"/>
              <a:t>Click icon to add picture</a:t>
            </a:r>
            <a:endParaRPr lang="en-IN" dirty="0"/>
          </a:p>
        </p:txBody>
      </p:sp>
      <p:sp>
        <p:nvSpPr>
          <p:cNvPr id="6" name="Rectangle 5"/>
          <p:cNvSpPr/>
          <p:nvPr/>
        </p:nvSpPr>
        <p:spPr>
          <a:xfrm>
            <a:off x="0" y="1475580"/>
            <a:ext cx="9358313" cy="2849564"/>
          </a:xfrm>
          <a:prstGeom prst="rect">
            <a:avLst/>
          </a:prstGeom>
          <a:solidFill>
            <a:schemeClr val="tx2"/>
          </a:solidFill>
          <a:ln w="317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400" eaLnBrk="1" fontAlgn="auto" hangingPunct="1">
              <a:spcBef>
                <a:spcPts val="600"/>
              </a:spcBef>
              <a:spcAft>
                <a:spcPts val="0"/>
              </a:spcAft>
            </a:pPr>
            <a:endParaRPr lang="en-IN" sz="1400" kern="0" dirty="0">
              <a:solidFill>
                <a:srgbClr val="000000"/>
              </a:solidFill>
              <a:latin typeface="+mj-lt"/>
              <a:ea typeface="+mn-ea"/>
            </a:endParaRPr>
          </a:p>
        </p:txBody>
      </p:sp>
      <p:grpSp>
        <p:nvGrpSpPr>
          <p:cNvPr id="7" name="Group 6"/>
          <p:cNvGrpSpPr/>
          <p:nvPr/>
        </p:nvGrpSpPr>
        <p:grpSpPr>
          <a:xfrm>
            <a:off x="3571" y="1475581"/>
            <a:ext cx="835819" cy="1147763"/>
            <a:chOff x="-19050" y="-4763"/>
            <a:chExt cx="835819" cy="1147763"/>
          </a:xfrm>
          <a:solidFill>
            <a:schemeClr val="bg1">
              <a:alpha val="17000"/>
            </a:schemeClr>
          </a:solidFill>
        </p:grpSpPr>
        <p:sp>
          <p:nvSpPr>
            <p:cNvPr id="8" name="Freeform 7"/>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9" name="Freeform 8"/>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
        <p:nvSpPr>
          <p:cNvPr id="3" name="Subtitle 2"/>
          <p:cNvSpPr>
            <a:spLocks noGrp="1"/>
          </p:cNvSpPr>
          <p:nvPr userDrawn="1">
            <p:ph type="subTitle" idx="1"/>
          </p:nvPr>
        </p:nvSpPr>
        <p:spPr bwMode="gray">
          <a:xfrm>
            <a:off x="1119189" y="3013807"/>
            <a:ext cx="8095149" cy="307777"/>
          </a:xfrm>
          <a:prstGeom prst="rect">
            <a:avLst/>
          </a:prstGeom>
        </p:spPr>
        <p:txBody>
          <a:bodyPr wrap="square" lIns="0" tIns="0" rIns="0" bIns="0">
            <a:sp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2" name="Title 1"/>
          <p:cNvSpPr>
            <a:spLocks noGrp="1"/>
          </p:cNvSpPr>
          <p:nvPr userDrawn="1">
            <p:ph type="ctrTitle"/>
          </p:nvPr>
        </p:nvSpPr>
        <p:spPr bwMode="gray">
          <a:xfrm>
            <a:off x="1119189" y="2427922"/>
            <a:ext cx="8095149" cy="492443"/>
          </a:xfrm>
        </p:spPr>
        <p:txBody>
          <a:bodyPr wrap="square" lIns="0" tIns="0" rIns="0" bIns="0" anchor="b" anchorCtr="0">
            <a:spAutoFit/>
          </a:bodyPr>
          <a:lstStyle>
            <a:lvl1pPr algn="l">
              <a:defRPr sz="3200">
                <a:solidFill>
                  <a:srgbClr val="FFFFFF"/>
                </a:solidFill>
                <a:latin typeface="+mj-lt"/>
                <a:cs typeface="Century Gothic" panose="020B0502020202020204" pitchFamily="34" charset="0"/>
              </a:defRPr>
            </a:lvl1pPr>
          </a:lstStyle>
          <a:p>
            <a:r>
              <a:rPr lang="en-US"/>
              <a:t>Click to edit Master title style</a:t>
            </a:r>
            <a:endParaRPr lang="en-US" dirty="0"/>
          </a:p>
        </p:txBody>
      </p:sp>
      <p:pic>
        <p:nvPicPr>
          <p:cNvPr id="10" name="Picture 9" descr="MAVERIC LOGO.eps"/>
          <p:cNvPicPr>
            <a:picLocks noChangeAspect="1"/>
          </p:cNvPicPr>
          <p:nvPr userDrawn="1"/>
        </p:nvPicPr>
        <p:blipFill>
          <a:blip r:embed="rId3" cstate="print">
            <a:extLst>
              <a:ext uri="{28A0092B-C50C-407E-A947-70E740481C1C}">
                <a14:useLocalDpi xmlns:a14="http://schemas.microsoft.com/office/drawing/2010/main" val="0"/>
              </a:ext>
            </a:extLst>
          </a:blip>
          <a:srcRect b="39967"/>
          <a:stretch>
            <a:fillRect/>
          </a:stretch>
        </p:blipFill>
        <p:spPr bwMode="auto">
          <a:xfrm>
            <a:off x="1119189" y="4422957"/>
            <a:ext cx="2157413" cy="848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userDrawn="1">
            <p:custDataLst>
              <p:tags r:id="rId1"/>
            </p:custDataLst>
          </p:nvPr>
        </p:nvSpPr>
        <p:spPr>
          <a:xfrm>
            <a:off x="1047749" y="6496053"/>
            <a:ext cx="3089267" cy="246203"/>
          </a:xfrm>
          <a:prstGeom prst="rect">
            <a:avLst/>
          </a:prstGeom>
          <a:noFill/>
        </p:spPr>
        <p:txBody>
          <a:bodyPr wrap="none" lIns="91420" tIns="45711" rIns="91420" bIns="45711">
            <a:spAutoFit/>
          </a:bodyPr>
          <a:lstStyle/>
          <a:p>
            <a:pPr defTabSz="457104">
              <a:defRPr/>
            </a:pPr>
            <a:r>
              <a:rPr lang="en-US" sz="1000" kern="0" dirty="0">
                <a:solidFill>
                  <a:prstClr val="white">
                    <a:lumMod val="50000"/>
                  </a:prstClr>
                </a:solidFill>
                <a:latin typeface="+mj-lt"/>
              </a:rPr>
              <a:t>COPYRIGHT ©. ALL RIGHTS PROTECTED AND RESERVED.</a:t>
            </a:r>
          </a:p>
        </p:txBody>
      </p:sp>
    </p:spTree>
    <p:extLst>
      <p:ext uri="{BB962C8B-B14F-4D97-AF65-F5344CB8AC3E}">
        <p14:creationId xmlns:p14="http://schemas.microsoft.com/office/powerpoint/2010/main" val="31339906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1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j-lt"/>
            </a:endParaRPr>
          </a:p>
        </p:txBody>
      </p:sp>
      <p:sp>
        <p:nvSpPr>
          <p:cNvPr id="5" name="TextBox 4"/>
          <p:cNvSpPr txBox="1">
            <a:spLocks noChangeArrowheads="1"/>
          </p:cNvSpPr>
          <p:nvPr userDrawn="1"/>
        </p:nvSpPr>
        <p:spPr bwMode="gray">
          <a:xfrm>
            <a:off x="11782177" y="6566744"/>
            <a:ext cx="15068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mj-lt"/>
                <a:cs typeface="Arial" panose="020B0604020202020204" pitchFamily="34" charset="0"/>
              </a:rPr>
              <a:pPr algn="ctr" eaLnBrk="1" hangingPunct="1">
                <a:defRPr/>
              </a:pPr>
              <a:t>‹#›</a:t>
            </a:fld>
            <a:endParaRPr lang="en-US" sz="1000" dirty="0">
              <a:solidFill>
                <a:schemeClr val="bg2">
                  <a:lumMod val="25000"/>
                </a:schemeClr>
              </a:solidFill>
              <a:latin typeface="+mj-lt"/>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mj-lt"/>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mj-lt"/>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mj-lt"/>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mj-lt"/>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mj-lt"/>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1001485" y="200320"/>
            <a:ext cx="1092698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3000">
                <a:solidFill>
                  <a:schemeClr val="tx2"/>
                </a:solidFill>
                <a:latin typeface="+mj-lt"/>
              </a:defRPr>
            </a:lvl1pPr>
          </a:lstStyle>
          <a:p>
            <a:pPr lvl="0"/>
            <a:r>
              <a:rPr lang="en-US" dirty="0"/>
              <a:t>Click to edit title</a:t>
            </a:r>
          </a:p>
        </p:txBody>
      </p:sp>
      <p:sp>
        <p:nvSpPr>
          <p:cNvPr id="2" name="TextBox 1"/>
          <p:cNvSpPr txBox="1"/>
          <p:nvPr userDrawn="1"/>
        </p:nvSpPr>
        <p:spPr>
          <a:xfrm>
            <a:off x="10517706" y="6551355"/>
            <a:ext cx="1042465" cy="184666"/>
          </a:xfrm>
          <a:prstGeom prst="rect">
            <a:avLst/>
          </a:prstGeom>
          <a:noFill/>
        </p:spPr>
        <p:txBody>
          <a:bodyPr wrap="none" lIns="0" tIns="0" rIns="0" bIns="0" rtlCol="0" anchor="ctr" anchorCtr="0">
            <a:spAutoFit/>
          </a:bodyPr>
          <a:lstStyle/>
          <a:p>
            <a:pPr algn="r"/>
            <a:r>
              <a:rPr lang="en-IN" sz="1200" dirty="0">
                <a:solidFill>
                  <a:schemeClr val="bg2">
                    <a:lumMod val="25000"/>
                  </a:schemeClr>
                </a:solidFill>
                <a:latin typeface="+mj-lt"/>
                <a:cs typeface="Arial" panose="020B0604020202020204" pitchFamily="34" charset="0"/>
              </a:rPr>
              <a:t>Maveric Systems</a:t>
            </a:r>
          </a:p>
        </p:txBody>
      </p:sp>
      <p:cxnSp>
        <p:nvCxnSpPr>
          <p:cNvPr id="8" name="Straight Connector 7"/>
          <p:cNvCxnSpPr/>
          <p:nvPr userDrawn="1"/>
        </p:nvCxnSpPr>
        <p:spPr>
          <a:xfrm>
            <a:off x="11669571"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Tree>
    <p:extLst>
      <p:ext uri="{BB962C8B-B14F-4D97-AF65-F5344CB8AC3E}">
        <p14:creationId xmlns:p14="http://schemas.microsoft.com/office/powerpoint/2010/main" val="10740536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Arial" panose="020B0604020202020204" pitchFamily="34" charset="0"/>
                <a:cs typeface="Arial" panose="020B0604020202020204" pitchFamily="34" charset="0"/>
              </a:rPr>
              <a:pPr algn="ctr" eaLnBrk="1" hangingPunct="1">
                <a:defRPr/>
              </a:pPr>
              <a:t>‹#›</a:t>
            </a:fld>
            <a:endParaRPr lang="en-US" sz="1000" dirty="0">
              <a:solidFill>
                <a:schemeClr val="bg2">
                  <a:lumMod val="25000"/>
                </a:schemeClr>
              </a:solidFill>
              <a:latin typeface="Arial" panose="020B0604020202020204" pitchFamily="34" charset="0"/>
              <a:cs typeface="Arial" panose="020B0604020202020204" pitchFamily="34" charset="0"/>
            </a:endParaRPr>
          </a:p>
        </p:txBody>
      </p:sp>
      <p:sp>
        <p:nvSpPr>
          <p:cNvPr id="4" name="Title Placeholder 1"/>
          <p:cNvSpPr>
            <a:spLocks noGrp="1"/>
          </p:cNvSpPr>
          <p:nvPr>
            <p:ph type="title" hasCustomPrompt="1"/>
          </p:nvPr>
        </p:nvSpPr>
        <p:spPr bwMode="gray">
          <a:xfrm>
            <a:off x="3922710" y="1978434"/>
            <a:ext cx="800576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800">
                <a:solidFill>
                  <a:schemeClr val="tx2"/>
                </a:solidFill>
              </a:defRPr>
            </a:lvl1pPr>
          </a:lstStyle>
          <a:p>
            <a:pPr lvl="0"/>
            <a:r>
              <a:rPr lang="en-US" dirty="0"/>
              <a:t>Click to edit title</a:t>
            </a:r>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a:solidFill>
                  <a:schemeClr val="bg2">
                    <a:lumMod val="25000"/>
                  </a:schemeClr>
                </a:solidFill>
                <a:latin typeface="Arial" panose="020B0604020202020204" pitchFamily="34" charset="0"/>
                <a:cs typeface="Arial" panose="020B0604020202020204" pitchFamily="34" charset="0"/>
              </a:rPr>
              <a:t>Maveric Systems</a:t>
            </a: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12380" y="-28576"/>
            <a:ext cx="3935090" cy="5677596"/>
            <a:chOff x="2160910" y="711647"/>
            <a:chExt cx="3935090" cy="5677596"/>
          </a:xfrm>
        </p:grpSpPr>
        <p:sp>
          <p:nvSpPr>
            <p:cNvPr id="13" name="Freeform 12"/>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14" name="Freeform 13"/>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grpSp>
    </p:spTree>
    <p:extLst>
      <p:ext uri="{BB962C8B-B14F-4D97-AF65-F5344CB8AC3E}">
        <p14:creationId xmlns:p14="http://schemas.microsoft.com/office/powerpoint/2010/main" val="156019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rgbClr val="EEECE1">
                    <a:lumMod val="25000"/>
                  </a:srgbClr>
                </a:solidFill>
                <a:latin typeface="Arial" panose="020B0604020202020204" pitchFamily="34" charset="0"/>
                <a:cs typeface="Arial" panose="020B0604020202020204" pitchFamily="34" charset="0"/>
              </a:rPr>
              <a:pPr algn="ctr" eaLnBrk="1" hangingPunct="1">
                <a:defRPr/>
              </a:pPr>
              <a:t>‹#›</a:t>
            </a:fld>
            <a:endParaRPr lang="en-US" sz="1000" dirty="0">
              <a:solidFill>
                <a:srgbClr val="EEECE1">
                  <a:lumMod val="25000"/>
                </a:srgb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Arial" panose="020B0604020202020204" pitchFamily="34" charset="0"/>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Arial" panose="020B0604020202020204" pitchFamily="34" charset="0"/>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Arial" panose="020B0604020202020204" pitchFamily="34" charset="0"/>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Arial" panose="020B0604020202020204" pitchFamily="34" charset="0"/>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1001485" y="200320"/>
            <a:ext cx="1092698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800">
                <a:solidFill>
                  <a:schemeClr val="tx2"/>
                </a:solidFill>
              </a:defRPr>
            </a:lvl1pPr>
          </a:lstStyle>
          <a:p>
            <a:pPr lvl="0"/>
            <a:r>
              <a:rPr lang="en-US" dirty="0"/>
              <a:t>Click to edit title</a:t>
            </a:r>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a:solidFill>
                  <a:srgbClr val="EEECE1">
                    <a:lumMod val="25000"/>
                  </a:srgbClr>
                </a:solidFill>
                <a:latin typeface="Arial" panose="020B0604020202020204" pitchFamily="34" charset="0"/>
                <a:cs typeface="Arial" panose="020B0604020202020204" pitchFamily="34" charset="0"/>
              </a:rPr>
              <a:t>Maveric Systems</a:t>
            </a: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prstClr val="white"/>
                </a:solidFill>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prstClr val="white"/>
                </a:solidFill>
              </a:endParaRPr>
            </a:p>
          </p:txBody>
        </p:sp>
      </p:grpSp>
    </p:spTree>
    <p:extLst>
      <p:ext uri="{BB962C8B-B14F-4D97-AF65-F5344CB8AC3E}">
        <p14:creationId xmlns:p14="http://schemas.microsoft.com/office/powerpoint/2010/main" val="15674007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3737050"/>
            <a:ext cx="12192001" cy="3125287"/>
          </a:xfrm>
          <a:prstGeom prst="rect">
            <a:avLst/>
          </a:prstGeom>
        </p:spPr>
      </p:pic>
      <p:grpSp>
        <p:nvGrpSpPr>
          <p:cNvPr id="47" name="Group 46"/>
          <p:cNvGrpSpPr/>
          <p:nvPr userDrawn="1"/>
        </p:nvGrpSpPr>
        <p:grpSpPr bwMode="gray">
          <a:xfrm>
            <a:off x="3187896" y="299551"/>
            <a:ext cx="5816209" cy="4374658"/>
            <a:chOff x="3187895" y="299551"/>
            <a:chExt cx="5816209" cy="4374658"/>
          </a:xfrm>
        </p:grpSpPr>
        <p:grpSp>
          <p:nvGrpSpPr>
            <p:cNvPr id="48" name="Group 47"/>
            <p:cNvGrpSpPr>
              <a:grpSpLocks noChangeAspect="1"/>
            </p:cNvGrpSpPr>
            <p:nvPr/>
          </p:nvGrpSpPr>
          <p:grpSpPr bwMode="gray">
            <a:xfrm>
              <a:off x="4971813" y="299551"/>
              <a:ext cx="2248375" cy="830271"/>
              <a:chOff x="6391275" y="515938"/>
              <a:chExt cx="3813176" cy="1408113"/>
            </a:xfrm>
          </p:grpSpPr>
          <p:sp>
            <p:nvSpPr>
              <p:cNvPr id="51" name="Freeform 50"/>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2" name="Freeform 51"/>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3" name="Freeform 52"/>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4" name="Freeform 53"/>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 name="Freeform 54"/>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6" name="Freeform 55"/>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7" name="Freeform 56"/>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 name="Freeform 57"/>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9" name="Freeform 58"/>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0" name="Freeform 59"/>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 name="Freeform 60"/>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 name="Freeform 61"/>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3" name="Freeform 62"/>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 name="Freeform 63"/>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5" name="Freeform 64"/>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6" name="Freeform 65"/>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 name="Freeform 66"/>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8" name="Freeform 67"/>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9" name="Freeform 68"/>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0" name="Freeform 69"/>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1" name="Freeform 70"/>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2" name="Freeform 71"/>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 name="Freeform 72"/>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6"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7"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8"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9"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49" name="TextBox 37"/>
            <p:cNvSpPr txBox="1"/>
            <p:nvPr/>
          </p:nvSpPr>
          <p:spPr bwMode="gray">
            <a:xfrm>
              <a:off x="3187895" y="3833979"/>
              <a:ext cx="5816209" cy="840230"/>
            </a:xfrm>
            <a:prstGeom prst="rect">
              <a:avLst/>
            </a:prstGeom>
            <a:noFill/>
          </p:spPr>
          <p:txBody>
            <a:bodyPr wrap="square" lIns="0" tIns="0" rIns="0" bIns="0">
              <a:spAutoFit/>
            </a:bodyPr>
            <a:lstStyle/>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COPYRIGHT © 2016. ALL RIGHTS PROTECTED AND RESERVED.</a:t>
              </a:r>
            </a:p>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The information contained in this document, much of which is confidential to Maveric Systems, is for the sole use of the intended recipients. No part of this document may be reproduced in any form or by any means, electronic, mechanical, photocopying, recording, or otherwise, without the prior written permission of Maveric Systems.</a:t>
              </a:r>
            </a:p>
          </p:txBody>
        </p:sp>
        <p:sp>
          <p:nvSpPr>
            <p:cNvPr id="50" name="TextBox 49"/>
            <p:cNvSpPr txBox="1"/>
            <p:nvPr/>
          </p:nvSpPr>
          <p:spPr bwMode="gray">
            <a:xfrm>
              <a:off x="4270082" y="1375632"/>
              <a:ext cx="3651834" cy="2241639"/>
            </a:xfrm>
            <a:prstGeom prst="rect">
              <a:avLst/>
            </a:prstGeom>
            <a:noFill/>
          </p:spPr>
          <p:txBody>
            <a:bodyPr wrap="none" lIns="0" tIns="0" rIns="0" bIns="0" anchor="b" anchorCtr="0">
              <a:spAutoFit/>
            </a:bodyPr>
            <a:lstStyle/>
            <a:p>
              <a:pPr algn="ctr" defTabSz="914400" eaLnBrk="1" fontAlgn="auto" hangingPunct="1">
                <a:spcBef>
                  <a:spcPts val="0"/>
                </a:spcBef>
                <a:spcAft>
                  <a:spcPts val="0"/>
                </a:spcAft>
                <a:defRPr/>
              </a:pPr>
              <a:r>
                <a:rPr lang="en-US" sz="1200" dirty="0">
                  <a:solidFill>
                    <a:srgbClr val="007BA2"/>
                  </a:solidFill>
                  <a:latin typeface="+mj-lt"/>
                  <a:cs typeface="Arial" panose="020B0604020202020204" pitchFamily="34" charset="0"/>
                </a:rPr>
                <a:t>Corporate Headquarters</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Lords Tower, Block 1,</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2</a:t>
              </a:r>
              <a:r>
                <a:rPr lang="en-US" sz="1200" baseline="30000" dirty="0">
                  <a:solidFill>
                    <a:prstClr val="black">
                      <a:lumMod val="65000"/>
                      <a:lumOff val="35000"/>
                    </a:prstClr>
                  </a:solidFill>
                  <a:latin typeface="+mj-lt"/>
                  <a:cs typeface="Arial" panose="020B0604020202020204" pitchFamily="34" charset="0"/>
                </a:rPr>
                <a:t>nd</a:t>
              </a:r>
              <a:r>
                <a:rPr lang="en-US" sz="1200" dirty="0">
                  <a:solidFill>
                    <a:prstClr val="black">
                      <a:lumMod val="65000"/>
                      <a:lumOff val="35000"/>
                    </a:prstClr>
                  </a:solidFill>
                  <a:latin typeface="+mj-lt"/>
                  <a:cs typeface="Arial" panose="020B0604020202020204" pitchFamily="34" charset="0"/>
                </a:rPr>
                <a:t> Floor, Plot No. 1&amp;2 NP,</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Jawaharlal Nehru Road,</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Thiru Vi Ka Industrial Estate</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Ekkaduthangal, Chennai – 600 032</a:t>
              </a:r>
            </a:p>
            <a:p>
              <a:pPr algn="ctr" defTabSz="914400" eaLnBrk="1" fontAlgn="auto" hangingPunct="1">
                <a:spcBef>
                  <a:spcPts val="0"/>
                </a:spcBef>
                <a:spcAft>
                  <a:spcPts val="0"/>
                </a:spcAft>
                <a:tabLst>
                  <a:tab pos="457200" algn="l"/>
                </a:tabLst>
                <a:defRPr/>
              </a:pPr>
              <a:endParaRPr lang="en-US" sz="1200" dirty="0">
                <a:solidFill>
                  <a:prstClr val="black">
                    <a:lumMod val="65000"/>
                    <a:lumOff val="35000"/>
                  </a:prstClr>
                </a:solidFill>
                <a:latin typeface="+mj-lt"/>
                <a:cs typeface="Arial" panose="020B0604020202020204" pitchFamily="34" charset="0"/>
                <a:hlinkClick r:id="" action="ppaction://noaction"/>
              </a:endParaRP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hlinkClick r:id="" action="ppaction://noaction"/>
                </a:rPr>
                <a:t>www.maveric-systems.com</a:t>
              </a:r>
              <a:endParaRPr lang="en-US"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r>
                <a:rPr lang="tr-TR" sz="1200" dirty="0">
                  <a:solidFill>
                    <a:srgbClr val="007BA2"/>
                  </a:solidFill>
                  <a:latin typeface="+mj-lt"/>
                  <a:ea typeface="+mn-ea"/>
                  <a:cs typeface="Arial" panose="020B0604020202020204" pitchFamily="34" charset="0"/>
                </a:rPr>
                <a:t>Global Locations</a:t>
              </a:r>
            </a:p>
            <a:p>
              <a:pPr algn="ctr" defTabSz="914400" eaLnBrk="1" fontAlgn="auto" hangingPunct="1">
                <a:spcBef>
                  <a:spcPts val="200"/>
                </a:spcBef>
                <a:spcAft>
                  <a:spcPts val="0"/>
                </a:spcAft>
                <a:defRPr/>
              </a:pPr>
              <a:r>
                <a:rPr lang="en-IN" sz="1200" dirty="0">
                  <a:solidFill>
                    <a:srgbClr val="000000">
                      <a:lumMod val="65000"/>
                      <a:lumOff val="35000"/>
                    </a:srgbClr>
                  </a:solidFill>
                  <a:latin typeface="+mj-lt"/>
                  <a:cs typeface="Arial" panose="020B0604020202020204" pitchFamily="34" charset="0"/>
                </a:rPr>
                <a:t>SINGAPORE</a:t>
              </a:r>
              <a:r>
                <a:rPr lang="en-IN" sz="1200" baseline="0" dirty="0">
                  <a:solidFill>
                    <a:srgbClr val="000000">
                      <a:lumMod val="65000"/>
                      <a:lumOff val="35000"/>
                    </a:srgbClr>
                  </a:solidFill>
                  <a:latin typeface="+mj-lt"/>
                  <a:cs typeface="Arial" panose="020B0604020202020204" pitchFamily="34" charset="0"/>
                </a:rPr>
                <a:t>  |  </a:t>
              </a:r>
              <a:r>
                <a:rPr lang="en-IN" sz="1200" dirty="0">
                  <a:solidFill>
                    <a:srgbClr val="000000">
                      <a:lumMod val="65000"/>
                      <a:lumOff val="35000"/>
                    </a:srgbClr>
                  </a:solidFill>
                  <a:latin typeface="+mj-lt"/>
                  <a:cs typeface="Arial" panose="020B0604020202020204" pitchFamily="34" charset="0"/>
                </a:rPr>
                <a:t>UK  |  US  |  DUBAI  |  RIYADH  |  MALAYSIA</a:t>
              </a:r>
            </a:p>
          </p:txBody>
        </p:sp>
      </p:grpSp>
    </p:spTree>
    <p:extLst>
      <p:ext uri="{BB962C8B-B14F-4D97-AF65-F5344CB8AC3E}">
        <p14:creationId xmlns:p14="http://schemas.microsoft.com/office/powerpoint/2010/main" val="203206757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mn-lt"/>
              </a:defRPr>
            </a:lvl1pPr>
          </a:lstStyle>
          <a:p>
            <a:fld id="{98D2FB34-24A8-4C83-BE23-C4D0A97BE613}" type="datetime1">
              <a:rPr lang="en-GB" smtClean="0"/>
              <a:t>27/07/2021</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mn-lt"/>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mn-lt"/>
              </a:defRPr>
            </a:lvl1pPr>
          </a:lstStyle>
          <a:p>
            <a:fld id="{15AF44D1-83A6-445D-8047-608D402898DB}" type="slidenum">
              <a:rPr lang="en-GB" smtClean="0"/>
              <a:t>‹#›</a:t>
            </a:fld>
            <a:endParaRPr lang="en-GB"/>
          </a:p>
        </p:txBody>
      </p:sp>
    </p:spTree>
  </p:cSld>
  <p:clrMap bg1="lt1" tx1="dk1" bg2="lt2" tx2="dk2" accent1="accent1" accent2="accent2" accent3="accent3" accent4="accent4" accent5="accent5" accent6="accent6" hlink="hlink" folHlink="folHlink"/>
  <p:sldLayoutIdLst>
    <p:sldLayoutId id="2147483649" r:id="rId1"/>
    <p:sldLayoutId id="2147483653" r:id="rId2"/>
    <p:sldLayoutId id="2147483654" r:id="rId3"/>
    <p:sldLayoutId id="2147483655"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39700" y="2698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a:t>CLICK TO EDIT TITLE</a:t>
            </a:r>
          </a:p>
        </p:txBody>
      </p:sp>
    </p:spTree>
  </p:cSld>
  <p:clrMap bg1="lt1" tx1="dk1" bg2="lt2" tx2="dk2" accent1="accent1" accent2="accent2" accent3="accent3" accent4="accent4" accent5="accent5" accent6="accent6" hlink="hlink" folHlink="folHlink"/>
  <p:sldLayoutIdLst>
    <p:sldLayoutId id="2147484251" r:id="rId1"/>
    <p:sldLayoutId id="2147484253" r:id="rId2"/>
    <p:sldLayoutId id="2147484262" r:id="rId3"/>
    <p:sldLayoutId id="2147484273" r:id="rId4"/>
    <p:sldLayoutId id="2147484275" r:id="rId5"/>
  </p:sldLayoutIdLst>
  <p:hf hdr="0" ftr="0" dt="0"/>
  <p:txStyles>
    <p:titleStyle>
      <a:lvl1pPr algn="l" defTabSz="457200" rtl="0" eaLnBrk="1" fontAlgn="base" hangingPunct="1">
        <a:spcBef>
          <a:spcPct val="0"/>
        </a:spcBef>
        <a:spcAft>
          <a:spcPct val="0"/>
        </a:spcAft>
        <a:defRPr sz="4400" b="1" kern="1200">
          <a:solidFill>
            <a:srgbClr val="B42359"/>
          </a:solidFill>
          <a:latin typeface="Arial"/>
          <a:ea typeface="MS PGothic" pitchFamily="34" charset="-128"/>
          <a:cs typeface="Arial"/>
        </a:defRPr>
      </a:lvl1pPr>
      <a:lvl2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2pPr>
      <a:lvl3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3pPr>
      <a:lvl4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4pPr>
      <a:lvl5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5pPr>
      <a:lvl6pPr marL="4572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6pPr>
      <a:lvl7pPr marL="9144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7pPr>
      <a:lvl8pPr marL="13716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8pPr>
      <a:lvl9pPr marL="18288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9pPr>
    </p:titleStyle>
    <p:bodyStyle>
      <a:lvl1pPr marL="342900" indent="-342900" algn="l" defTabSz="457200" rtl="0" eaLnBrk="1" fontAlgn="base" hangingPunct="1">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defTabSz="457200" rtl="0" eaLnBrk="1" fontAlgn="base" hangingPunct="1">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7403802" y="3219989"/>
            <a:ext cx="4878359" cy="1017288"/>
          </a:xfrm>
        </p:spPr>
        <p:txBody>
          <a:bodyPr>
            <a:noAutofit/>
          </a:bodyPr>
          <a:lstStyle/>
          <a:p>
            <a:pPr algn="ctr"/>
            <a:r>
              <a:rPr lang="en-IN" sz="2400" b="1" dirty="0">
                <a:cs typeface="Calibri"/>
              </a:rPr>
              <a:t/>
            </a:r>
            <a:br>
              <a:rPr lang="en-IN" sz="2400" b="1" dirty="0">
                <a:cs typeface="Calibri"/>
              </a:rPr>
            </a:br>
            <a:r>
              <a:rPr lang="en-IN" sz="2400" b="1" dirty="0">
                <a:cs typeface="Calibri"/>
              </a:rPr>
              <a:t/>
            </a:r>
            <a:br>
              <a:rPr lang="en-IN" sz="2400" b="1" dirty="0">
                <a:cs typeface="Calibri"/>
              </a:rPr>
            </a:br>
            <a:r>
              <a:rPr lang="en-IN" sz="2400" dirty="0">
                <a:ea typeface="+mn-lt"/>
                <a:cs typeface="+mn-lt"/>
              </a:rPr>
              <a:t>Personal Banking</a:t>
            </a:r>
            <a:r>
              <a:rPr lang="en-US" sz="2400" dirty="0">
                <a:ea typeface="+mn-lt"/>
                <a:cs typeface="+mn-lt"/>
              </a:rPr>
              <a:t>  - </a:t>
            </a:r>
            <a:r>
              <a:rPr lang="en-IN" sz="2400" dirty="0" smtClean="0">
                <a:ea typeface="+mn-lt"/>
                <a:cs typeface="+mn-lt"/>
              </a:rPr>
              <a:t>Accounts</a:t>
            </a:r>
            <a:r>
              <a:rPr lang="en-US" sz="2400" dirty="0">
                <a:ea typeface="+mn-lt"/>
                <a:cs typeface="+mn-lt"/>
              </a:rPr>
              <a:t> </a:t>
            </a:r>
          </a:p>
        </p:txBody>
      </p:sp>
      <p:sp>
        <p:nvSpPr>
          <p:cNvPr id="4" name="Slide Number Placeholder 3"/>
          <p:cNvSpPr>
            <a:spLocks noGrp="1"/>
          </p:cNvSpPr>
          <p:nvPr>
            <p:ph type="sldNum" sz="quarter" idx="4294967295"/>
          </p:nvPr>
        </p:nvSpPr>
        <p:spPr>
          <a:xfrm>
            <a:off x="0" y="6607175"/>
            <a:ext cx="498475" cy="211138"/>
          </a:xfrm>
        </p:spPr>
        <p:txBody>
          <a:bodyPr/>
          <a:lstStyle/>
          <a:p>
            <a:fld id="{C7F1B9D8-1D95-44B3-9E1C-E404196FC055}" type="slidenum">
              <a:rPr lang="hi-IN" smtClean="0"/>
              <a:t>1</a:t>
            </a:fld>
            <a:endParaRPr lang="hi-IN"/>
          </a:p>
        </p:txBody>
      </p:sp>
      <p:sp>
        <p:nvSpPr>
          <p:cNvPr id="15" name="TextBox 14">
            <a:extLst>
              <a:ext uri="{FF2B5EF4-FFF2-40B4-BE49-F238E27FC236}">
                <a16:creationId xmlns:a16="http://schemas.microsoft.com/office/drawing/2014/main" id="{1F77B398-C73D-47DA-8907-4F9B6747A0C4}"/>
              </a:ext>
            </a:extLst>
          </p:cNvPr>
          <p:cNvSpPr txBox="1"/>
          <p:nvPr/>
        </p:nvSpPr>
        <p:spPr>
          <a:xfrm>
            <a:off x="5724525" y="4200525"/>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dirty="0">
              <a:cs typeface="Calibri"/>
            </a:endParaRPr>
          </a:p>
        </p:txBody>
      </p:sp>
      <p:sp>
        <p:nvSpPr>
          <p:cNvPr id="17" name="TextBox 16">
            <a:extLst>
              <a:ext uri="{FF2B5EF4-FFF2-40B4-BE49-F238E27FC236}">
                <a16:creationId xmlns:a16="http://schemas.microsoft.com/office/drawing/2014/main" id="{9B0DF5A8-32B6-428C-AA2A-F19FAEEA341E}"/>
              </a:ext>
            </a:extLst>
          </p:cNvPr>
          <p:cNvSpPr txBox="1"/>
          <p:nvPr/>
        </p:nvSpPr>
        <p:spPr>
          <a:xfrm>
            <a:off x="8245955" y="2135575"/>
            <a:ext cx="3203275"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IN" sz="2800" b="1">
                <a:solidFill>
                  <a:schemeClr val="tx2"/>
                </a:solidFill>
                <a:ea typeface="+mn-lt"/>
                <a:cs typeface="+mn-lt"/>
              </a:rPr>
              <a:t>Fresher Learning Program</a:t>
            </a:r>
            <a:endParaRPr lang="en-US" sz="2800">
              <a:solidFill>
                <a:schemeClr val="tx2"/>
              </a:solidFill>
              <a:cs typeface="Calibri"/>
            </a:endParaRPr>
          </a:p>
        </p:txBody>
      </p:sp>
    </p:spTree>
    <p:extLst>
      <p:ext uri="{BB962C8B-B14F-4D97-AF65-F5344CB8AC3E}">
        <p14:creationId xmlns:p14="http://schemas.microsoft.com/office/powerpoint/2010/main" val="25273115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533401" y="1292225"/>
            <a:ext cx="10713631" cy="4351338"/>
          </a:xfrm>
        </p:spPr>
        <p:txBody>
          <a:bodyPr>
            <a:normAutofit/>
          </a:bodyPr>
          <a:lstStyle/>
          <a:p>
            <a:pPr marL="0" indent="0">
              <a:buNone/>
            </a:pPr>
            <a:r>
              <a:rPr lang="en-IN" sz="2400" b="1" dirty="0" smtClean="0"/>
              <a:t>Features of Savings Account</a:t>
            </a:r>
          </a:p>
          <a:p>
            <a:pPr marL="0" indent="0">
              <a:buNone/>
            </a:pPr>
            <a:endParaRPr lang="en-IN" sz="2000" dirty="0" smtClean="0"/>
          </a:p>
          <a:p>
            <a:pPr>
              <a:buFont typeface="Wingdings" panose="05000000000000000000" pitchFamily="2" charset="2"/>
              <a:buChar char="v"/>
            </a:pPr>
            <a:r>
              <a:rPr lang="en-IN" sz="2000" dirty="0" smtClean="0"/>
              <a:t> A Savings bank account is a safe place to store surplus funds</a:t>
            </a:r>
          </a:p>
          <a:p>
            <a:pPr>
              <a:buFont typeface="Wingdings" panose="05000000000000000000" pitchFamily="2" charset="2"/>
              <a:buChar char="v"/>
            </a:pPr>
            <a:r>
              <a:rPr lang="en-IN" sz="2000" dirty="0" smtClean="0"/>
              <a:t>The balance in a savings account earns interest.</a:t>
            </a:r>
          </a:p>
          <a:p>
            <a:pPr>
              <a:buFont typeface="Wingdings" panose="05000000000000000000" pitchFamily="2" charset="2"/>
              <a:buChar char="v"/>
            </a:pPr>
            <a:r>
              <a:rPr lang="en-IN" sz="2000" dirty="0"/>
              <a:t> </a:t>
            </a:r>
            <a:r>
              <a:rPr lang="en-IN" sz="2000" dirty="0" smtClean="0"/>
              <a:t>Savings account interest rates  on savings account can range from 3.5% to 7% p.a.</a:t>
            </a:r>
          </a:p>
          <a:p>
            <a:pPr>
              <a:buFont typeface="Wingdings" panose="05000000000000000000" pitchFamily="2" charset="2"/>
              <a:buChar char="v"/>
            </a:pPr>
            <a:r>
              <a:rPr lang="en-IN" sz="2000" dirty="0" smtClean="0"/>
              <a:t>Easy access to internet banking and mobile banking</a:t>
            </a:r>
          </a:p>
          <a:p>
            <a:pPr>
              <a:buFont typeface="Wingdings" panose="05000000000000000000" pitchFamily="2" charset="2"/>
              <a:buChar char="v"/>
            </a:pPr>
            <a:r>
              <a:rPr lang="en-IN" sz="2000" dirty="0"/>
              <a:t> </a:t>
            </a:r>
            <a:r>
              <a:rPr lang="en-IN" sz="2000" dirty="0" smtClean="0"/>
              <a:t>Most banks also provide savings account holders with various insurance covers  including personal accidents and death.</a:t>
            </a:r>
          </a:p>
          <a:p>
            <a:pPr>
              <a:buFont typeface="Wingdings" panose="05000000000000000000" pitchFamily="2" charset="2"/>
              <a:buChar char="v"/>
            </a:pPr>
            <a:r>
              <a:rPr lang="en-IN" sz="2000" dirty="0" smtClean="0"/>
              <a:t>ATMs  can be used all across India with your debit card.</a:t>
            </a:r>
          </a:p>
          <a:p>
            <a:pPr>
              <a:buFont typeface="Wingdings" panose="05000000000000000000" pitchFamily="2" charset="2"/>
              <a:buChar char="v"/>
            </a:pPr>
            <a:r>
              <a:rPr lang="en-IN" sz="2000" dirty="0"/>
              <a:t> </a:t>
            </a:r>
            <a:r>
              <a:rPr lang="en-IN" sz="2000" dirty="0" smtClean="0"/>
              <a:t>Cheque Book facility </a:t>
            </a:r>
          </a:p>
        </p:txBody>
      </p:sp>
    </p:spTree>
    <p:extLst>
      <p:ext uri="{BB962C8B-B14F-4D97-AF65-F5344CB8AC3E}">
        <p14:creationId xmlns:p14="http://schemas.microsoft.com/office/powerpoint/2010/main" val="154358491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D7D8EB6-FA2E-41F8-A725-27B029EB5DBD}"/>
              </a:ext>
            </a:extLst>
          </p:cNvPr>
          <p:cNvSpPr>
            <a:spLocks noGrp="1"/>
          </p:cNvSpPr>
          <p:nvPr>
            <p:ph idx="1"/>
          </p:nvPr>
        </p:nvSpPr>
        <p:spPr>
          <a:xfrm>
            <a:off x="493142" y="1135512"/>
            <a:ext cx="10713631" cy="4769988"/>
          </a:xfrm>
        </p:spPr>
        <p:txBody>
          <a:bodyPr vert="horz" lIns="91440" tIns="45720" rIns="91440" bIns="45720" rtlCol="0" anchor="t">
            <a:noAutofit/>
          </a:bodyPr>
          <a:lstStyle/>
          <a:p>
            <a:pPr marL="0" indent="0" algn="just">
              <a:lnSpc>
                <a:spcPct val="100000"/>
              </a:lnSpc>
              <a:spcBef>
                <a:spcPts val="200"/>
              </a:spcBef>
              <a:spcAft>
                <a:spcPct val="0"/>
              </a:spcAft>
              <a:buNone/>
            </a:pPr>
            <a:r>
              <a:rPr lang="en-US" sz="2000" b="1" dirty="0" smtClean="0">
                <a:cs typeface="Calibri"/>
              </a:rPr>
              <a:t>1.  </a:t>
            </a:r>
            <a:r>
              <a:rPr lang="en-US" sz="2000" b="1" dirty="0">
                <a:cs typeface="Calibri"/>
              </a:rPr>
              <a:t>Regular Savings Account</a:t>
            </a:r>
          </a:p>
          <a:p>
            <a:pPr marL="0" indent="0" algn="just">
              <a:lnSpc>
                <a:spcPct val="100000"/>
              </a:lnSpc>
              <a:spcBef>
                <a:spcPts val="200"/>
              </a:spcBef>
              <a:spcAft>
                <a:spcPct val="0"/>
              </a:spcAft>
              <a:buNone/>
            </a:pPr>
            <a:endParaRPr lang="en-US" sz="2000" dirty="0">
              <a:cs typeface="Calibri"/>
            </a:endParaRPr>
          </a:p>
          <a:p>
            <a:pPr marL="0" indent="0" algn="just">
              <a:lnSpc>
                <a:spcPct val="100000"/>
              </a:lnSpc>
              <a:spcBef>
                <a:spcPts val="200"/>
              </a:spcBef>
              <a:spcAft>
                <a:spcPct val="0"/>
              </a:spcAft>
              <a:buNone/>
            </a:pPr>
            <a:r>
              <a:rPr lang="en-US" sz="2000" dirty="0">
                <a:cs typeface="Calibri"/>
              </a:rPr>
              <a:t>  </a:t>
            </a:r>
            <a:r>
              <a:rPr lang="en-US" sz="2000" dirty="0" smtClean="0">
                <a:cs typeface="Calibri"/>
              </a:rPr>
              <a:t>These </a:t>
            </a:r>
            <a:r>
              <a:rPr lang="en-US" sz="2000" dirty="0">
                <a:cs typeface="Calibri"/>
              </a:rPr>
              <a:t>are opened on basic terms and conditions</a:t>
            </a:r>
            <a:r>
              <a:rPr lang="en-US" sz="2000" dirty="0" smtClean="0">
                <a:cs typeface="Calibri"/>
              </a:rPr>
              <a:t>. The </a:t>
            </a:r>
            <a:r>
              <a:rPr lang="en-US" sz="2000" dirty="0">
                <a:cs typeface="Calibri"/>
              </a:rPr>
              <a:t>regular savings accounts do not see regular deposits of consistent amounts, and are the equivalent of a safe house where money is kept for safe keeping.</a:t>
            </a:r>
          </a:p>
          <a:p>
            <a:pPr marL="0" indent="0" algn="just">
              <a:lnSpc>
                <a:spcPct val="100000"/>
              </a:lnSpc>
              <a:spcBef>
                <a:spcPts val="200"/>
              </a:spcBef>
              <a:spcAft>
                <a:spcPct val="0"/>
              </a:spcAft>
              <a:buNone/>
            </a:pPr>
            <a:endParaRPr lang="en-US" sz="2000" dirty="0">
              <a:cs typeface="Calibri"/>
            </a:endParaRPr>
          </a:p>
          <a:p>
            <a:pPr marL="0" indent="0" algn="just">
              <a:lnSpc>
                <a:spcPct val="100000"/>
              </a:lnSpc>
              <a:spcBef>
                <a:spcPts val="200"/>
              </a:spcBef>
              <a:spcAft>
                <a:spcPct val="0"/>
              </a:spcAft>
              <a:buNone/>
            </a:pPr>
            <a:r>
              <a:rPr lang="en-US" sz="2000" b="1" dirty="0" smtClean="0">
                <a:cs typeface="Calibri"/>
              </a:rPr>
              <a:t>2. Salary-based </a:t>
            </a:r>
            <a:r>
              <a:rPr lang="en-US" sz="2000" b="1" dirty="0">
                <a:cs typeface="Calibri"/>
              </a:rPr>
              <a:t>Savings Account</a:t>
            </a:r>
          </a:p>
          <a:p>
            <a:pPr marL="0" indent="0" algn="just">
              <a:lnSpc>
                <a:spcPct val="100000"/>
              </a:lnSpc>
              <a:spcBef>
                <a:spcPts val="200"/>
              </a:spcBef>
              <a:spcAft>
                <a:spcPct val="0"/>
              </a:spcAft>
              <a:buNone/>
            </a:pPr>
            <a:endParaRPr lang="en-US" sz="2000" dirty="0">
              <a:cs typeface="Calibri"/>
            </a:endParaRPr>
          </a:p>
          <a:p>
            <a:pPr marL="0" indent="0" algn="just">
              <a:lnSpc>
                <a:spcPct val="100000"/>
              </a:lnSpc>
              <a:spcBef>
                <a:spcPts val="200"/>
              </a:spcBef>
              <a:spcAft>
                <a:spcPct val="0"/>
              </a:spcAft>
              <a:buNone/>
            </a:pPr>
            <a:r>
              <a:rPr lang="en-US" sz="2000" dirty="0">
                <a:cs typeface="Calibri"/>
              </a:rPr>
              <a:t>    These accounts are opened by banks on the request of companies which require a platform for payment disbursal</a:t>
            </a:r>
            <a:r>
              <a:rPr lang="en-US" sz="2000" dirty="0" smtClean="0">
                <a:cs typeface="Calibri"/>
              </a:rPr>
              <a:t>. Banks </a:t>
            </a:r>
            <a:r>
              <a:rPr lang="en-US" sz="2000" dirty="0">
                <a:cs typeface="Calibri"/>
              </a:rPr>
              <a:t>offer preferential rates and terms for these kinds of accounts. When the date of payment disbursal arrives, the bank withdraws money from the company account and disburses the </a:t>
            </a:r>
            <a:r>
              <a:rPr lang="en-US" sz="2000" dirty="0" smtClean="0">
                <a:cs typeface="Calibri"/>
              </a:rPr>
              <a:t>money. One </a:t>
            </a:r>
            <a:r>
              <a:rPr lang="en-US" sz="2000" dirty="0">
                <a:cs typeface="Calibri"/>
              </a:rPr>
              <a:t>must note that almost most salary accounts will not have a minimum balance </a:t>
            </a:r>
            <a:r>
              <a:rPr lang="en-US" sz="2000" dirty="0" smtClean="0">
                <a:cs typeface="Calibri"/>
              </a:rPr>
              <a:t>requirement. If </a:t>
            </a:r>
            <a:r>
              <a:rPr lang="en-US" sz="2000" dirty="0">
                <a:cs typeface="Calibri"/>
              </a:rPr>
              <a:t>salary is not credited for 3 consecutive months, the accounts will be converted into a regular savings account.</a:t>
            </a:r>
          </a:p>
          <a:p>
            <a:pPr marL="0" indent="0" algn="just">
              <a:lnSpc>
                <a:spcPct val="100000"/>
              </a:lnSpc>
              <a:spcBef>
                <a:spcPts val="200"/>
              </a:spcBef>
              <a:spcAft>
                <a:spcPct val="0"/>
              </a:spcAft>
              <a:buNone/>
            </a:pPr>
            <a:endParaRPr lang="en-US" sz="2000" dirty="0">
              <a:cs typeface="Calibri"/>
            </a:endParaRPr>
          </a:p>
          <a:p>
            <a:pPr marL="0" indent="0" algn="just">
              <a:lnSpc>
                <a:spcPct val="100000"/>
              </a:lnSpc>
              <a:spcBef>
                <a:spcPts val="200"/>
              </a:spcBef>
              <a:spcAft>
                <a:spcPct val="0"/>
              </a:spcAft>
              <a:buNone/>
            </a:pPr>
            <a:endParaRPr lang="en-IN" sz="2000" dirty="0">
              <a:cs typeface="Calibri"/>
            </a:endParaRPr>
          </a:p>
        </p:txBody>
      </p:sp>
      <p:sp>
        <p:nvSpPr>
          <p:cNvPr id="3" name="Title 2">
            <a:extLst>
              <a:ext uri="{FF2B5EF4-FFF2-40B4-BE49-F238E27FC236}">
                <a16:creationId xmlns:a16="http://schemas.microsoft.com/office/drawing/2014/main" id="{FBB341BF-A1B3-44BE-9338-684B7484A41C}"/>
              </a:ext>
            </a:extLst>
          </p:cNvPr>
          <p:cNvSpPr>
            <a:spLocks noGrp="1"/>
          </p:cNvSpPr>
          <p:nvPr>
            <p:ph type="title"/>
          </p:nvPr>
        </p:nvSpPr>
        <p:spPr/>
        <p:txBody>
          <a:bodyPr/>
          <a:lstStyle/>
          <a:p>
            <a:r>
              <a:rPr lang="en-IN" dirty="0" smtClean="0">
                <a:latin typeface="Arial"/>
                <a:cs typeface="Arial"/>
              </a:rPr>
              <a:t>Types of Savings </a:t>
            </a:r>
            <a:r>
              <a:rPr lang="en-IN" dirty="0">
                <a:latin typeface="Arial"/>
                <a:cs typeface="Arial"/>
              </a:rPr>
              <a:t>Bank Account</a:t>
            </a:r>
            <a:endParaRPr lang="en-US" dirty="0">
              <a:latin typeface="Arial"/>
              <a:cs typeface="Calibri"/>
            </a:endParaRPr>
          </a:p>
        </p:txBody>
      </p:sp>
      <p:sp>
        <p:nvSpPr>
          <p:cNvPr id="4" name="Slide Number Placeholder 3">
            <a:extLst>
              <a:ext uri="{FF2B5EF4-FFF2-40B4-BE49-F238E27FC236}">
                <a16:creationId xmlns:a16="http://schemas.microsoft.com/office/drawing/2014/main" id="{68FAF5E2-4E1D-4848-B045-1F5C1ACC1405}"/>
              </a:ext>
            </a:extLst>
          </p:cNvPr>
          <p:cNvSpPr>
            <a:spLocks noGrp="1"/>
          </p:cNvSpPr>
          <p:nvPr>
            <p:ph type="sldNum" sz="quarter" idx="12"/>
          </p:nvPr>
        </p:nvSpPr>
        <p:spPr/>
        <p:txBody>
          <a:bodyPr/>
          <a:lstStyle/>
          <a:p>
            <a:fld id="{C7F1B9D8-1D95-44B3-9E1C-E404196FC055}" type="slidenum">
              <a:rPr lang="hi-IN" smtClean="0"/>
              <a:t>11</a:t>
            </a:fld>
            <a:endParaRPr lang="hi-IN"/>
          </a:p>
        </p:txBody>
      </p:sp>
    </p:spTree>
    <p:extLst>
      <p:ext uri="{BB962C8B-B14F-4D97-AF65-F5344CB8AC3E}">
        <p14:creationId xmlns:p14="http://schemas.microsoft.com/office/powerpoint/2010/main" val="425982583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D7D8EB6-FA2E-41F8-A725-27B029EB5DBD}"/>
              </a:ext>
            </a:extLst>
          </p:cNvPr>
          <p:cNvSpPr>
            <a:spLocks noGrp="1"/>
          </p:cNvSpPr>
          <p:nvPr>
            <p:ph idx="1"/>
          </p:nvPr>
        </p:nvSpPr>
        <p:spPr>
          <a:xfrm>
            <a:off x="493142" y="1135512"/>
            <a:ext cx="10713631" cy="4769988"/>
          </a:xfrm>
        </p:spPr>
        <p:txBody>
          <a:bodyPr vert="horz" lIns="91440" tIns="45720" rIns="91440" bIns="45720" rtlCol="0" anchor="t">
            <a:noAutofit/>
          </a:bodyPr>
          <a:lstStyle/>
          <a:p>
            <a:pPr marL="0" indent="0" algn="just">
              <a:lnSpc>
                <a:spcPct val="100000"/>
              </a:lnSpc>
              <a:spcBef>
                <a:spcPts val="200"/>
              </a:spcBef>
              <a:spcAft>
                <a:spcPct val="0"/>
              </a:spcAft>
              <a:buNone/>
            </a:pPr>
            <a:r>
              <a:rPr lang="en-US" sz="2000" b="1" dirty="0">
                <a:cs typeface="Calibri"/>
              </a:rPr>
              <a:t> </a:t>
            </a:r>
            <a:r>
              <a:rPr lang="en-US" sz="2000" b="1" dirty="0" smtClean="0">
                <a:cs typeface="Calibri"/>
              </a:rPr>
              <a:t>3. Senior </a:t>
            </a:r>
            <a:r>
              <a:rPr lang="en-US" sz="2000" b="1" dirty="0">
                <a:cs typeface="Calibri"/>
              </a:rPr>
              <a:t>Citizens Savings Accounts</a:t>
            </a:r>
          </a:p>
          <a:p>
            <a:pPr marL="0" indent="0" algn="just">
              <a:lnSpc>
                <a:spcPct val="100000"/>
              </a:lnSpc>
              <a:spcBef>
                <a:spcPts val="200"/>
              </a:spcBef>
              <a:spcAft>
                <a:spcPct val="0"/>
              </a:spcAft>
              <a:buNone/>
            </a:pPr>
            <a:endParaRPr lang="en-US" sz="2000" dirty="0">
              <a:cs typeface="Calibri"/>
            </a:endParaRPr>
          </a:p>
          <a:p>
            <a:pPr marL="0" indent="0" algn="just">
              <a:lnSpc>
                <a:spcPct val="100000"/>
              </a:lnSpc>
              <a:spcBef>
                <a:spcPts val="200"/>
              </a:spcBef>
              <a:spcAft>
                <a:spcPct val="0"/>
              </a:spcAft>
              <a:buNone/>
            </a:pPr>
            <a:r>
              <a:rPr lang="en-US" sz="2000" dirty="0" smtClean="0">
                <a:cs typeface="Calibri"/>
              </a:rPr>
              <a:t>The </a:t>
            </a:r>
            <a:r>
              <a:rPr lang="en-US" sz="2000" dirty="0">
                <a:cs typeface="Calibri"/>
              </a:rPr>
              <a:t>accounts function in the very same way like regular savings accounts, but it offers much higher rates of interest and banking privileges for senior </a:t>
            </a:r>
            <a:r>
              <a:rPr lang="en-US" sz="2000" dirty="0" smtClean="0">
                <a:cs typeface="Calibri"/>
              </a:rPr>
              <a:t>citizens. These </a:t>
            </a:r>
            <a:r>
              <a:rPr lang="en-US" sz="2000" dirty="0">
                <a:cs typeface="Calibri"/>
              </a:rPr>
              <a:t>accounts will be linked to other senior citizen savings schemes for remitting the funds from their retirement accounts or pension funds, and consolidate all the funds under one single bank account.</a:t>
            </a:r>
          </a:p>
          <a:p>
            <a:pPr marL="0" indent="0" algn="just">
              <a:lnSpc>
                <a:spcPct val="100000"/>
              </a:lnSpc>
              <a:spcBef>
                <a:spcPts val="200"/>
              </a:spcBef>
              <a:spcAft>
                <a:spcPct val="0"/>
              </a:spcAft>
              <a:buNone/>
            </a:pPr>
            <a:endParaRPr lang="en-US" sz="2000" dirty="0">
              <a:cs typeface="Calibri"/>
            </a:endParaRPr>
          </a:p>
          <a:p>
            <a:pPr marL="0" indent="0" algn="just">
              <a:lnSpc>
                <a:spcPct val="100000"/>
              </a:lnSpc>
              <a:spcBef>
                <a:spcPts val="200"/>
              </a:spcBef>
              <a:spcAft>
                <a:spcPct val="0"/>
              </a:spcAft>
              <a:buNone/>
            </a:pPr>
            <a:r>
              <a:rPr lang="en-US" sz="2000" b="1" dirty="0" smtClean="0">
                <a:cs typeface="Calibri"/>
              </a:rPr>
              <a:t>4. Minors</a:t>
            </a:r>
            <a:r>
              <a:rPr lang="en-US" sz="2000" b="1" dirty="0">
                <a:cs typeface="Calibri"/>
              </a:rPr>
              <a:t>’ Savings Accounts</a:t>
            </a:r>
          </a:p>
          <a:p>
            <a:pPr marL="0" indent="0" algn="just">
              <a:lnSpc>
                <a:spcPct val="100000"/>
              </a:lnSpc>
              <a:spcBef>
                <a:spcPts val="200"/>
              </a:spcBef>
              <a:spcAft>
                <a:spcPct val="0"/>
              </a:spcAft>
              <a:buNone/>
            </a:pPr>
            <a:endParaRPr lang="en-US" sz="2000" dirty="0">
              <a:cs typeface="Calibri"/>
            </a:endParaRPr>
          </a:p>
          <a:p>
            <a:pPr marL="0" indent="0" algn="just">
              <a:lnSpc>
                <a:spcPct val="100000"/>
              </a:lnSpc>
              <a:spcBef>
                <a:spcPts val="200"/>
              </a:spcBef>
              <a:spcAft>
                <a:spcPct val="0"/>
              </a:spcAft>
              <a:buNone/>
            </a:pPr>
            <a:r>
              <a:rPr lang="en-US" sz="2000" dirty="0">
                <a:cs typeface="Calibri"/>
              </a:rPr>
              <a:t>    These accounts do not have a minimum balance requirement. A minor’s saving account has been curated for educating children about banking facilities and savings accounts</a:t>
            </a:r>
            <a:r>
              <a:rPr lang="en-US" sz="2000" dirty="0" smtClean="0">
                <a:cs typeface="Calibri"/>
              </a:rPr>
              <a:t>. This </a:t>
            </a:r>
            <a:r>
              <a:rPr lang="en-US" sz="2000" dirty="0">
                <a:cs typeface="Calibri"/>
              </a:rPr>
              <a:t>kind of account can be opened and operated under the supervision of the legal </a:t>
            </a:r>
            <a:r>
              <a:rPr lang="en-US" sz="2000" dirty="0" smtClean="0">
                <a:cs typeface="Calibri"/>
              </a:rPr>
              <a:t>guardian. Once </a:t>
            </a:r>
            <a:r>
              <a:rPr lang="en-US" sz="2000" dirty="0">
                <a:cs typeface="Calibri"/>
              </a:rPr>
              <a:t>the child reaches 18 years old, the account will be converted into a regular savings account.</a:t>
            </a:r>
          </a:p>
          <a:p>
            <a:pPr marL="0" indent="0" algn="just">
              <a:lnSpc>
                <a:spcPct val="100000"/>
              </a:lnSpc>
              <a:spcBef>
                <a:spcPts val="200"/>
              </a:spcBef>
              <a:spcAft>
                <a:spcPct val="0"/>
              </a:spcAft>
              <a:buNone/>
            </a:pPr>
            <a:endParaRPr lang="en-US" sz="2000" dirty="0">
              <a:cs typeface="Calibri"/>
            </a:endParaRPr>
          </a:p>
          <a:p>
            <a:pPr marL="0" indent="0" algn="just">
              <a:lnSpc>
                <a:spcPct val="100000"/>
              </a:lnSpc>
              <a:spcBef>
                <a:spcPts val="200"/>
              </a:spcBef>
              <a:spcAft>
                <a:spcPct val="0"/>
              </a:spcAft>
              <a:buNone/>
            </a:pPr>
            <a:endParaRPr lang="en-IN" sz="2000" dirty="0">
              <a:cs typeface="Calibri"/>
            </a:endParaRPr>
          </a:p>
        </p:txBody>
      </p:sp>
      <p:sp>
        <p:nvSpPr>
          <p:cNvPr id="3" name="Title 2">
            <a:extLst>
              <a:ext uri="{FF2B5EF4-FFF2-40B4-BE49-F238E27FC236}">
                <a16:creationId xmlns:a16="http://schemas.microsoft.com/office/drawing/2014/main" id="{FBB341BF-A1B3-44BE-9338-684B7484A41C}"/>
              </a:ext>
            </a:extLst>
          </p:cNvPr>
          <p:cNvSpPr>
            <a:spLocks noGrp="1"/>
          </p:cNvSpPr>
          <p:nvPr>
            <p:ph type="title"/>
          </p:nvPr>
        </p:nvSpPr>
        <p:spPr/>
        <p:txBody>
          <a:bodyPr/>
          <a:lstStyle/>
          <a:p>
            <a:r>
              <a:rPr lang="en-IN" dirty="0" smtClean="0">
                <a:latin typeface="Arial"/>
                <a:cs typeface="Arial"/>
              </a:rPr>
              <a:t>Types of Savings </a:t>
            </a:r>
            <a:r>
              <a:rPr lang="en-IN" dirty="0">
                <a:latin typeface="Arial"/>
                <a:cs typeface="Arial"/>
              </a:rPr>
              <a:t>Bank Account</a:t>
            </a:r>
            <a:endParaRPr lang="en-US" dirty="0">
              <a:latin typeface="Arial"/>
              <a:cs typeface="Calibri"/>
            </a:endParaRPr>
          </a:p>
        </p:txBody>
      </p:sp>
      <p:sp>
        <p:nvSpPr>
          <p:cNvPr id="4" name="Slide Number Placeholder 3">
            <a:extLst>
              <a:ext uri="{FF2B5EF4-FFF2-40B4-BE49-F238E27FC236}">
                <a16:creationId xmlns:a16="http://schemas.microsoft.com/office/drawing/2014/main" id="{68FAF5E2-4E1D-4848-B045-1F5C1ACC1405}"/>
              </a:ext>
            </a:extLst>
          </p:cNvPr>
          <p:cNvSpPr>
            <a:spLocks noGrp="1"/>
          </p:cNvSpPr>
          <p:nvPr>
            <p:ph type="sldNum" sz="quarter" idx="12"/>
          </p:nvPr>
        </p:nvSpPr>
        <p:spPr/>
        <p:txBody>
          <a:bodyPr/>
          <a:lstStyle/>
          <a:p>
            <a:fld id="{C7F1B9D8-1D95-44B3-9E1C-E404196FC055}" type="slidenum">
              <a:rPr lang="hi-IN" smtClean="0"/>
              <a:t>12</a:t>
            </a:fld>
            <a:endParaRPr lang="hi-IN"/>
          </a:p>
        </p:txBody>
      </p:sp>
    </p:spTree>
    <p:extLst>
      <p:ext uri="{BB962C8B-B14F-4D97-AF65-F5344CB8AC3E}">
        <p14:creationId xmlns:p14="http://schemas.microsoft.com/office/powerpoint/2010/main" val="426748645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D7D8EB6-FA2E-41F8-A725-27B029EB5DBD}"/>
              </a:ext>
            </a:extLst>
          </p:cNvPr>
          <p:cNvSpPr>
            <a:spLocks noGrp="1"/>
          </p:cNvSpPr>
          <p:nvPr>
            <p:ph idx="1"/>
          </p:nvPr>
        </p:nvSpPr>
        <p:spPr>
          <a:xfrm>
            <a:off x="493142" y="1135512"/>
            <a:ext cx="10713631" cy="4769988"/>
          </a:xfrm>
        </p:spPr>
        <p:txBody>
          <a:bodyPr vert="horz" lIns="91440" tIns="45720" rIns="91440" bIns="45720" rtlCol="0" anchor="t">
            <a:noAutofit/>
          </a:bodyPr>
          <a:lstStyle/>
          <a:p>
            <a:pPr marL="0" indent="0" algn="just">
              <a:lnSpc>
                <a:spcPct val="100000"/>
              </a:lnSpc>
              <a:spcBef>
                <a:spcPts val="200"/>
              </a:spcBef>
              <a:spcAft>
                <a:spcPct val="0"/>
              </a:spcAft>
              <a:buNone/>
            </a:pPr>
            <a:r>
              <a:rPr lang="en-US" sz="2000" b="1" dirty="0" smtClean="0">
                <a:cs typeface="Calibri"/>
              </a:rPr>
              <a:t>5.  </a:t>
            </a:r>
            <a:r>
              <a:rPr lang="en-US" sz="2000" b="1" dirty="0">
                <a:cs typeface="Calibri"/>
              </a:rPr>
              <a:t>Zero Balance Savings Account</a:t>
            </a:r>
          </a:p>
          <a:p>
            <a:pPr marL="0" indent="0" algn="just">
              <a:lnSpc>
                <a:spcPct val="100000"/>
              </a:lnSpc>
              <a:spcBef>
                <a:spcPts val="200"/>
              </a:spcBef>
              <a:spcAft>
                <a:spcPct val="0"/>
              </a:spcAft>
              <a:buNone/>
            </a:pPr>
            <a:endParaRPr lang="en-US" sz="2000" dirty="0">
              <a:cs typeface="Calibri"/>
            </a:endParaRPr>
          </a:p>
          <a:p>
            <a:pPr marL="0" indent="0" algn="just">
              <a:lnSpc>
                <a:spcPct val="100000"/>
              </a:lnSpc>
              <a:spcBef>
                <a:spcPts val="200"/>
              </a:spcBef>
              <a:spcAft>
                <a:spcPct val="0"/>
              </a:spcAft>
              <a:buNone/>
            </a:pPr>
            <a:r>
              <a:rPr lang="en-US" sz="2000" dirty="0">
                <a:cs typeface="Calibri"/>
              </a:rPr>
              <a:t>    This account merges the features of a savings account and a current account</a:t>
            </a:r>
            <a:r>
              <a:rPr lang="en-US" sz="2000" dirty="0" smtClean="0">
                <a:cs typeface="Calibri"/>
              </a:rPr>
              <a:t>. While </a:t>
            </a:r>
            <a:r>
              <a:rPr lang="en-US" sz="2000" dirty="0">
                <a:cs typeface="Calibri"/>
              </a:rPr>
              <a:t>there are limits on withdrawal amounts, you will not charge penalties if the balance falls below the prescribed minimum.</a:t>
            </a:r>
          </a:p>
          <a:p>
            <a:pPr marL="0" indent="0" algn="just">
              <a:lnSpc>
                <a:spcPct val="100000"/>
              </a:lnSpc>
              <a:spcBef>
                <a:spcPts val="200"/>
              </a:spcBef>
              <a:spcAft>
                <a:spcPct val="0"/>
              </a:spcAft>
              <a:buNone/>
            </a:pPr>
            <a:endParaRPr lang="en-US" sz="2000" dirty="0">
              <a:cs typeface="Calibri"/>
            </a:endParaRPr>
          </a:p>
          <a:p>
            <a:pPr marL="0" indent="0" algn="just">
              <a:lnSpc>
                <a:spcPct val="100000"/>
              </a:lnSpc>
              <a:spcBef>
                <a:spcPts val="200"/>
              </a:spcBef>
              <a:spcAft>
                <a:spcPct val="0"/>
              </a:spcAft>
              <a:buNone/>
            </a:pPr>
            <a:r>
              <a:rPr lang="en-US" sz="2000" b="1" dirty="0" smtClean="0">
                <a:cs typeface="Calibri"/>
              </a:rPr>
              <a:t>6. Women’s </a:t>
            </a:r>
            <a:r>
              <a:rPr lang="en-US" sz="2000" b="1" dirty="0">
                <a:cs typeface="Calibri"/>
              </a:rPr>
              <a:t>Savings Account</a:t>
            </a:r>
          </a:p>
          <a:p>
            <a:pPr marL="0" indent="0" algn="just">
              <a:lnSpc>
                <a:spcPct val="100000"/>
              </a:lnSpc>
              <a:spcBef>
                <a:spcPts val="200"/>
              </a:spcBef>
              <a:spcAft>
                <a:spcPct val="0"/>
              </a:spcAft>
              <a:buNone/>
            </a:pPr>
            <a:endParaRPr lang="en-US" sz="2000" dirty="0">
              <a:cs typeface="Calibri"/>
            </a:endParaRPr>
          </a:p>
          <a:p>
            <a:pPr marL="0" indent="0" algn="just">
              <a:lnSpc>
                <a:spcPct val="100000"/>
              </a:lnSpc>
              <a:spcBef>
                <a:spcPts val="200"/>
              </a:spcBef>
              <a:spcAft>
                <a:spcPct val="0"/>
              </a:spcAft>
              <a:buNone/>
            </a:pPr>
            <a:r>
              <a:rPr lang="en-US" sz="2000" dirty="0">
                <a:cs typeface="Calibri"/>
              </a:rPr>
              <a:t>  </a:t>
            </a:r>
            <a:r>
              <a:rPr lang="en-US" sz="2000" dirty="0" smtClean="0">
                <a:cs typeface="Calibri"/>
              </a:rPr>
              <a:t> </a:t>
            </a:r>
            <a:r>
              <a:rPr lang="en-US" sz="2000" dirty="0">
                <a:cs typeface="Calibri"/>
              </a:rPr>
              <a:t>These kinds of accounts come with special features to benefit the account </a:t>
            </a:r>
            <a:r>
              <a:rPr lang="en-US" sz="2000" dirty="0" smtClean="0">
                <a:cs typeface="Calibri"/>
              </a:rPr>
              <a:t>holder. These </a:t>
            </a:r>
            <a:r>
              <a:rPr lang="en-US" sz="2000" dirty="0">
                <a:cs typeface="Calibri"/>
              </a:rPr>
              <a:t>benefits include discounts on certain purchases, low interest rates on loans, and a waiver on </a:t>
            </a:r>
            <a:r>
              <a:rPr lang="en-US" sz="2000" dirty="0" err="1">
                <a:cs typeface="Calibri"/>
              </a:rPr>
              <a:t>demat</a:t>
            </a:r>
            <a:r>
              <a:rPr lang="en-US" sz="2000" dirty="0">
                <a:cs typeface="Calibri"/>
              </a:rPr>
              <a:t> account charges.</a:t>
            </a:r>
          </a:p>
          <a:p>
            <a:pPr marL="0" indent="0" algn="just">
              <a:lnSpc>
                <a:spcPct val="100000"/>
              </a:lnSpc>
              <a:spcBef>
                <a:spcPts val="200"/>
              </a:spcBef>
              <a:spcAft>
                <a:spcPct val="0"/>
              </a:spcAft>
              <a:buNone/>
            </a:pPr>
            <a:endParaRPr lang="en-US" sz="2000" dirty="0">
              <a:cs typeface="Calibri"/>
            </a:endParaRPr>
          </a:p>
          <a:p>
            <a:pPr marL="0" indent="0" algn="just">
              <a:lnSpc>
                <a:spcPct val="100000"/>
              </a:lnSpc>
              <a:spcBef>
                <a:spcPts val="200"/>
              </a:spcBef>
              <a:spcAft>
                <a:spcPct val="0"/>
              </a:spcAft>
              <a:buNone/>
            </a:pPr>
            <a:endParaRPr lang="en-IN" sz="2000" dirty="0">
              <a:cs typeface="Calibri"/>
            </a:endParaRPr>
          </a:p>
        </p:txBody>
      </p:sp>
      <p:sp>
        <p:nvSpPr>
          <p:cNvPr id="3" name="Title 2">
            <a:extLst>
              <a:ext uri="{FF2B5EF4-FFF2-40B4-BE49-F238E27FC236}">
                <a16:creationId xmlns:a16="http://schemas.microsoft.com/office/drawing/2014/main" id="{FBB341BF-A1B3-44BE-9338-684B7484A41C}"/>
              </a:ext>
            </a:extLst>
          </p:cNvPr>
          <p:cNvSpPr>
            <a:spLocks noGrp="1"/>
          </p:cNvSpPr>
          <p:nvPr>
            <p:ph type="title"/>
          </p:nvPr>
        </p:nvSpPr>
        <p:spPr/>
        <p:txBody>
          <a:bodyPr/>
          <a:lstStyle/>
          <a:p>
            <a:r>
              <a:rPr lang="en-IN" dirty="0" smtClean="0">
                <a:latin typeface="Arial"/>
                <a:cs typeface="Arial"/>
              </a:rPr>
              <a:t>Types of Savings </a:t>
            </a:r>
            <a:r>
              <a:rPr lang="en-IN" dirty="0">
                <a:latin typeface="Arial"/>
                <a:cs typeface="Arial"/>
              </a:rPr>
              <a:t>Bank Account</a:t>
            </a:r>
            <a:endParaRPr lang="en-US" dirty="0">
              <a:latin typeface="Arial"/>
              <a:cs typeface="Calibri"/>
            </a:endParaRPr>
          </a:p>
        </p:txBody>
      </p:sp>
      <p:sp>
        <p:nvSpPr>
          <p:cNvPr id="4" name="Slide Number Placeholder 3">
            <a:extLst>
              <a:ext uri="{FF2B5EF4-FFF2-40B4-BE49-F238E27FC236}">
                <a16:creationId xmlns:a16="http://schemas.microsoft.com/office/drawing/2014/main" id="{68FAF5E2-4E1D-4848-B045-1F5C1ACC1405}"/>
              </a:ext>
            </a:extLst>
          </p:cNvPr>
          <p:cNvSpPr>
            <a:spLocks noGrp="1"/>
          </p:cNvSpPr>
          <p:nvPr>
            <p:ph type="sldNum" sz="quarter" idx="12"/>
          </p:nvPr>
        </p:nvSpPr>
        <p:spPr/>
        <p:txBody>
          <a:bodyPr/>
          <a:lstStyle/>
          <a:p>
            <a:fld id="{C7F1B9D8-1D95-44B3-9E1C-E404196FC055}" type="slidenum">
              <a:rPr lang="hi-IN" smtClean="0"/>
              <a:t>13</a:t>
            </a:fld>
            <a:endParaRPr lang="hi-IN"/>
          </a:p>
        </p:txBody>
      </p:sp>
    </p:spTree>
    <p:extLst>
      <p:ext uri="{BB962C8B-B14F-4D97-AF65-F5344CB8AC3E}">
        <p14:creationId xmlns:p14="http://schemas.microsoft.com/office/powerpoint/2010/main" val="341391144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D7D8EB6-FA2E-41F8-A725-27B029EB5DBD}"/>
              </a:ext>
            </a:extLst>
          </p:cNvPr>
          <p:cNvSpPr>
            <a:spLocks noGrp="1"/>
          </p:cNvSpPr>
          <p:nvPr>
            <p:ph idx="1"/>
          </p:nvPr>
        </p:nvSpPr>
        <p:spPr>
          <a:xfrm>
            <a:off x="493142" y="1135512"/>
            <a:ext cx="10713631" cy="4769988"/>
          </a:xfrm>
        </p:spPr>
        <p:txBody>
          <a:bodyPr vert="horz" lIns="91440" tIns="45720" rIns="91440" bIns="45720" rtlCol="0" anchor="t">
            <a:noAutofit/>
          </a:bodyPr>
          <a:lstStyle/>
          <a:p>
            <a:pPr marL="0" indent="0" algn="just">
              <a:lnSpc>
                <a:spcPct val="100000"/>
              </a:lnSpc>
              <a:spcBef>
                <a:spcPts val="200"/>
              </a:spcBef>
              <a:spcAft>
                <a:spcPct val="0"/>
              </a:spcAft>
              <a:buNone/>
            </a:pPr>
            <a:r>
              <a:rPr lang="en-US" sz="2000" dirty="0"/>
              <a:t>A current account, also known as financial account is a type of deposit account maintained by individuals who carry out significantly higher number of transactions with banks on a regular basis</a:t>
            </a:r>
            <a:r>
              <a:rPr lang="en-US" sz="2000" dirty="0" smtClean="0"/>
              <a:t>.</a:t>
            </a:r>
          </a:p>
          <a:p>
            <a:pPr marL="0" indent="0" algn="just">
              <a:lnSpc>
                <a:spcPct val="100000"/>
              </a:lnSpc>
              <a:spcBef>
                <a:spcPts val="200"/>
              </a:spcBef>
              <a:spcAft>
                <a:spcPct val="0"/>
              </a:spcAft>
              <a:buNone/>
            </a:pPr>
            <a:endParaRPr lang="en-US" sz="2000" dirty="0"/>
          </a:p>
          <a:p>
            <a:pPr marL="0" indent="0" algn="just">
              <a:lnSpc>
                <a:spcPct val="100000"/>
              </a:lnSpc>
              <a:spcBef>
                <a:spcPts val="200"/>
              </a:spcBef>
              <a:spcAft>
                <a:spcPct val="0"/>
              </a:spcAft>
              <a:buNone/>
            </a:pPr>
            <a:r>
              <a:rPr lang="en-US" sz="2000" dirty="0" smtClean="0"/>
              <a:t>Current </a:t>
            </a:r>
            <a:r>
              <a:rPr lang="en-US" sz="2000" dirty="0"/>
              <a:t>accounts also allows to make payments to creditors through the </a:t>
            </a:r>
            <a:r>
              <a:rPr lang="en-US" sz="2000" dirty="0" err="1"/>
              <a:t>cheque</a:t>
            </a:r>
            <a:r>
              <a:rPr lang="en-US" sz="2000" dirty="0"/>
              <a:t> facility offered by the bank. Generally, current accounts </a:t>
            </a:r>
            <a:r>
              <a:rPr lang="en-US" sz="2000" dirty="0" smtClean="0"/>
              <a:t>requires </a:t>
            </a:r>
            <a:r>
              <a:rPr lang="en-US" sz="2000" dirty="0"/>
              <a:t>a higher minimum balance when compared to savings account. However, the greatest advantage of current bank account is that, account holders can easily avail overdraft facility up to an agreed limit</a:t>
            </a:r>
            <a:r>
              <a:rPr lang="en-US" sz="2000" dirty="0" smtClean="0"/>
              <a:t>.</a:t>
            </a:r>
          </a:p>
          <a:p>
            <a:pPr marL="0" indent="0" algn="just">
              <a:lnSpc>
                <a:spcPct val="100000"/>
              </a:lnSpc>
              <a:spcBef>
                <a:spcPts val="200"/>
              </a:spcBef>
              <a:spcAft>
                <a:spcPct val="0"/>
              </a:spcAft>
              <a:buNone/>
            </a:pPr>
            <a:endParaRPr lang="en-US" sz="2000" dirty="0">
              <a:cs typeface="Calibri"/>
            </a:endParaRPr>
          </a:p>
          <a:p>
            <a:pPr marL="0" indent="0" algn="just">
              <a:lnSpc>
                <a:spcPct val="100000"/>
              </a:lnSpc>
              <a:spcBef>
                <a:spcPts val="200"/>
              </a:spcBef>
              <a:spcAft>
                <a:spcPct val="0"/>
              </a:spcAft>
              <a:buNone/>
            </a:pPr>
            <a:r>
              <a:rPr lang="en-US" sz="2000" dirty="0" smtClean="0"/>
              <a:t>Current </a:t>
            </a:r>
            <a:r>
              <a:rPr lang="en-US" sz="2000" dirty="0"/>
              <a:t>accounts are also called demand deposit accounts. No interest is paid on these accounts, sometimes even a fee is charged for banking services.</a:t>
            </a:r>
            <a:endParaRPr lang="en-US" sz="2000" dirty="0" smtClean="0">
              <a:cs typeface="Calibri"/>
            </a:endParaRPr>
          </a:p>
        </p:txBody>
      </p:sp>
      <p:sp>
        <p:nvSpPr>
          <p:cNvPr id="3" name="Title 2">
            <a:extLst>
              <a:ext uri="{FF2B5EF4-FFF2-40B4-BE49-F238E27FC236}">
                <a16:creationId xmlns:a16="http://schemas.microsoft.com/office/drawing/2014/main" id="{FBB341BF-A1B3-44BE-9338-684B7484A41C}"/>
              </a:ext>
            </a:extLst>
          </p:cNvPr>
          <p:cNvSpPr>
            <a:spLocks noGrp="1"/>
          </p:cNvSpPr>
          <p:nvPr>
            <p:ph type="title"/>
          </p:nvPr>
        </p:nvSpPr>
        <p:spPr/>
        <p:txBody>
          <a:bodyPr/>
          <a:lstStyle/>
          <a:p>
            <a:r>
              <a:rPr lang="en-IN" dirty="0" smtClean="0">
                <a:latin typeface="Arial"/>
                <a:cs typeface="Arial"/>
              </a:rPr>
              <a:t>Current Account	</a:t>
            </a:r>
            <a:endParaRPr lang="en-US" dirty="0">
              <a:latin typeface="Arial"/>
              <a:cs typeface="Calibri"/>
            </a:endParaRPr>
          </a:p>
        </p:txBody>
      </p:sp>
      <p:sp>
        <p:nvSpPr>
          <p:cNvPr id="4" name="Slide Number Placeholder 3">
            <a:extLst>
              <a:ext uri="{FF2B5EF4-FFF2-40B4-BE49-F238E27FC236}">
                <a16:creationId xmlns:a16="http://schemas.microsoft.com/office/drawing/2014/main" id="{68FAF5E2-4E1D-4848-B045-1F5C1ACC1405}"/>
              </a:ext>
            </a:extLst>
          </p:cNvPr>
          <p:cNvSpPr>
            <a:spLocks noGrp="1"/>
          </p:cNvSpPr>
          <p:nvPr>
            <p:ph type="sldNum" sz="quarter" idx="12"/>
          </p:nvPr>
        </p:nvSpPr>
        <p:spPr/>
        <p:txBody>
          <a:bodyPr/>
          <a:lstStyle/>
          <a:p>
            <a:fld id="{C7F1B9D8-1D95-44B3-9E1C-E404196FC055}" type="slidenum">
              <a:rPr lang="hi-IN" smtClean="0"/>
              <a:t>14</a:t>
            </a:fld>
            <a:endParaRPr lang="hi-IN"/>
          </a:p>
        </p:txBody>
      </p:sp>
    </p:spTree>
    <p:extLst>
      <p:ext uri="{BB962C8B-B14F-4D97-AF65-F5344CB8AC3E}">
        <p14:creationId xmlns:p14="http://schemas.microsoft.com/office/powerpoint/2010/main" val="222982679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D7D8EB6-FA2E-41F8-A725-27B029EB5DBD}"/>
              </a:ext>
            </a:extLst>
          </p:cNvPr>
          <p:cNvSpPr>
            <a:spLocks noGrp="1"/>
          </p:cNvSpPr>
          <p:nvPr>
            <p:ph idx="1"/>
          </p:nvPr>
        </p:nvSpPr>
        <p:spPr>
          <a:xfrm>
            <a:off x="493142" y="1135512"/>
            <a:ext cx="10713631" cy="4769988"/>
          </a:xfrm>
        </p:spPr>
        <p:txBody>
          <a:bodyPr vert="horz" lIns="91440" tIns="45720" rIns="91440" bIns="45720" rtlCol="0" anchor="t">
            <a:noAutofit/>
          </a:bodyPr>
          <a:lstStyle/>
          <a:p>
            <a:pPr marL="0" indent="0">
              <a:buNone/>
            </a:pPr>
            <a:endParaRPr lang="en-US" sz="2000" dirty="0"/>
          </a:p>
          <a:p>
            <a:r>
              <a:rPr lang="en-US" sz="2000" dirty="0"/>
              <a:t>A current account allows transactions beyond the scope of a savings account</a:t>
            </a:r>
          </a:p>
          <a:p>
            <a:r>
              <a:rPr lang="en-US" sz="2000" dirty="0"/>
              <a:t>Compared to savings account, a current account requires a higher minimum balance</a:t>
            </a:r>
          </a:p>
          <a:p>
            <a:r>
              <a:rPr lang="en-US" sz="2000" dirty="0"/>
              <a:t>It is designed to facilitate frequent transactions – transfer funds, receive </a:t>
            </a:r>
            <a:r>
              <a:rPr lang="en-US" sz="2000" dirty="0" err="1"/>
              <a:t>cheques</a:t>
            </a:r>
            <a:r>
              <a:rPr lang="en-US" sz="2000" dirty="0"/>
              <a:t>, cash, etc.</a:t>
            </a:r>
          </a:p>
          <a:p>
            <a:r>
              <a:rPr lang="en-US" sz="2000" dirty="0"/>
              <a:t>A current account can be operated by individuals, proprietary concerns, public and private companies, associations, trusts, etc.</a:t>
            </a:r>
          </a:p>
          <a:p>
            <a:r>
              <a:rPr lang="en-US" sz="2000" dirty="0"/>
              <a:t>No restriction on the number of transactions in a day</a:t>
            </a:r>
          </a:p>
          <a:p>
            <a:r>
              <a:rPr lang="en-US" sz="2000" dirty="0"/>
              <a:t>Non-maintenance of the minimum balance can attract penalty charges</a:t>
            </a:r>
          </a:p>
          <a:p>
            <a:r>
              <a:rPr lang="en-US" sz="2000" dirty="0" smtClean="0"/>
              <a:t>There </a:t>
            </a:r>
            <a:r>
              <a:rPr lang="en-US" sz="2000" dirty="0"/>
              <a:t>cannot be multiple current </a:t>
            </a:r>
            <a:r>
              <a:rPr lang="en-US" sz="2000" dirty="0" smtClean="0"/>
              <a:t>accounts for a single customer</a:t>
            </a:r>
            <a:endParaRPr lang="en-US" sz="2000" dirty="0"/>
          </a:p>
        </p:txBody>
      </p:sp>
      <p:sp>
        <p:nvSpPr>
          <p:cNvPr id="3" name="Title 2">
            <a:extLst>
              <a:ext uri="{FF2B5EF4-FFF2-40B4-BE49-F238E27FC236}">
                <a16:creationId xmlns:a16="http://schemas.microsoft.com/office/drawing/2014/main" id="{FBB341BF-A1B3-44BE-9338-684B7484A41C}"/>
              </a:ext>
            </a:extLst>
          </p:cNvPr>
          <p:cNvSpPr>
            <a:spLocks noGrp="1"/>
          </p:cNvSpPr>
          <p:nvPr>
            <p:ph type="title"/>
          </p:nvPr>
        </p:nvSpPr>
        <p:spPr/>
        <p:txBody>
          <a:bodyPr/>
          <a:lstStyle/>
          <a:p>
            <a:r>
              <a:rPr lang="en-IN" dirty="0" smtClean="0">
                <a:latin typeface="Arial"/>
                <a:cs typeface="Arial"/>
              </a:rPr>
              <a:t>Features of Current Account	</a:t>
            </a:r>
            <a:endParaRPr lang="en-US" dirty="0">
              <a:latin typeface="Arial"/>
              <a:cs typeface="Calibri"/>
            </a:endParaRPr>
          </a:p>
        </p:txBody>
      </p:sp>
      <p:sp>
        <p:nvSpPr>
          <p:cNvPr id="4" name="Slide Number Placeholder 3">
            <a:extLst>
              <a:ext uri="{FF2B5EF4-FFF2-40B4-BE49-F238E27FC236}">
                <a16:creationId xmlns:a16="http://schemas.microsoft.com/office/drawing/2014/main" id="{68FAF5E2-4E1D-4848-B045-1F5C1ACC1405}"/>
              </a:ext>
            </a:extLst>
          </p:cNvPr>
          <p:cNvSpPr>
            <a:spLocks noGrp="1"/>
          </p:cNvSpPr>
          <p:nvPr>
            <p:ph type="sldNum" sz="quarter" idx="12"/>
          </p:nvPr>
        </p:nvSpPr>
        <p:spPr/>
        <p:txBody>
          <a:bodyPr/>
          <a:lstStyle/>
          <a:p>
            <a:fld id="{C7F1B9D8-1D95-44B3-9E1C-E404196FC055}" type="slidenum">
              <a:rPr lang="hi-IN" smtClean="0"/>
              <a:t>15</a:t>
            </a:fld>
            <a:endParaRPr lang="hi-IN"/>
          </a:p>
        </p:txBody>
      </p:sp>
    </p:spTree>
    <p:extLst>
      <p:ext uri="{BB962C8B-B14F-4D97-AF65-F5344CB8AC3E}">
        <p14:creationId xmlns:p14="http://schemas.microsoft.com/office/powerpoint/2010/main" val="341514717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D7D8EB6-FA2E-41F8-A725-27B029EB5DBD}"/>
              </a:ext>
            </a:extLst>
          </p:cNvPr>
          <p:cNvSpPr>
            <a:spLocks noGrp="1"/>
          </p:cNvSpPr>
          <p:nvPr>
            <p:ph idx="1"/>
          </p:nvPr>
        </p:nvSpPr>
        <p:spPr>
          <a:xfrm>
            <a:off x="493142" y="1135512"/>
            <a:ext cx="10713631" cy="4769988"/>
          </a:xfrm>
        </p:spPr>
        <p:txBody>
          <a:bodyPr vert="horz" lIns="91440" tIns="45720" rIns="91440" bIns="45720" rtlCol="0" anchor="t">
            <a:noAutofit/>
          </a:bodyPr>
          <a:lstStyle/>
          <a:p>
            <a:pPr marL="0" indent="0" algn="just">
              <a:lnSpc>
                <a:spcPct val="100000"/>
              </a:lnSpc>
              <a:spcBef>
                <a:spcPts val="200"/>
              </a:spcBef>
              <a:spcAft>
                <a:spcPct val="0"/>
              </a:spcAft>
              <a:buNone/>
            </a:pPr>
            <a:r>
              <a:rPr lang="en-US" sz="2000" dirty="0"/>
              <a:t>A </a:t>
            </a:r>
            <a:r>
              <a:rPr lang="en-US" sz="2000" b="1" dirty="0" err="1"/>
              <a:t>N</a:t>
            </a:r>
            <a:r>
              <a:rPr lang="en-US" sz="2000" b="1" dirty="0" err="1" smtClean="0"/>
              <a:t>ostro</a:t>
            </a:r>
            <a:r>
              <a:rPr lang="en-US" sz="2000" b="1" dirty="0" smtClean="0"/>
              <a:t> </a:t>
            </a:r>
            <a:r>
              <a:rPr lang="en-US" sz="2000" b="1" dirty="0"/>
              <a:t>account</a:t>
            </a:r>
            <a:r>
              <a:rPr lang="en-US" sz="2000" dirty="0"/>
              <a:t> refers to an </a:t>
            </a:r>
            <a:r>
              <a:rPr lang="en-US" sz="2000" b="1" dirty="0"/>
              <a:t>account</a:t>
            </a:r>
            <a:r>
              <a:rPr lang="en-US" sz="2000" dirty="0"/>
              <a:t> that a </a:t>
            </a:r>
            <a:r>
              <a:rPr lang="en-US" sz="2000" b="1" dirty="0"/>
              <a:t>bank</a:t>
            </a:r>
            <a:r>
              <a:rPr lang="en-US" sz="2000" dirty="0"/>
              <a:t> holds in a foreign currency in another </a:t>
            </a:r>
            <a:r>
              <a:rPr lang="en-US" sz="2000" b="1" dirty="0"/>
              <a:t>bank</a:t>
            </a:r>
            <a:r>
              <a:rPr lang="en-US" sz="2000" dirty="0"/>
              <a:t>. Nostros, a term derived from the Latin word for "ours," are frequently used to facilitate foreign exchange and trade transactions</a:t>
            </a:r>
            <a:r>
              <a:rPr lang="en-US" sz="2000" dirty="0" smtClean="0"/>
              <a:t>.</a:t>
            </a:r>
          </a:p>
          <a:p>
            <a:pPr marL="0" indent="0" algn="just">
              <a:lnSpc>
                <a:spcPct val="100000"/>
              </a:lnSpc>
              <a:spcBef>
                <a:spcPts val="200"/>
              </a:spcBef>
              <a:spcAft>
                <a:spcPct val="0"/>
              </a:spcAft>
              <a:buNone/>
            </a:pPr>
            <a:endParaRPr lang="en-US" sz="2000" dirty="0" smtClean="0">
              <a:cs typeface="Calibri"/>
            </a:endParaRPr>
          </a:p>
          <a:p>
            <a:pPr marL="0" indent="0" algn="just">
              <a:lnSpc>
                <a:spcPct val="100000"/>
              </a:lnSpc>
              <a:spcBef>
                <a:spcPts val="200"/>
              </a:spcBef>
              <a:spcAft>
                <a:spcPct val="0"/>
              </a:spcAft>
              <a:buNone/>
            </a:pPr>
            <a:endParaRPr lang="en-US" sz="2000" dirty="0" smtClean="0"/>
          </a:p>
          <a:p>
            <a:pPr marL="0" indent="0" algn="just">
              <a:lnSpc>
                <a:spcPct val="100000"/>
              </a:lnSpc>
              <a:spcBef>
                <a:spcPts val="200"/>
              </a:spcBef>
              <a:spcAft>
                <a:spcPct val="0"/>
              </a:spcAft>
              <a:buNone/>
            </a:pPr>
            <a:r>
              <a:rPr lang="en-US" sz="2000" dirty="0"/>
              <a:t>A </a:t>
            </a:r>
            <a:r>
              <a:rPr lang="en-US" sz="2000" i="1" dirty="0" err="1"/>
              <a:t>nostro</a:t>
            </a:r>
            <a:r>
              <a:rPr lang="en-US" sz="2000" dirty="0"/>
              <a:t> is our account of </a:t>
            </a:r>
            <a:r>
              <a:rPr lang="en-US" sz="2000" i="1" dirty="0"/>
              <a:t>our</a:t>
            </a:r>
            <a:r>
              <a:rPr lang="en-US" sz="2000" dirty="0"/>
              <a:t> money, held by the </a:t>
            </a:r>
            <a:r>
              <a:rPr lang="en-US" sz="2000" i="1" dirty="0"/>
              <a:t>other </a:t>
            </a:r>
            <a:r>
              <a:rPr lang="en-US" sz="2000" i="1" dirty="0" smtClean="0"/>
              <a:t>bank</a:t>
            </a:r>
          </a:p>
          <a:p>
            <a:pPr marL="0" indent="0" algn="just">
              <a:lnSpc>
                <a:spcPct val="100000"/>
              </a:lnSpc>
              <a:spcBef>
                <a:spcPts val="200"/>
              </a:spcBef>
              <a:spcAft>
                <a:spcPct val="0"/>
              </a:spcAft>
              <a:buNone/>
            </a:pPr>
            <a:endParaRPr lang="en-US" sz="2000" dirty="0"/>
          </a:p>
          <a:p>
            <a:pPr marL="0" indent="0" algn="just">
              <a:lnSpc>
                <a:spcPct val="100000"/>
              </a:lnSpc>
              <a:spcBef>
                <a:spcPts val="200"/>
              </a:spcBef>
              <a:spcAft>
                <a:spcPct val="0"/>
              </a:spcAft>
              <a:buNone/>
            </a:pPr>
            <a:endParaRPr lang="en-US" sz="2000" dirty="0" smtClean="0"/>
          </a:p>
          <a:p>
            <a:pPr marL="0" indent="0" algn="just">
              <a:lnSpc>
                <a:spcPct val="100000"/>
              </a:lnSpc>
              <a:spcBef>
                <a:spcPts val="200"/>
              </a:spcBef>
              <a:spcAft>
                <a:spcPct val="0"/>
              </a:spcAft>
              <a:buNone/>
            </a:pPr>
            <a:r>
              <a:rPr lang="en-US" sz="2000" dirty="0" smtClean="0"/>
              <a:t>It </a:t>
            </a:r>
            <a:r>
              <a:rPr lang="en-US" sz="2000" dirty="0"/>
              <a:t>is the </a:t>
            </a:r>
            <a:r>
              <a:rPr lang="en-US" sz="2000" b="1" dirty="0"/>
              <a:t>account</a:t>
            </a:r>
            <a:r>
              <a:rPr lang="en-US" sz="2000" dirty="0"/>
              <a:t> which is held by a foreign bank with a domestic bank in domestic currency. For </a:t>
            </a:r>
            <a:r>
              <a:rPr lang="en-US" sz="2000" b="1" dirty="0"/>
              <a:t>example</a:t>
            </a:r>
            <a:r>
              <a:rPr lang="en-US" sz="2000" dirty="0"/>
              <a:t>, if Citibank maintains an </a:t>
            </a:r>
            <a:r>
              <a:rPr lang="en-US" sz="2000" b="1" dirty="0"/>
              <a:t>account</a:t>
            </a:r>
            <a:r>
              <a:rPr lang="en-US" sz="2000" dirty="0"/>
              <a:t> with SBI in India in INR, it will be a </a:t>
            </a:r>
            <a:r>
              <a:rPr lang="en-US" sz="2000" b="1" dirty="0" err="1"/>
              <a:t>vostro</a:t>
            </a:r>
            <a:r>
              <a:rPr lang="en-US" sz="2000" b="1" dirty="0"/>
              <a:t> account</a:t>
            </a:r>
            <a:r>
              <a:rPr lang="en-US" sz="2000" dirty="0"/>
              <a:t> for SBI. Notice that an </a:t>
            </a:r>
            <a:r>
              <a:rPr lang="en-US" sz="2000" b="1" dirty="0"/>
              <a:t>account which is </a:t>
            </a:r>
            <a:r>
              <a:rPr lang="en-US" sz="2000" b="1" dirty="0" err="1"/>
              <a:t>Nostro</a:t>
            </a:r>
            <a:r>
              <a:rPr lang="en-US" sz="2000" dirty="0"/>
              <a:t> for one bank is </a:t>
            </a:r>
            <a:r>
              <a:rPr lang="en-US" sz="2000" b="1" dirty="0"/>
              <a:t>Vostro</a:t>
            </a:r>
            <a:r>
              <a:rPr lang="en-US" sz="2000" dirty="0"/>
              <a:t> for another.</a:t>
            </a:r>
            <a:endParaRPr lang="en-US" sz="2000" dirty="0" smtClean="0">
              <a:cs typeface="Calibri"/>
            </a:endParaRPr>
          </a:p>
        </p:txBody>
      </p:sp>
      <p:sp>
        <p:nvSpPr>
          <p:cNvPr id="3" name="Title 2">
            <a:extLst>
              <a:ext uri="{FF2B5EF4-FFF2-40B4-BE49-F238E27FC236}">
                <a16:creationId xmlns:a16="http://schemas.microsoft.com/office/drawing/2014/main" id="{FBB341BF-A1B3-44BE-9338-684B7484A41C}"/>
              </a:ext>
            </a:extLst>
          </p:cNvPr>
          <p:cNvSpPr>
            <a:spLocks noGrp="1"/>
          </p:cNvSpPr>
          <p:nvPr>
            <p:ph type="title"/>
          </p:nvPr>
        </p:nvSpPr>
        <p:spPr/>
        <p:txBody>
          <a:bodyPr/>
          <a:lstStyle/>
          <a:p>
            <a:r>
              <a:rPr lang="en-IN" dirty="0" err="1">
                <a:latin typeface="Arial"/>
                <a:cs typeface="Arial"/>
              </a:rPr>
              <a:t>N</a:t>
            </a:r>
            <a:r>
              <a:rPr lang="en-IN" dirty="0" err="1" smtClean="0">
                <a:latin typeface="Arial"/>
                <a:cs typeface="Arial"/>
              </a:rPr>
              <a:t>ostro</a:t>
            </a:r>
            <a:r>
              <a:rPr lang="en-IN" dirty="0" smtClean="0">
                <a:latin typeface="Arial"/>
                <a:cs typeface="Arial"/>
              </a:rPr>
              <a:t> Account	</a:t>
            </a:r>
            <a:endParaRPr lang="en-US" dirty="0">
              <a:latin typeface="Arial"/>
              <a:cs typeface="Calibri"/>
            </a:endParaRPr>
          </a:p>
        </p:txBody>
      </p:sp>
      <p:sp>
        <p:nvSpPr>
          <p:cNvPr id="4" name="Slide Number Placeholder 3">
            <a:extLst>
              <a:ext uri="{FF2B5EF4-FFF2-40B4-BE49-F238E27FC236}">
                <a16:creationId xmlns:a16="http://schemas.microsoft.com/office/drawing/2014/main" id="{68FAF5E2-4E1D-4848-B045-1F5C1ACC1405}"/>
              </a:ext>
            </a:extLst>
          </p:cNvPr>
          <p:cNvSpPr>
            <a:spLocks noGrp="1"/>
          </p:cNvSpPr>
          <p:nvPr>
            <p:ph type="sldNum" sz="quarter" idx="12"/>
          </p:nvPr>
        </p:nvSpPr>
        <p:spPr/>
        <p:txBody>
          <a:bodyPr/>
          <a:lstStyle/>
          <a:p>
            <a:fld id="{C7F1B9D8-1D95-44B3-9E1C-E404196FC055}" type="slidenum">
              <a:rPr lang="hi-IN" smtClean="0"/>
              <a:t>16</a:t>
            </a:fld>
            <a:endParaRPr lang="hi-IN"/>
          </a:p>
        </p:txBody>
      </p:sp>
    </p:spTree>
    <p:extLst>
      <p:ext uri="{BB962C8B-B14F-4D97-AF65-F5344CB8AC3E}">
        <p14:creationId xmlns:p14="http://schemas.microsoft.com/office/powerpoint/2010/main" val="332117518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D7D8EB6-FA2E-41F8-A725-27B029EB5DBD}"/>
              </a:ext>
            </a:extLst>
          </p:cNvPr>
          <p:cNvSpPr>
            <a:spLocks noGrp="1"/>
          </p:cNvSpPr>
          <p:nvPr>
            <p:ph idx="1"/>
          </p:nvPr>
        </p:nvSpPr>
        <p:spPr>
          <a:xfrm>
            <a:off x="493142" y="1135512"/>
            <a:ext cx="10713631" cy="4769988"/>
          </a:xfrm>
        </p:spPr>
        <p:txBody>
          <a:bodyPr vert="horz" lIns="91440" tIns="45720" rIns="91440" bIns="45720" rtlCol="0" anchor="t">
            <a:noAutofit/>
          </a:bodyPr>
          <a:lstStyle/>
          <a:p>
            <a:pPr marL="0" indent="0" algn="just">
              <a:lnSpc>
                <a:spcPct val="100000"/>
              </a:lnSpc>
              <a:spcBef>
                <a:spcPts val="200"/>
              </a:spcBef>
              <a:spcAft>
                <a:spcPct val="0"/>
              </a:spcAft>
              <a:buNone/>
            </a:pPr>
            <a:r>
              <a:rPr lang="en-US" sz="2000" dirty="0"/>
              <a:t>A </a:t>
            </a:r>
            <a:r>
              <a:rPr lang="en-US" sz="2000" b="1" dirty="0"/>
              <a:t>V</a:t>
            </a:r>
            <a:r>
              <a:rPr lang="en-US" sz="2000" b="1" dirty="0" smtClean="0"/>
              <a:t>ostro </a:t>
            </a:r>
            <a:r>
              <a:rPr lang="en-US" sz="2000" b="1" dirty="0"/>
              <a:t>account</a:t>
            </a:r>
            <a:r>
              <a:rPr lang="en-US" sz="2000" dirty="0"/>
              <a:t> is an </a:t>
            </a:r>
            <a:r>
              <a:rPr lang="en-US" sz="2000" b="1" dirty="0"/>
              <a:t>account</a:t>
            </a:r>
            <a:r>
              <a:rPr lang="en-US" sz="2000" dirty="0"/>
              <a:t> a correspondent bank holds on behalf of another bank. These </a:t>
            </a:r>
            <a:r>
              <a:rPr lang="en-US" sz="2000" b="1" dirty="0"/>
              <a:t>accounts</a:t>
            </a:r>
            <a:r>
              <a:rPr lang="en-US" sz="2000" dirty="0"/>
              <a:t> are an essential aspect of correspondent banking in which the bank holding the funds acts as custodian for or manages the </a:t>
            </a:r>
            <a:r>
              <a:rPr lang="en-US" sz="2000" b="1" dirty="0"/>
              <a:t>account</a:t>
            </a:r>
            <a:r>
              <a:rPr lang="en-US" sz="2000" dirty="0"/>
              <a:t> of a foreign counterpart</a:t>
            </a:r>
            <a:r>
              <a:rPr lang="en-US" sz="2000" dirty="0" smtClean="0"/>
              <a:t>.</a:t>
            </a:r>
          </a:p>
          <a:p>
            <a:pPr marL="0" indent="0" algn="just">
              <a:lnSpc>
                <a:spcPct val="100000"/>
              </a:lnSpc>
              <a:spcBef>
                <a:spcPts val="200"/>
              </a:spcBef>
              <a:spcAft>
                <a:spcPct val="0"/>
              </a:spcAft>
              <a:buNone/>
            </a:pPr>
            <a:endParaRPr lang="en-US" sz="2000" dirty="0">
              <a:cs typeface="Calibri"/>
            </a:endParaRPr>
          </a:p>
          <a:p>
            <a:pPr marL="0" indent="0" algn="just">
              <a:lnSpc>
                <a:spcPct val="100000"/>
              </a:lnSpc>
              <a:spcBef>
                <a:spcPts val="200"/>
              </a:spcBef>
              <a:spcAft>
                <a:spcPct val="0"/>
              </a:spcAft>
              <a:buNone/>
            </a:pPr>
            <a:r>
              <a:rPr lang="en-US" sz="2000" dirty="0"/>
              <a:t>A </a:t>
            </a:r>
            <a:r>
              <a:rPr lang="en-US" sz="2000" i="1" dirty="0" err="1"/>
              <a:t>vostro</a:t>
            </a:r>
            <a:r>
              <a:rPr lang="en-US" sz="2000" dirty="0"/>
              <a:t> is our account of </a:t>
            </a:r>
            <a:r>
              <a:rPr lang="en-US" sz="2000" i="1" dirty="0"/>
              <a:t>other bank</a:t>
            </a:r>
            <a:r>
              <a:rPr lang="en-US" sz="2000" dirty="0"/>
              <a:t> money, held by </a:t>
            </a:r>
            <a:r>
              <a:rPr lang="en-US" sz="2000" i="1" dirty="0"/>
              <a:t>us</a:t>
            </a:r>
            <a:endParaRPr lang="en-US" sz="2000" dirty="0" smtClean="0">
              <a:cs typeface="Calibri"/>
            </a:endParaRPr>
          </a:p>
          <a:p>
            <a:pPr marL="0" indent="0" algn="just">
              <a:lnSpc>
                <a:spcPct val="100000"/>
              </a:lnSpc>
              <a:spcBef>
                <a:spcPts val="200"/>
              </a:spcBef>
              <a:spcAft>
                <a:spcPct val="0"/>
              </a:spcAft>
              <a:buNone/>
            </a:pPr>
            <a:endParaRPr lang="en-US" sz="2000" dirty="0" smtClean="0">
              <a:cs typeface="Calibri"/>
            </a:endParaRPr>
          </a:p>
          <a:p>
            <a:pPr marL="0" indent="0" algn="just">
              <a:lnSpc>
                <a:spcPct val="100000"/>
              </a:lnSpc>
              <a:spcBef>
                <a:spcPts val="200"/>
              </a:spcBef>
              <a:spcAft>
                <a:spcPct val="0"/>
              </a:spcAft>
              <a:buNone/>
            </a:pPr>
            <a:r>
              <a:rPr lang="en-US" sz="2000" dirty="0"/>
              <a:t>It is the </a:t>
            </a:r>
            <a:r>
              <a:rPr lang="en-US" sz="2000" b="1" dirty="0"/>
              <a:t>account</a:t>
            </a:r>
            <a:r>
              <a:rPr lang="en-US" sz="2000" dirty="0"/>
              <a:t> which is held by a foreign bank with a domestic bank in domestic currency. For </a:t>
            </a:r>
            <a:r>
              <a:rPr lang="en-US" sz="2000" b="1" dirty="0"/>
              <a:t>example</a:t>
            </a:r>
            <a:r>
              <a:rPr lang="en-US" sz="2000" dirty="0"/>
              <a:t>, if Citibank maintains an </a:t>
            </a:r>
            <a:r>
              <a:rPr lang="en-US" sz="2000" b="1" dirty="0"/>
              <a:t>account</a:t>
            </a:r>
            <a:r>
              <a:rPr lang="en-US" sz="2000" dirty="0"/>
              <a:t> with SBI in India in INR, it will be a </a:t>
            </a:r>
            <a:r>
              <a:rPr lang="en-US" sz="2000" b="1" dirty="0" err="1"/>
              <a:t>vostro</a:t>
            </a:r>
            <a:r>
              <a:rPr lang="en-US" sz="2000" b="1" dirty="0"/>
              <a:t> account</a:t>
            </a:r>
            <a:r>
              <a:rPr lang="en-US" sz="2000" dirty="0"/>
              <a:t> for SBI. Notice that an </a:t>
            </a:r>
            <a:r>
              <a:rPr lang="en-US" sz="2000" b="1" dirty="0"/>
              <a:t>account which is </a:t>
            </a:r>
            <a:r>
              <a:rPr lang="en-US" sz="2000" b="1" dirty="0" err="1"/>
              <a:t>Nostro</a:t>
            </a:r>
            <a:r>
              <a:rPr lang="en-US" sz="2000" dirty="0"/>
              <a:t> for one bank is </a:t>
            </a:r>
            <a:r>
              <a:rPr lang="en-US" sz="2000" b="1" dirty="0"/>
              <a:t>Vostro</a:t>
            </a:r>
            <a:r>
              <a:rPr lang="en-US" sz="2000" dirty="0"/>
              <a:t> for another</a:t>
            </a:r>
            <a:endParaRPr lang="en-US" sz="2000" dirty="0" smtClean="0">
              <a:cs typeface="Calibri"/>
            </a:endParaRPr>
          </a:p>
        </p:txBody>
      </p:sp>
      <p:sp>
        <p:nvSpPr>
          <p:cNvPr id="3" name="Title 2">
            <a:extLst>
              <a:ext uri="{FF2B5EF4-FFF2-40B4-BE49-F238E27FC236}">
                <a16:creationId xmlns:a16="http://schemas.microsoft.com/office/drawing/2014/main" id="{FBB341BF-A1B3-44BE-9338-684B7484A41C}"/>
              </a:ext>
            </a:extLst>
          </p:cNvPr>
          <p:cNvSpPr>
            <a:spLocks noGrp="1"/>
          </p:cNvSpPr>
          <p:nvPr>
            <p:ph type="title"/>
          </p:nvPr>
        </p:nvSpPr>
        <p:spPr/>
        <p:txBody>
          <a:bodyPr/>
          <a:lstStyle/>
          <a:p>
            <a:r>
              <a:rPr lang="en-IN" dirty="0" smtClean="0">
                <a:latin typeface="Arial"/>
                <a:cs typeface="Arial"/>
              </a:rPr>
              <a:t>Vostro Account	</a:t>
            </a:r>
            <a:endParaRPr lang="en-US" dirty="0">
              <a:latin typeface="Arial"/>
              <a:cs typeface="Calibri"/>
            </a:endParaRPr>
          </a:p>
        </p:txBody>
      </p:sp>
      <p:sp>
        <p:nvSpPr>
          <p:cNvPr id="4" name="Slide Number Placeholder 3">
            <a:extLst>
              <a:ext uri="{FF2B5EF4-FFF2-40B4-BE49-F238E27FC236}">
                <a16:creationId xmlns:a16="http://schemas.microsoft.com/office/drawing/2014/main" id="{68FAF5E2-4E1D-4848-B045-1F5C1ACC1405}"/>
              </a:ext>
            </a:extLst>
          </p:cNvPr>
          <p:cNvSpPr>
            <a:spLocks noGrp="1"/>
          </p:cNvSpPr>
          <p:nvPr>
            <p:ph type="sldNum" sz="quarter" idx="12"/>
          </p:nvPr>
        </p:nvSpPr>
        <p:spPr/>
        <p:txBody>
          <a:bodyPr/>
          <a:lstStyle/>
          <a:p>
            <a:fld id="{C7F1B9D8-1D95-44B3-9E1C-E404196FC055}" type="slidenum">
              <a:rPr lang="hi-IN" smtClean="0"/>
              <a:t>17</a:t>
            </a:fld>
            <a:endParaRPr lang="hi-IN"/>
          </a:p>
        </p:txBody>
      </p:sp>
    </p:spTree>
    <p:extLst>
      <p:ext uri="{BB962C8B-B14F-4D97-AF65-F5344CB8AC3E}">
        <p14:creationId xmlns:p14="http://schemas.microsoft.com/office/powerpoint/2010/main" val="46402602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D7D8EB6-FA2E-41F8-A725-27B029EB5DBD}"/>
              </a:ext>
            </a:extLst>
          </p:cNvPr>
          <p:cNvSpPr>
            <a:spLocks noGrp="1"/>
          </p:cNvSpPr>
          <p:nvPr>
            <p:ph idx="1"/>
          </p:nvPr>
        </p:nvSpPr>
        <p:spPr>
          <a:xfrm>
            <a:off x="493142" y="1135512"/>
            <a:ext cx="10713631" cy="4769988"/>
          </a:xfrm>
        </p:spPr>
        <p:txBody>
          <a:bodyPr vert="horz" lIns="91440" tIns="45720" rIns="91440" bIns="45720" rtlCol="0" anchor="t">
            <a:noAutofit/>
          </a:bodyPr>
          <a:lstStyle/>
          <a:p>
            <a:pPr marL="0" indent="0" algn="just">
              <a:lnSpc>
                <a:spcPct val="100000"/>
              </a:lnSpc>
              <a:spcBef>
                <a:spcPts val="200"/>
              </a:spcBef>
              <a:spcAft>
                <a:spcPct val="0"/>
              </a:spcAft>
              <a:buNone/>
            </a:pPr>
            <a:r>
              <a:rPr lang="en-US" sz="2000" b="1" dirty="0" smtClean="0">
                <a:cs typeface="Calibri"/>
              </a:rPr>
              <a:t>1. Inactive Account</a:t>
            </a:r>
            <a:endParaRPr lang="en-US" sz="2000" b="1" dirty="0">
              <a:cs typeface="Calibri"/>
            </a:endParaRPr>
          </a:p>
          <a:p>
            <a:pPr marL="0" indent="0" algn="just">
              <a:lnSpc>
                <a:spcPct val="100000"/>
              </a:lnSpc>
              <a:spcBef>
                <a:spcPts val="200"/>
              </a:spcBef>
              <a:spcAft>
                <a:spcPct val="0"/>
              </a:spcAft>
              <a:buNone/>
            </a:pPr>
            <a:endParaRPr lang="en-US" sz="2000" dirty="0">
              <a:cs typeface="Calibri"/>
            </a:endParaRPr>
          </a:p>
          <a:p>
            <a:pPr marL="0" indent="0" algn="just">
              <a:lnSpc>
                <a:spcPct val="100000"/>
              </a:lnSpc>
              <a:spcBef>
                <a:spcPts val="200"/>
              </a:spcBef>
              <a:spcAft>
                <a:spcPct val="0"/>
              </a:spcAft>
              <a:buNone/>
            </a:pPr>
            <a:r>
              <a:rPr lang="en-US" sz="2000" dirty="0"/>
              <a:t>An account with no transactions for a period of 12 months will be classified as "</a:t>
            </a:r>
            <a:r>
              <a:rPr lang="en-US" sz="2000" dirty="0" smtClean="0"/>
              <a:t>Inactive“</a:t>
            </a:r>
          </a:p>
          <a:p>
            <a:pPr marL="0" indent="0" algn="just">
              <a:lnSpc>
                <a:spcPct val="100000"/>
              </a:lnSpc>
              <a:spcBef>
                <a:spcPts val="200"/>
              </a:spcBef>
              <a:spcAft>
                <a:spcPct val="0"/>
              </a:spcAft>
              <a:buNone/>
            </a:pPr>
            <a:endParaRPr lang="en-US" sz="2000" dirty="0" smtClean="0">
              <a:cs typeface="Calibri"/>
            </a:endParaRPr>
          </a:p>
          <a:p>
            <a:pPr marL="0" indent="0" algn="just">
              <a:lnSpc>
                <a:spcPct val="100000"/>
              </a:lnSpc>
              <a:spcBef>
                <a:spcPts val="200"/>
              </a:spcBef>
              <a:spcAft>
                <a:spcPct val="0"/>
              </a:spcAft>
              <a:buNone/>
            </a:pPr>
            <a:r>
              <a:rPr lang="en-US" sz="2000" b="1" dirty="0" smtClean="0">
                <a:cs typeface="Calibri"/>
              </a:rPr>
              <a:t>2</a:t>
            </a:r>
            <a:r>
              <a:rPr lang="en-US" sz="2000" dirty="0" smtClean="0">
                <a:cs typeface="Calibri"/>
              </a:rPr>
              <a:t>. </a:t>
            </a:r>
            <a:r>
              <a:rPr lang="en-US" sz="2000" b="1" dirty="0" smtClean="0">
                <a:cs typeface="Calibri"/>
              </a:rPr>
              <a:t>Dormant Account</a:t>
            </a:r>
          </a:p>
          <a:p>
            <a:pPr marL="0" indent="0" algn="just">
              <a:lnSpc>
                <a:spcPct val="100000"/>
              </a:lnSpc>
              <a:spcBef>
                <a:spcPts val="200"/>
              </a:spcBef>
              <a:spcAft>
                <a:spcPct val="0"/>
              </a:spcAft>
              <a:buNone/>
            </a:pPr>
            <a:endParaRPr lang="en-US" sz="2000" dirty="0">
              <a:cs typeface="Calibri"/>
            </a:endParaRPr>
          </a:p>
          <a:p>
            <a:pPr marL="0" indent="0">
              <a:buNone/>
            </a:pPr>
            <a:r>
              <a:rPr lang="en-US" sz="2000" dirty="0"/>
              <a:t>A "Dormant" account means all the account(s) linked to your CIF (Customer Identification File) have had no financial or non-financial </a:t>
            </a:r>
            <a:r>
              <a:rPr lang="en-US" sz="2000" dirty="0" smtClean="0"/>
              <a:t>transactions </a:t>
            </a:r>
            <a:r>
              <a:rPr lang="en-US" sz="2000" dirty="0"/>
              <a:t>and you have had no contact with the bank for a period of 3 years. </a:t>
            </a:r>
            <a:endParaRPr lang="en-US" sz="2000" dirty="0" smtClean="0"/>
          </a:p>
          <a:p>
            <a:pPr marL="0" indent="0">
              <a:buNone/>
            </a:pPr>
            <a:endParaRPr lang="en-US" sz="2000" dirty="0"/>
          </a:p>
          <a:p>
            <a:pPr marL="0" indent="0">
              <a:buNone/>
            </a:pPr>
            <a:r>
              <a:rPr lang="en-US" sz="2000" dirty="0"/>
              <a:t>For example: If you have a single account and there have been no transactions/contact for a period of 3 years, then that account will become "Dormant". If you hold multiple accounts under your CIF (Customer Identification File) and each one of them have had no transactions/contact for a period of 3 years, then all the accounts will become "Dormant".</a:t>
            </a:r>
          </a:p>
          <a:p>
            <a:pPr marL="0" indent="0" algn="just">
              <a:lnSpc>
                <a:spcPct val="100000"/>
              </a:lnSpc>
              <a:spcBef>
                <a:spcPts val="200"/>
              </a:spcBef>
              <a:spcAft>
                <a:spcPct val="0"/>
              </a:spcAft>
              <a:buNone/>
            </a:pPr>
            <a:endParaRPr lang="en-US" sz="2000" dirty="0" smtClean="0">
              <a:cs typeface="Calibri"/>
            </a:endParaRPr>
          </a:p>
        </p:txBody>
      </p:sp>
      <p:sp>
        <p:nvSpPr>
          <p:cNvPr id="3" name="Title 2">
            <a:extLst>
              <a:ext uri="{FF2B5EF4-FFF2-40B4-BE49-F238E27FC236}">
                <a16:creationId xmlns:a16="http://schemas.microsoft.com/office/drawing/2014/main" id="{FBB341BF-A1B3-44BE-9338-684B7484A41C}"/>
              </a:ext>
            </a:extLst>
          </p:cNvPr>
          <p:cNvSpPr>
            <a:spLocks noGrp="1"/>
          </p:cNvSpPr>
          <p:nvPr>
            <p:ph type="title"/>
          </p:nvPr>
        </p:nvSpPr>
        <p:spPr/>
        <p:txBody>
          <a:bodyPr/>
          <a:lstStyle/>
          <a:p>
            <a:r>
              <a:rPr lang="en-IN" dirty="0" smtClean="0">
                <a:latin typeface="Arial"/>
                <a:cs typeface="Arial"/>
              </a:rPr>
              <a:t>Account Status	</a:t>
            </a:r>
            <a:endParaRPr lang="en-US" dirty="0">
              <a:latin typeface="Arial"/>
              <a:cs typeface="Calibri"/>
            </a:endParaRPr>
          </a:p>
        </p:txBody>
      </p:sp>
      <p:sp>
        <p:nvSpPr>
          <p:cNvPr id="4" name="Slide Number Placeholder 3">
            <a:extLst>
              <a:ext uri="{FF2B5EF4-FFF2-40B4-BE49-F238E27FC236}">
                <a16:creationId xmlns:a16="http://schemas.microsoft.com/office/drawing/2014/main" id="{68FAF5E2-4E1D-4848-B045-1F5C1ACC1405}"/>
              </a:ext>
            </a:extLst>
          </p:cNvPr>
          <p:cNvSpPr>
            <a:spLocks noGrp="1"/>
          </p:cNvSpPr>
          <p:nvPr>
            <p:ph type="sldNum" sz="quarter" idx="12"/>
          </p:nvPr>
        </p:nvSpPr>
        <p:spPr/>
        <p:txBody>
          <a:bodyPr/>
          <a:lstStyle/>
          <a:p>
            <a:fld id="{C7F1B9D8-1D95-44B3-9E1C-E404196FC055}" type="slidenum">
              <a:rPr lang="hi-IN" smtClean="0"/>
              <a:t>18</a:t>
            </a:fld>
            <a:endParaRPr lang="hi-IN"/>
          </a:p>
        </p:txBody>
      </p:sp>
    </p:spTree>
    <p:extLst>
      <p:ext uri="{BB962C8B-B14F-4D97-AF65-F5344CB8AC3E}">
        <p14:creationId xmlns:p14="http://schemas.microsoft.com/office/powerpoint/2010/main" val="239832977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D7D8EB6-FA2E-41F8-A725-27B029EB5DBD}"/>
              </a:ext>
            </a:extLst>
          </p:cNvPr>
          <p:cNvSpPr>
            <a:spLocks noGrp="1"/>
          </p:cNvSpPr>
          <p:nvPr>
            <p:ph idx="1"/>
          </p:nvPr>
        </p:nvSpPr>
        <p:spPr>
          <a:xfrm>
            <a:off x="493142" y="1135512"/>
            <a:ext cx="10713631" cy="4769988"/>
          </a:xfrm>
        </p:spPr>
        <p:txBody>
          <a:bodyPr vert="horz" lIns="91440" tIns="45720" rIns="91440" bIns="45720" rtlCol="0" anchor="t">
            <a:noAutofit/>
          </a:bodyPr>
          <a:lstStyle/>
          <a:p>
            <a:pPr marL="0" indent="0" algn="just">
              <a:lnSpc>
                <a:spcPct val="100000"/>
              </a:lnSpc>
              <a:spcBef>
                <a:spcPts val="200"/>
              </a:spcBef>
              <a:spcAft>
                <a:spcPct val="0"/>
              </a:spcAft>
              <a:buNone/>
            </a:pPr>
            <a:r>
              <a:rPr lang="en-US" sz="2000" b="1" dirty="0">
                <a:cs typeface="Calibri"/>
              </a:rPr>
              <a:t>3</a:t>
            </a:r>
            <a:r>
              <a:rPr lang="en-US" sz="2000" b="1" dirty="0" smtClean="0">
                <a:cs typeface="Calibri"/>
              </a:rPr>
              <a:t>. Deceased Account</a:t>
            </a:r>
            <a:endParaRPr lang="en-US" sz="2000" b="1" dirty="0">
              <a:cs typeface="Calibri"/>
            </a:endParaRPr>
          </a:p>
          <a:p>
            <a:pPr marL="0" indent="0" algn="just">
              <a:lnSpc>
                <a:spcPct val="100000"/>
              </a:lnSpc>
              <a:spcBef>
                <a:spcPts val="200"/>
              </a:spcBef>
              <a:spcAft>
                <a:spcPct val="0"/>
              </a:spcAft>
              <a:buNone/>
            </a:pPr>
            <a:endParaRPr lang="en-US" sz="2000" dirty="0" smtClean="0">
              <a:cs typeface="Calibri"/>
            </a:endParaRPr>
          </a:p>
          <a:p>
            <a:pPr marL="0" indent="0" algn="just">
              <a:lnSpc>
                <a:spcPct val="100000"/>
              </a:lnSpc>
              <a:spcBef>
                <a:spcPts val="200"/>
              </a:spcBef>
              <a:spcAft>
                <a:spcPct val="0"/>
              </a:spcAft>
              <a:buNone/>
            </a:pPr>
            <a:r>
              <a:rPr lang="en-US" sz="2000" dirty="0"/>
              <a:t>A deceased account is a bank account, such as a savings or checking account, owned by a deceased person. When a bank receives notice that a customer has died, it will freeze the account(s) while waiting for direction from the authorized court regarding payment to heirs and creditors.</a:t>
            </a:r>
            <a:endParaRPr lang="en-US" sz="2000" dirty="0">
              <a:cs typeface="Calibri"/>
            </a:endParaRPr>
          </a:p>
          <a:p>
            <a:pPr marL="0" indent="0" algn="just">
              <a:lnSpc>
                <a:spcPct val="100000"/>
              </a:lnSpc>
              <a:spcBef>
                <a:spcPts val="200"/>
              </a:spcBef>
              <a:spcAft>
                <a:spcPct val="0"/>
              </a:spcAft>
              <a:buNone/>
            </a:pPr>
            <a:r>
              <a:rPr lang="en-US" sz="2000" dirty="0"/>
              <a:t>An account with no transactions for a period of 12 months will be classified as "</a:t>
            </a:r>
            <a:r>
              <a:rPr lang="en-US" sz="2000" dirty="0" smtClean="0"/>
              <a:t>Inactive“</a:t>
            </a:r>
          </a:p>
          <a:p>
            <a:pPr marL="0" indent="0" algn="just">
              <a:lnSpc>
                <a:spcPct val="100000"/>
              </a:lnSpc>
              <a:spcBef>
                <a:spcPts val="200"/>
              </a:spcBef>
              <a:spcAft>
                <a:spcPct val="0"/>
              </a:spcAft>
              <a:buNone/>
            </a:pPr>
            <a:endParaRPr lang="en-US" sz="2000" dirty="0" smtClean="0">
              <a:cs typeface="Calibri"/>
            </a:endParaRPr>
          </a:p>
          <a:p>
            <a:pPr marL="0" indent="0" algn="just">
              <a:lnSpc>
                <a:spcPct val="100000"/>
              </a:lnSpc>
              <a:spcBef>
                <a:spcPts val="200"/>
              </a:spcBef>
              <a:spcAft>
                <a:spcPct val="0"/>
              </a:spcAft>
              <a:buNone/>
            </a:pPr>
            <a:r>
              <a:rPr lang="en-US" sz="2000" b="1" dirty="0">
                <a:cs typeface="Calibri"/>
              </a:rPr>
              <a:t>4</a:t>
            </a:r>
            <a:r>
              <a:rPr lang="en-US" sz="2000" dirty="0" smtClean="0">
                <a:cs typeface="Calibri"/>
              </a:rPr>
              <a:t>.</a:t>
            </a:r>
            <a:r>
              <a:rPr lang="en-US" sz="2000" b="1" dirty="0" smtClean="0">
                <a:cs typeface="Calibri"/>
              </a:rPr>
              <a:t> Account Blocked/ Frozen</a:t>
            </a:r>
          </a:p>
          <a:p>
            <a:pPr marL="0" indent="0" algn="just">
              <a:lnSpc>
                <a:spcPct val="100000"/>
              </a:lnSpc>
              <a:spcBef>
                <a:spcPts val="200"/>
              </a:spcBef>
              <a:spcAft>
                <a:spcPct val="0"/>
              </a:spcAft>
              <a:buNone/>
            </a:pPr>
            <a:endParaRPr lang="en-US" sz="2000" dirty="0">
              <a:cs typeface="Calibri"/>
            </a:endParaRPr>
          </a:p>
          <a:p>
            <a:pPr marL="0" indent="0">
              <a:buNone/>
            </a:pPr>
            <a:r>
              <a:rPr lang="en-US" sz="2000" dirty="0"/>
              <a:t>Account freezes are normally the result of a court order and, in some cases, they may be done by the bank itself. This usually occurs when the account holder has unpaid debts to creditors or the government, or when there is suspicious activity detected through the account.</a:t>
            </a:r>
          </a:p>
          <a:p>
            <a:pPr marL="0" indent="0" algn="just">
              <a:lnSpc>
                <a:spcPct val="100000"/>
              </a:lnSpc>
              <a:spcBef>
                <a:spcPts val="200"/>
              </a:spcBef>
              <a:spcAft>
                <a:spcPct val="0"/>
              </a:spcAft>
              <a:buNone/>
            </a:pPr>
            <a:endParaRPr lang="en-US" sz="2000" dirty="0" smtClean="0">
              <a:cs typeface="Calibri"/>
            </a:endParaRPr>
          </a:p>
        </p:txBody>
      </p:sp>
      <p:sp>
        <p:nvSpPr>
          <p:cNvPr id="3" name="Title 2">
            <a:extLst>
              <a:ext uri="{FF2B5EF4-FFF2-40B4-BE49-F238E27FC236}">
                <a16:creationId xmlns:a16="http://schemas.microsoft.com/office/drawing/2014/main" id="{FBB341BF-A1B3-44BE-9338-684B7484A41C}"/>
              </a:ext>
            </a:extLst>
          </p:cNvPr>
          <p:cNvSpPr>
            <a:spLocks noGrp="1"/>
          </p:cNvSpPr>
          <p:nvPr>
            <p:ph type="title"/>
          </p:nvPr>
        </p:nvSpPr>
        <p:spPr/>
        <p:txBody>
          <a:bodyPr/>
          <a:lstStyle/>
          <a:p>
            <a:r>
              <a:rPr lang="en-IN" dirty="0" smtClean="0">
                <a:latin typeface="Arial"/>
                <a:cs typeface="Arial"/>
              </a:rPr>
              <a:t>Account Status	</a:t>
            </a:r>
            <a:endParaRPr lang="en-US" dirty="0">
              <a:latin typeface="Arial"/>
              <a:cs typeface="Calibri"/>
            </a:endParaRPr>
          </a:p>
        </p:txBody>
      </p:sp>
      <p:sp>
        <p:nvSpPr>
          <p:cNvPr id="4" name="Slide Number Placeholder 3">
            <a:extLst>
              <a:ext uri="{FF2B5EF4-FFF2-40B4-BE49-F238E27FC236}">
                <a16:creationId xmlns:a16="http://schemas.microsoft.com/office/drawing/2014/main" id="{68FAF5E2-4E1D-4848-B045-1F5C1ACC1405}"/>
              </a:ext>
            </a:extLst>
          </p:cNvPr>
          <p:cNvSpPr>
            <a:spLocks noGrp="1"/>
          </p:cNvSpPr>
          <p:nvPr>
            <p:ph type="sldNum" sz="quarter" idx="12"/>
          </p:nvPr>
        </p:nvSpPr>
        <p:spPr/>
        <p:txBody>
          <a:bodyPr/>
          <a:lstStyle/>
          <a:p>
            <a:fld id="{C7F1B9D8-1D95-44B3-9E1C-E404196FC055}" type="slidenum">
              <a:rPr lang="hi-IN" smtClean="0"/>
              <a:t>19</a:t>
            </a:fld>
            <a:endParaRPr lang="hi-IN"/>
          </a:p>
        </p:txBody>
      </p:sp>
    </p:spTree>
    <p:extLst>
      <p:ext uri="{BB962C8B-B14F-4D97-AF65-F5344CB8AC3E}">
        <p14:creationId xmlns:p14="http://schemas.microsoft.com/office/powerpoint/2010/main" val="174223500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421255" y="1494947"/>
            <a:ext cx="10843027" cy="4689954"/>
          </a:xfrm>
        </p:spPr>
        <p:txBody>
          <a:bodyPr vert="horz" lIns="91440" tIns="45720" rIns="91440" bIns="45720" rtlCol="0" anchor="t">
            <a:noAutofit/>
          </a:bodyPr>
          <a:lstStyle/>
          <a:p>
            <a:pPr marL="0" indent="0">
              <a:lnSpc>
                <a:spcPct val="100000"/>
              </a:lnSpc>
              <a:spcBef>
                <a:spcPts val="0"/>
              </a:spcBef>
              <a:spcAft>
                <a:spcPct val="0"/>
              </a:spcAft>
              <a:buNone/>
            </a:pPr>
            <a:r>
              <a:rPr lang="en-US" sz="2000" dirty="0"/>
              <a:t>A customer information file (CIF) is an electronic file that stores all pertinent information about a customer's personal and account information. The customer information file (CIF), which contains a CIF number, allows the business to view its customer accounts by relationship and not strictly by account type</a:t>
            </a:r>
            <a:r>
              <a:rPr lang="en-US" sz="2000" dirty="0" smtClean="0"/>
              <a:t>. </a:t>
            </a:r>
            <a:r>
              <a:rPr lang="en-US" sz="2000" dirty="0"/>
              <a:t>A CIF at a bank might include a client's credit relationships, accounts owned, and ownership information. </a:t>
            </a:r>
            <a:endParaRPr lang="en-US" sz="2000" dirty="0" smtClean="0"/>
          </a:p>
          <a:p>
            <a:pPr marL="0" indent="0">
              <a:lnSpc>
                <a:spcPct val="100000"/>
              </a:lnSpc>
              <a:spcBef>
                <a:spcPts val="0"/>
              </a:spcBef>
              <a:spcAft>
                <a:spcPct val="0"/>
              </a:spcAft>
              <a:buNone/>
            </a:pPr>
            <a:endParaRPr lang="en-IN" sz="2000" dirty="0">
              <a:cs typeface="Calibri"/>
            </a:endParaRPr>
          </a:p>
        </p:txBody>
      </p:sp>
      <p:sp>
        <p:nvSpPr>
          <p:cNvPr id="3" name="Title 2">
            <a:extLst>
              <a:ext uri="{FF2B5EF4-FFF2-40B4-BE49-F238E27FC236}">
                <a16:creationId xmlns:a16="http://schemas.microsoft.com/office/drawing/2014/main" id="{3A026BAA-8421-4209-ABC2-8A5B6445A1C2}"/>
              </a:ext>
            </a:extLst>
          </p:cNvPr>
          <p:cNvSpPr>
            <a:spLocks noGrp="1"/>
          </p:cNvSpPr>
          <p:nvPr>
            <p:ph type="title"/>
          </p:nvPr>
        </p:nvSpPr>
        <p:spPr/>
        <p:txBody>
          <a:bodyPr/>
          <a:lstStyle/>
          <a:p>
            <a:r>
              <a:rPr lang="en-IN" dirty="0" smtClean="0"/>
              <a:t>Customer Information File (CIF)</a:t>
            </a:r>
            <a:endParaRPr lang="en-US" dirty="0">
              <a:latin typeface="Arial"/>
              <a:cs typeface="Calibri"/>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2</a:t>
            </a:fld>
            <a:endParaRPr lang="hi-IN"/>
          </a:p>
        </p:txBody>
      </p:sp>
      <p:sp>
        <p:nvSpPr>
          <p:cNvPr id="5" name="TextBox 4">
            <a:extLst>
              <a:ext uri="{FF2B5EF4-FFF2-40B4-BE49-F238E27FC236}">
                <a16:creationId xmlns:a16="http://schemas.microsoft.com/office/drawing/2014/main" id="{3B9D733C-A824-42DA-9E01-5683130F6180}"/>
              </a:ext>
            </a:extLst>
          </p:cNvPr>
          <p:cNvSpPr txBox="1"/>
          <p:nvPr/>
        </p:nvSpPr>
        <p:spPr>
          <a:xfrm>
            <a:off x="684362" y="1029419"/>
            <a:ext cx="274320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2000" dirty="0">
              <a:solidFill>
                <a:schemeClr val="tx2"/>
              </a:solidFill>
              <a:ea typeface="+mn-lt"/>
              <a:cs typeface="+mn-lt"/>
            </a:endParaRPr>
          </a:p>
        </p:txBody>
      </p:sp>
    </p:spTree>
    <p:extLst>
      <p:ext uri="{BB962C8B-B14F-4D97-AF65-F5344CB8AC3E}">
        <p14:creationId xmlns:p14="http://schemas.microsoft.com/office/powerpoint/2010/main" val="265793294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D7D8EB6-FA2E-41F8-A725-27B029EB5DBD}"/>
              </a:ext>
            </a:extLst>
          </p:cNvPr>
          <p:cNvSpPr>
            <a:spLocks noGrp="1"/>
          </p:cNvSpPr>
          <p:nvPr>
            <p:ph idx="1"/>
          </p:nvPr>
        </p:nvSpPr>
        <p:spPr>
          <a:xfrm>
            <a:off x="493142" y="1135512"/>
            <a:ext cx="10713631" cy="4769988"/>
          </a:xfrm>
        </p:spPr>
        <p:txBody>
          <a:bodyPr vert="horz" lIns="91440" tIns="45720" rIns="91440" bIns="45720" rtlCol="0" anchor="t">
            <a:noAutofit/>
          </a:bodyPr>
          <a:lstStyle/>
          <a:p>
            <a:pPr marL="0" indent="0">
              <a:buNone/>
            </a:pPr>
            <a:r>
              <a:rPr lang="en-US" sz="2000" dirty="0"/>
              <a:t>KYC stands for Know Your Customer. It is a mandatory procedure in India that helps banks, insurance companies and other financial institutions verify prospective customers' addresses and identities before conducting transactions. It includes verifying the customer's identity, address, occupation, residential status, financial status and other personal details</a:t>
            </a:r>
            <a:r>
              <a:rPr lang="en-US" sz="2000" dirty="0" smtClean="0"/>
              <a:t>.</a:t>
            </a:r>
          </a:p>
          <a:p>
            <a:pPr marL="0" indent="0">
              <a:buNone/>
            </a:pPr>
            <a:endParaRPr lang="en-US" sz="2000" dirty="0"/>
          </a:p>
          <a:p>
            <a:pPr marL="0" indent="0">
              <a:buNone/>
            </a:pPr>
            <a:r>
              <a:rPr lang="en-US" sz="2000" dirty="0"/>
              <a:t>The KYC process helps financial entities verify that investments/ transactions are being made in a real person's name. This helps cut down unlawful practices like money laundering, fraud or financing illegal activities. KYC compliance is required to open bank accounts, </a:t>
            </a:r>
            <a:r>
              <a:rPr lang="en-US" sz="2000" dirty="0" err="1"/>
              <a:t>Demat</a:t>
            </a:r>
            <a:r>
              <a:rPr lang="en-US" sz="2000" dirty="0"/>
              <a:t> and trading accounts, start fixed deposits or invest in mutual funds. It is even needed if you want to apply for a home or a personal loan.</a:t>
            </a:r>
          </a:p>
        </p:txBody>
      </p:sp>
      <p:sp>
        <p:nvSpPr>
          <p:cNvPr id="3" name="Title 2">
            <a:extLst>
              <a:ext uri="{FF2B5EF4-FFF2-40B4-BE49-F238E27FC236}">
                <a16:creationId xmlns:a16="http://schemas.microsoft.com/office/drawing/2014/main" id="{FBB341BF-A1B3-44BE-9338-684B7484A41C}"/>
              </a:ext>
            </a:extLst>
          </p:cNvPr>
          <p:cNvSpPr>
            <a:spLocks noGrp="1"/>
          </p:cNvSpPr>
          <p:nvPr>
            <p:ph type="title"/>
          </p:nvPr>
        </p:nvSpPr>
        <p:spPr/>
        <p:txBody>
          <a:bodyPr/>
          <a:lstStyle/>
          <a:p>
            <a:r>
              <a:rPr lang="en-IN" dirty="0" smtClean="0">
                <a:latin typeface="Arial"/>
                <a:cs typeface="Arial"/>
              </a:rPr>
              <a:t>Know Your Customer (KYC)</a:t>
            </a:r>
            <a:endParaRPr lang="en-US" dirty="0">
              <a:latin typeface="Arial"/>
              <a:cs typeface="Calibri"/>
            </a:endParaRPr>
          </a:p>
        </p:txBody>
      </p:sp>
      <p:sp>
        <p:nvSpPr>
          <p:cNvPr id="4" name="Slide Number Placeholder 3">
            <a:extLst>
              <a:ext uri="{FF2B5EF4-FFF2-40B4-BE49-F238E27FC236}">
                <a16:creationId xmlns:a16="http://schemas.microsoft.com/office/drawing/2014/main" id="{68FAF5E2-4E1D-4848-B045-1F5C1ACC1405}"/>
              </a:ext>
            </a:extLst>
          </p:cNvPr>
          <p:cNvSpPr>
            <a:spLocks noGrp="1"/>
          </p:cNvSpPr>
          <p:nvPr>
            <p:ph type="sldNum" sz="quarter" idx="12"/>
          </p:nvPr>
        </p:nvSpPr>
        <p:spPr/>
        <p:txBody>
          <a:bodyPr/>
          <a:lstStyle/>
          <a:p>
            <a:fld id="{C7F1B9D8-1D95-44B3-9E1C-E404196FC055}" type="slidenum">
              <a:rPr lang="hi-IN" smtClean="0"/>
              <a:t>20</a:t>
            </a:fld>
            <a:endParaRPr lang="hi-IN"/>
          </a:p>
        </p:txBody>
      </p:sp>
    </p:spTree>
    <p:extLst>
      <p:ext uri="{BB962C8B-B14F-4D97-AF65-F5344CB8AC3E}">
        <p14:creationId xmlns:p14="http://schemas.microsoft.com/office/powerpoint/2010/main" val="173534643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D7D8EB6-FA2E-41F8-A725-27B029EB5DBD}"/>
              </a:ext>
            </a:extLst>
          </p:cNvPr>
          <p:cNvSpPr>
            <a:spLocks noGrp="1"/>
          </p:cNvSpPr>
          <p:nvPr>
            <p:ph idx="1"/>
          </p:nvPr>
        </p:nvSpPr>
        <p:spPr>
          <a:xfrm>
            <a:off x="493142" y="1135512"/>
            <a:ext cx="10713631" cy="4769988"/>
          </a:xfrm>
        </p:spPr>
        <p:txBody>
          <a:bodyPr vert="horz" lIns="91440" tIns="45720" rIns="91440" bIns="45720" rtlCol="0" anchor="t">
            <a:noAutofit/>
          </a:bodyPr>
          <a:lstStyle/>
          <a:p>
            <a:pPr marL="0" indent="0">
              <a:buNone/>
            </a:pPr>
            <a:r>
              <a:rPr lang="en-US" sz="2000" dirty="0" smtClean="0"/>
              <a:t>UIDAI (Unique Identification Authority of India) </a:t>
            </a:r>
            <a:r>
              <a:rPr lang="en-US" sz="2000" dirty="0"/>
              <a:t>provides a mechanism to verify identity of an </a:t>
            </a:r>
            <a:r>
              <a:rPr lang="en-US" sz="2000" dirty="0" err="1"/>
              <a:t>Aadhaar</a:t>
            </a:r>
            <a:r>
              <a:rPr lang="en-US" sz="2000" dirty="0"/>
              <a:t> number holder through an online electronic </a:t>
            </a:r>
            <a:r>
              <a:rPr lang="en-US" sz="2000" dirty="0" smtClean="0"/>
              <a:t>KYC service</a:t>
            </a:r>
            <a:r>
              <a:rPr lang="en-US" sz="2000" dirty="0"/>
              <a:t>. The e-KYC service provides an authenticated instant verification of identity and significantly lowers the cost of paper based verification and KYC</a:t>
            </a:r>
            <a:r>
              <a:rPr lang="en-US" sz="2000" dirty="0" smtClean="0"/>
              <a:t>.</a:t>
            </a:r>
          </a:p>
          <a:p>
            <a:pPr marL="0" indent="0">
              <a:buNone/>
            </a:pPr>
            <a:endParaRPr lang="en-US" sz="2000" dirty="0" smtClean="0"/>
          </a:p>
          <a:p>
            <a:pPr marL="0" indent="0">
              <a:buNone/>
            </a:pPr>
            <a:r>
              <a:rPr lang="en-US" sz="2000" dirty="0"/>
              <a:t>It is a secure sharable document which can be used by any </a:t>
            </a:r>
            <a:r>
              <a:rPr lang="en-US" sz="2000" dirty="0" err="1"/>
              <a:t>Aadhaar</a:t>
            </a:r>
            <a:r>
              <a:rPr lang="en-US" sz="2000" dirty="0"/>
              <a:t> number holder for offline verification of Identification</a:t>
            </a:r>
            <a:r>
              <a:rPr lang="en-US" sz="2000" dirty="0" smtClean="0"/>
              <a:t>. A </a:t>
            </a:r>
            <a:r>
              <a:rPr lang="en-US" sz="2000" dirty="0"/>
              <a:t>resident desirous of using this facility shall generate his/her digitally signed </a:t>
            </a:r>
            <a:r>
              <a:rPr lang="en-US" sz="2000" dirty="0" err="1"/>
              <a:t>Aadhaar</a:t>
            </a:r>
            <a:r>
              <a:rPr lang="en-US" sz="2000" dirty="0"/>
              <a:t> details by accessing UIDAI resident portal. The details will contain Name, Address, Photo, Gender, DOB, hash of registered Mobile Number, hash of registered Email Address and reference id which contains last 4 digits of </a:t>
            </a:r>
            <a:r>
              <a:rPr lang="en-US" sz="2000" dirty="0" err="1"/>
              <a:t>Aadhaar</a:t>
            </a:r>
            <a:r>
              <a:rPr lang="en-US" sz="2000" dirty="0"/>
              <a:t> Number followed by time stamp in a digitally signed XML. It will provide Offline </a:t>
            </a:r>
            <a:r>
              <a:rPr lang="en-US" sz="2000" dirty="0" err="1"/>
              <a:t>Aadhaar</a:t>
            </a:r>
            <a:r>
              <a:rPr lang="en-US" sz="2000" dirty="0"/>
              <a:t> Verification facility to service providers/Offline Verification Seeking Entity (OVSE) without the need to collect or store </a:t>
            </a:r>
            <a:r>
              <a:rPr lang="en-US" sz="2000" dirty="0" err="1"/>
              <a:t>Aadhaar</a:t>
            </a:r>
            <a:r>
              <a:rPr lang="en-US" sz="2000" dirty="0"/>
              <a:t> number.</a:t>
            </a:r>
          </a:p>
          <a:p>
            <a:pPr marL="0" indent="0">
              <a:buNone/>
            </a:pPr>
            <a:endParaRPr lang="en-US" sz="2000" dirty="0"/>
          </a:p>
        </p:txBody>
      </p:sp>
      <p:sp>
        <p:nvSpPr>
          <p:cNvPr id="3" name="Title 2">
            <a:extLst>
              <a:ext uri="{FF2B5EF4-FFF2-40B4-BE49-F238E27FC236}">
                <a16:creationId xmlns:a16="http://schemas.microsoft.com/office/drawing/2014/main" id="{FBB341BF-A1B3-44BE-9338-684B7484A41C}"/>
              </a:ext>
            </a:extLst>
          </p:cNvPr>
          <p:cNvSpPr>
            <a:spLocks noGrp="1"/>
          </p:cNvSpPr>
          <p:nvPr>
            <p:ph type="title"/>
          </p:nvPr>
        </p:nvSpPr>
        <p:spPr/>
        <p:txBody>
          <a:bodyPr/>
          <a:lstStyle/>
          <a:p>
            <a:r>
              <a:rPr lang="en-IN" dirty="0" err="1"/>
              <a:t>Aadhaar</a:t>
            </a:r>
            <a:r>
              <a:rPr lang="en-IN" dirty="0"/>
              <a:t> Paperless Offline e-KYC</a:t>
            </a:r>
          </a:p>
        </p:txBody>
      </p:sp>
      <p:sp>
        <p:nvSpPr>
          <p:cNvPr id="4" name="Slide Number Placeholder 3">
            <a:extLst>
              <a:ext uri="{FF2B5EF4-FFF2-40B4-BE49-F238E27FC236}">
                <a16:creationId xmlns:a16="http://schemas.microsoft.com/office/drawing/2014/main" id="{68FAF5E2-4E1D-4848-B045-1F5C1ACC1405}"/>
              </a:ext>
            </a:extLst>
          </p:cNvPr>
          <p:cNvSpPr>
            <a:spLocks noGrp="1"/>
          </p:cNvSpPr>
          <p:nvPr>
            <p:ph type="sldNum" sz="quarter" idx="12"/>
          </p:nvPr>
        </p:nvSpPr>
        <p:spPr/>
        <p:txBody>
          <a:bodyPr/>
          <a:lstStyle/>
          <a:p>
            <a:fld id="{C7F1B9D8-1D95-44B3-9E1C-E404196FC055}" type="slidenum">
              <a:rPr lang="hi-IN" smtClean="0"/>
              <a:t>21</a:t>
            </a:fld>
            <a:endParaRPr lang="hi-IN"/>
          </a:p>
        </p:txBody>
      </p:sp>
    </p:spTree>
    <p:extLst>
      <p:ext uri="{BB962C8B-B14F-4D97-AF65-F5344CB8AC3E}">
        <p14:creationId xmlns:p14="http://schemas.microsoft.com/office/powerpoint/2010/main" val="229476576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90450" y="1203325"/>
            <a:ext cx="10713631" cy="4351338"/>
          </a:xfrm>
        </p:spPr>
        <p:txBody>
          <a:bodyPr>
            <a:normAutofit fontScale="92500" lnSpcReduction="20000"/>
          </a:bodyPr>
          <a:lstStyle/>
          <a:p>
            <a:pPr marL="0" indent="0">
              <a:buNone/>
            </a:pPr>
            <a:r>
              <a:rPr lang="en-IN" b="1" dirty="0" smtClean="0"/>
              <a:t>Data covered in Aadhar e-KYC</a:t>
            </a:r>
          </a:p>
          <a:p>
            <a:pPr marL="0" indent="0">
              <a:buNone/>
            </a:pPr>
            <a:endParaRPr lang="en-IN" sz="2200" dirty="0"/>
          </a:p>
          <a:p>
            <a:r>
              <a:rPr lang="en-US" sz="2200" dirty="0"/>
              <a:t>Fields that are always available </a:t>
            </a:r>
          </a:p>
          <a:p>
            <a:pPr lvl="1"/>
            <a:r>
              <a:rPr lang="en-US" sz="2200" dirty="0"/>
              <a:t>Resident Name</a:t>
            </a:r>
          </a:p>
          <a:p>
            <a:pPr lvl="1"/>
            <a:r>
              <a:rPr lang="en-US" sz="2200" dirty="0"/>
              <a:t>Download Reference </a:t>
            </a:r>
            <a:r>
              <a:rPr lang="en-US" sz="2200" dirty="0" smtClean="0"/>
              <a:t>Number</a:t>
            </a:r>
          </a:p>
          <a:p>
            <a:pPr lvl="1"/>
            <a:endParaRPr lang="en-US" sz="2200" dirty="0"/>
          </a:p>
          <a:p>
            <a:pPr marL="358775" lvl="1" indent="0">
              <a:buNone/>
            </a:pPr>
            <a:endParaRPr lang="en-US" sz="2200" dirty="0"/>
          </a:p>
          <a:p>
            <a:r>
              <a:rPr lang="en-US" sz="2200" dirty="0"/>
              <a:t>Optional fields: </a:t>
            </a:r>
          </a:p>
          <a:p>
            <a:pPr lvl="1"/>
            <a:r>
              <a:rPr lang="en-US" sz="2200" dirty="0"/>
              <a:t>Address</a:t>
            </a:r>
          </a:p>
          <a:p>
            <a:pPr lvl="1"/>
            <a:r>
              <a:rPr lang="en-US" sz="2200" dirty="0"/>
              <a:t>Photo</a:t>
            </a:r>
          </a:p>
          <a:p>
            <a:pPr lvl="1"/>
            <a:r>
              <a:rPr lang="en-US" sz="2200" dirty="0"/>
              <a:t>Gender</a:t>
            </a:r>
          </a:p>
          <a:p>
            <a:pPr lvl="1"/>
            <a:r>
              <a:rPr lang="en-US" sz="2200" dirty="0" err="1"/>
              <a:t>DoB</a:t>
            </a:r>
            <a:r>
              <a:rPr lang="en-US" sz="2200" dirty="0"/>
              <a:t>/</a:t>
            </a:r>
            <a:r>
              <a:rPr lang="en-US" sz="2200" dirty="0" err="1"/>
              <a:t>YoB</a:t>
            </a:r>
            <a:endParaRPr lang="en-US" sz="2200" dirty="0"/>
          </a:p>
          <a:p>
            <a:pPr lvl="1"/>
            <a:r>
              <a:rPr lang="en-US" sz="2200" dirty="0"/>
              <a:t>Mobile Number (in hashed form)</a:t>
            </a:r>
          </a:p>
          <a:p>
            <a:pPr lvl="1"/>
            <a:r>
              <a:rPr lang="en-US" sz="2200" dirty="0"/>
              <a:t>Email (in hashed form)</a:t>
            </a:r>
          </a:p>
          <a:p>
            <a:pPr marL="0" indent="0">
              <a:buNone/>
            </a:pPr>
            <a:endParaRPr lang="en-IN" dirty="0"/>
          </a:p>
        </p:txBody>
      </p:sp>
      <p:sp>
        <p:nvSpPr>
          <p:cNvPr id="4" name="Slide Number Placeholder 3"/>
          <p:cNvSpPr>
            <a:spLocks noGrp="1"/>
          </p:cNvSpPr>
          <p:nvPr>
            <p:ph type="sldNum" sz="quarter" idx="12"/>
          </p:nvPr>
        </p:nvSpPr>
        <p:spPr/>
        <p:txBody>
          <a:bodyPr/>
          <a:lstStyle/>
          <a:p>
            <a:fld id="{C7F1B9D8-1D95-44B3-9E1C-E404196FC055}" type="slidenum">
              <a:rPr lang="hi-IN" smtClean="0"/>
              <a:t>22</a:t>
            </a:fld>
            <a:endParaRPr lang="hi-IN"/>
          </a:p>
        </p:txBody>
      </p:sp>
    </p:spTree>
    <p:extLst>
      <p:ext uri="{BB962C8B-B14F-4D97-AF65-F5344CB8AC3E}">
        <p14:creationId xmlns:p14="http://schemas.microsoft.com/office/powerpoint/2010/main" val="39718641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E244992-97C8-4B58-956F-FC4DAF38B081}"/>
              </a:ext>
            </a:extLst>
          </p:cNvPr>
          <p:cNvSpPr>
            <a:spLocks noGrp="1"/>
          </p:cNvSpPr>
          <p:nvPr>
            <p:ph type="title"/>
          </p:nvPr>
        </p:nvSpPr>
        <p:spPr>
          <a:xfrm>
            <a:off x="256310" y="184284"/>
            <a:ext cx="9690100" cy="794064"/>
          </a:xfrm>
        </p:spPr>
        <p:txBody>
          <a:bodyPr/>
          <a:lstStyle/>
          <a:p>
            <a:pPr>
              <a:lnSpc>
                <a:spcPct val="100000"/>
              </a:lnSpc>
              <a:spcAft>
                <a:spcPct val="0"/>
              </a:spcAft>
            </a:pPr>
            <a:r>
              <a:rPr lang="en-US" dirty="0">
                <a:latin typeface="Arial"/>
                <a:cs typeface="Arial"/>
              </a:rPr>
              <a:t>ACCOUNT OPENING PROCESS</a:t>
            </a:r>
            <a:endParaRPr lang="en-IN" b="0">
              <a:latin typeface="Arial"/>
              <a:cs typeface="Arial"/>
            </a:endParaRPr>
          </a:p>
          <a:p>
            <a:endParaRPr lang="en-US" dirty="0">
              <a:latin typeface="Arial"/>
              <a:cs typeface="Arial"/>
            </a:endParaRPr>
          </a:p>
        </p:txBody>
      </p:sp>
      <p:sp>
        <p:nvSpPr>
          <p:cNvPr id="4" name="Slide Number Placeholder 3">
            <a:extLst>
              <a:ext uri="{FF2B5EF4-FFF2-40B4-BE49-F238E27FC236}">
                <a16:creationId xmlns:a16="http://schemas.microsoft.com/office/drawing/2014/main" id="{A144129E-5D2E-4C36-801A-CCD400C15D24}"/>
              </a:ext>
            </a:extLst>
          </p:cNvPr>
          <p:cNvSpPr>
            <a:spLocks noGrp="1"/>
          </p:cNvSpPr>
          <p:nvPr>
            <p:ph type="sldNum" sz="quarter" idx="12"/>
          </p:nvPr>
        </p:nvSpPr>
        <p:spPr>
          <a:xfrm>
            <a:off x="6927921" y="6662206"/>
            <a:ext cx="497468" cy="211203"/>
          </a:xfrm>
        </p:spPr>
        <p:txBody>
          <a:bodyPr/>
          <a:lstStyle/>
          <a:p>
            <a:fld id="{C7F1B9D8-1D95-44B3-9E1C-E404196FC055}" type="slidenum">
              <a:rPr lang="hi-IN" smtClean="0"/>
              <a:t>23</a:t>
            </a:fld>
            <a:endParaRPr lang="hi-IN"/>
          </a:p>
        </p:txBody>
      </p:sp>
      <p:sp>
        <p:nvSpPr>
          <p:cNvPr id="42" name="AutoShape 10">
            <a:extLst>
              <a:ext uri="{FF2B5EF4-FFF2-40B4-BE49-F238E27FC236}">
                <a16:creationId xmlns:a16="http://schemas.microsoft.com/office/drawing/2014/main" id="{026231BB-0FD7-42AA-8585-9D27B50CAED2}"/>
              </a:ext>
            </a:extLst>
          </p:cNvPr>
          <p:cNvSpPr>
            <a:spLocks noChangeArrowheads="1"/>
          </p:cNvSpPr>
          <p:nvPr/>
        </p:nvSpPr>
        <p:spPr bwMode="auto">
          <a:xfrm>
            <a:off x="3754004" y="994352"/>
            <a:ext cx="1187450" cy="877888"/>
          </a:xfrm>
          <a:prstGeom prst="hexagon">
            <a:avLst>
              <a:gd name="adj" fmla="val 38477"/>
              <a:gd name="vf" fmla="val 115470"/>
            </a:avLst>
          </a:prstGeom>
          <a:solidFill>
            <a:srgbClr val="FDE9D9"/>
          </a:solidFill>
          <a:ln w="38100">
            <a:solidFill>
              <a:srgbClr val="F2F2F2"/>
            </a:solidFill>
            <a:miter lim="800000"/>
            <a:headEnd/>
            <a:tailEnd/>
          </a:ln>
          <a:effectLst>
            <a:outerShdw dist="28398" dir="3806097" algn="ctr" rotWithShape="0">
              <a:srgbClr val="974706">
                <a:alpha val="50000"/>
              </a:srgbClr>
            </a:outerShdw>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lgn="ctr">
              <a:defRPr/>
            </a:pPr>
            <a:r>
              <a:rPr lang="en-US" sz="900" dirty="0">
                <a:solidFill>
                  <a:srgbClr val="FF0000"/>
                </a:solidFill>
                <a:latin typeface="Arial" pitchFamily="34" charset="0"/>
                <a:ea typeface="Calibri" pitchFamily="34" charset="0"/>
                <a:cs typeface="Times New Roman" pitchFamily="18" charset="0"/>
              </a:rPr>
              <a:t>Filling in the Customer Master Form </a:t>
            </a:r>
            <a:endParaRPr lang="en-US" dirty="0">
              <a:solidFill>
                <a:srgbClr val="FF0000"/>
              </a:solidFill>
              <a:latin typeface="Arial" pitchFamily="34" charset="0"/>
              <a:cs typeface="Arial" pitchFamily="34" charset="0"/>
            </a:endParaRPr>
          </a:p>
        </p:txBody>
      </p:sp>
      <p:sp>
        <p:nvSpPr>
          <p:cNvPr id="43" name="AutoShape 9">
            <a:extLst>
              <a:ext uri="{FF2B5EF4-FFF2-40B4-BE49-F238E27FC236}">
                <a16:creationId xmlns:a16="http://schemas.microsoft.com/office/drawing/2014/main" id="{79313F71-C963-4C7F-BA3F-FC967ED47593}"/>
              </a:ext>
            </a:extLst>
          </p:cNvPr>
          <p:cNvSpPr>
            <a:spLocks noChangeArrowheads="1"/>
          </p:cNvSpPr>
          <p:nvPr/>
        </p:nvSpPr>
        <p:spPr bwMode="auto">
          <a:xfrm>
            <a:off x="5268336" y="1022061"/>
            <a:ext cx="1212850" cy="877888"/>
          </a:xfrm>
          <a:prstGeom prst="hexagon">
            <a:avLst>
              <a:gd name="adj" fmla="val 39323"/>
              <a:gd name="vf" fmla="val 115470"/>
            </a:avLst>
          </a:prstGeom>
          <a:solidFill>
            <a:srgbClr val="FDE9D9"/>
          </a:solidFill>
          <a:ln w="38100">
            <a:solidFill>
              <a:srgbClr val="F2F2F2"/>
            </a:solidFill>
            <a:miter lim="800000"/>
            <a:headEnd/>
            <a:tailEnd/>
          </a:ln>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lgn="ctr"/>
            <a:r>
              <a:rPr lang="en-US" sz="900" dirty="0">
                <a:solidFill>
                  <a:srgbClr val="FF0000"/>
                </a:solidFill>
                <a:ea typeface="Calibri" pitchFamily="34" charset="0"/>
                <a:cs typeface="Times New Roman" pitchFamily="18" charset="0"/>
              </a:rPr>
              <a:t>Obtaining copies of KYC documents </a:t>
            </a:r>
            <a:endParaRPr lang="en-US" dirty="0">
              <a:solidFill>
                <a:srgbClr val="FF0000"/>
              </a:solidFill>
              <a:ea typeface="Calibri" pitchFamily="34" charset="0"/>
              <a:cs typeface="Times New Roman" pitchFamily="18" charset="0"/>
            </a:endParaRPr>
          </a:p>
        </p:txBody>
      </p:sp>
      <p:sp>
        <p:nvSpPr>
          <p:cNvPr id="44" name="AutoShape 8">
            <a:extLst>
              <a:ext uri="{FF2B5EF4-FFF2-40B4-BE49-F238E27FC236}">
                <a16:creationId xmlns:a16="http://schemas.microsoft.com/office/drawing/2014/main" id="{0F3B9D84-96B3-4D58-ACB3-C19B2EA49A59}"/>
              </a:ext>
            </a:extLst>
          </p:cNvPr>
          <p:cNvSpPr>
            <a:spLocks noChangeArrowheads="1"/>
          </p:cNvSpPr>
          <p:nvPr/>
        </p:nvSpPr>
        <p:spPr bwMode="auto">
          <a:xfrm>
            <a:off x="6718590" y="1022061"/>
            <a:ext cx="1214438" cy="877888"/>
          </a:xfrm>
          <a:prstGeom prst="hexagon">
            <a:avLst>
              <a:gd name="adj" fmla="val 40179"/>
              <a:gd name="vf" fmla="val 115470"/>
            </a:avLst>
          </a:prstGeom>
          <a:solidFill>
            <a:srgbClr val="FDE9D9"/>
          </a:solidFill>
          <a:ln w="38100">
            <a:solidFill>
              <a:srgbClr val="F2F2F2"/>
            </a:solidFill>
            <a:miter lim="800000"/>
            <a:headEnd/>
            <a:tailEnd/>
          </a:ln>
          <a:effectLst>
            <a:outerShdw dist="28398" dir="3806097" algn="ctr" rotWithShape="0">
              <a:srgbClr val="974706">
                <a:alpha val="50000"/>
              </a:srgbClr>
            </a:outerShdw>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lgn="ctr">
              <a:defRPr/>
            </a:pPr>
            <a:r>
              <a:rPr lang="en-US" sz="900" dirty="0">
                <a:solidFill>
                  <a:srgbClr val="FF0000"/>
                </a:solidFill>
                <a:latin typeface="Arial" pitchFamily="34" charset="0"/>
                <a:ea typeface="Calibri" pitchFamily="34" charset="0"/>
                <a:cs typeface="Times New Roman" pitchFamily="18" charset="0"/>
              </a:rPr>
              <a:t>Filling in the Account Opening Form </a:t>
            </a:r>
            <a:endParaRPr lang="en-US" dirty="0">
              <a:solidFill>
                <a:srgbClr val="FF0000"/>
              </a:solidFill>
              <a:latin typeface="Arial" pitchFamily="34" charset="0"/>
              <a:cs typeface="Arial" pitchFamily="34" charset="0"/>
            </a:endParaRPr>
          </a:p>
        </p:txBody>
      </p:sp>
      <p:sp>
        <p:nvSpPr>
          <p:cNvPr id="45" name="AutoShape 7">
            <a:extLst>
              <a:ext uri="{FF2B5EF4-FFF2-40B4-BE49-F238E27FC236}">
                <a16:creationId xmlns:a16="http://schemas.microsoft.com/office/drawing/2014/main" id="{611FEA52-D3E8-46F2-A4A6-1A6D5CE39A5B}"/>
              </a:ext>
            </a:extLst>
          </p:cNvPr>
          <p:cNvSpPr>
            <a:spLocks noChangeArrowheads="1"/>
          </p:cNvSpPr>
          <p:nvPr/>
        </p:nvSpPr>
        <p:spPr bwMode="auto">
          <a:xfrm>
            <a:off x="8233786" y="1006186"/>
            <a:ext cx="1246187" cy="893763"/>
          </a:xfrm>
          <a:prstGeom prst="hexagon">
            <a:avLst>
              <a:gd name="adj" fmla="val 40381"/>
              <a:gd name="vf" fmla="val 115470"/>
            </a:avLst>
          </a:prstGeom>
          <a:solidFill>
            <a:srgbClr val="FDE9D9"/>
          </a:solidFill>
          <a:ln w="38100">
            <a:solidFill>
              <a:srgbClr val="F2F2F2"/>
            </a:solidFill>
            <a:miter lim="800000"/>
            <a:headEnd/>
            <a:tailEnd/>
          </a:ln>
          <a:effectLst>
            <a:outerShdw dist="28398" dir="3806097" algn="ctr" rotWithShape="0">
              <a:srgbClr val="974706">
                <a:alpha val="50000"/>
              </a:srgbClr>
            </a:outerShdw>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lgn="ctr">
              <a:defRPr/>
            </a:pPr>
            <a:r>
              <a:rPr lang="en-US" sz="900" dirty="0">
                <a:solidFill>
                  <a:srgbClr val="FF0000"/>
                </a:solidFill>
                <a:latin typeface="Arial" pitchFamily="34" charset="0"/>
                <a:ea typeface="Calibri" pitchFamily="34" charset="0"/>
                <a:cs typeface="Times New Roman" pitchFamily="18" charset="0"/>
              </a:rPr>
              <a:t>Verification of Forms and KYC documents</a:t>
            </a:r>
            <a:endParaRPr lang="en-US" dirty="0">
              <a:solidFill>
                <a:srgbClr val="FF0000"/>
              </a:solidFill>
              <a:latin typeface="Arial" pitchFamily="34" charset="0"/>
              <a:cs typeface="Arial" pitchFamily="34" charset="0"/>
            </a:endParaRPr>
          </a:p>
        </p:txBody>
      </p:sp>
      <p:sp>
        <p:nvSpPr>
          <p:cNvPr id="46" name="AutoShape 35">
            <a:extLst>
              <a:ext uri="{FF2B5EF4-FFF2-40B4-BE49-F238E27FC236}">
                <a16:creationId xmlns:a16="http://schemas.microsoft.com/office/drawing/2014/main" id="{E238A671-AFAD-43C3-B8AF-B2EBFC7049F5}"/>
              </a:ext>
            </a:extLst>
          </p:cNvPr>
          <p:cNvSpPr>
            <a:spLocks noChangeArrowheads="1"/>
          </p:cNvSpPr>
          <p:nvPr/>
        </p:nvSpPr>
        <p:spPr bwMode="auto">
          <a:xfrm>
            <a:off x="3754004" y="2547793"/>
            <a:ext cx="1193800" cy="779463"/>
          </a:xfrm>
          <a:prstGeom prst="flowChartAlternateProcess">
            <a:avLst/>
          </a:prstGeom>
          <a:solidFill>
            <a:srgbClr val="FFFFCC"/>
          </a:solidFill>
          <a:ln w="38100">
            <a:solidFill>
              <a:srgbClr val="F2F2F2"/>
            </a:solidFill>
            <a:miter lim="800000"/>
            <a:headEnd/>
            <a:tailEnd/>
          </a:ln>
          <a:effectLst>
            <a:outerShdw dist="28398" dir="3806097" algn="ctr" rotWithShape="0">
              <a:srgbClr val="205867">
                <a:alpha val="50000"/>
              </a:srgbClr>
            </a:outerShdw>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lgn="ctr">
              <a:defRPr/>
            </a:pPr>
            <a:r>
              <a:rPr lang="en-US" sz="900" dirty="0">
                <a:solidFill>
                  <a:srgbClr val="FF0000"/>
                </a:solidFill>
                <a:latin typeface="Arial" pitchFamily="34" charset="0"/>
                <a:ea typeface="Calibri" pitchFamily="34" charset="0"/>
                <a:cs typeface="Times New Roman" pitchFamily="18" charset="0"/>
              </a:rPr>
              <a:t>Authorisation of the Forms by the branch officials </a:t>
            </a:r>
            <a:endParaRPr lang="en-US" dirty="0">
              <a:solidFill>
                <a:srgbClr val="FF0000"/>
              </a:solidFill>
              <a:latin typeface="Arial" pitchFamily="34" charset="0"/>
              <a:cs typeface="Arial" pitchFamily="34" charset="0"/>
            </a:endParaRPr>
          </a:p>
        </p:txBody>
      </p:sp>
      <p:sp>
        <p:nvSpPr>
          <p:cNvPr id="47" name="Text Box 28">
            <a:extLst>
              <a:ext uri="{FF2B5EF4-FFF2-40B4-BE49-F238E27FC236}">
                <a16:creationId xmlns:a16="http://schemas.microsoft.com/office/drawing/2014/main" id="{8C99F02F-C6EB-4698-BF57-F3AC295D0931}"/>
              </a:ext>
            </a:extLst>
          </p:cNvPr>
          <p:cNvSpPr txBox="1">
            <a:spLocks noChangeArrowheads="1"/>
          </p:cNvSpPr>
          <p:nvPr/>
        </p:nvSpPr>
        <p:spPr bwMode="auto">
          <a:xfrm>
            <a:off x="6711518" y="4060681"/>
            <a:ext cx="1241425" cy="823912"/>
          </a:xfrm>
          <a:prstGeom prst="rect">
            <a:avLst/>
          </a:prstGeom>
          <a:solidFill>
            <a:srgbClr val="C6D9F1"/>
          </a:solidFill>
          <a:ln w="38100">
            <a:solidFill>
              <a:srgbClr val="F2F2F2"/>
            </a:solidFill>
            <a:miter lim="800000"/>
            <a:headEnd/>
            <a:tailEnd/>
          </a:ln>
          <a:effectLst>
            <a:outerShdw dist="28398" dir="3806097" algn="ctr" rotWithShape="0">
              <a:srgbClr val="205867">
                <a:alpha val="50000"/>
              </a:srgbClr>
            </a:outerShdw>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lgn="ctr">
              <a:defRPr/>
            </a:pPr>
            <a:r>
              <a:rPr lang="en-US" sz="900" dirty="0">
                <a:solidFill>
                  <a:srgbClr val="FF0000"/>
                </a:solidFill>
                <a:latin typeface="Arial" pitchFamily="34" charset="0"/>
                <a:ea typeface="Calibri" pitchFamily="34" charset="0"/>
                <a:cs typeface="Times New Roman" pitchFamily="18" charset="0"/>
              </a:rPr>
              <a:t>Creation of Customer Master &amp; Account in the CBS by the branch officials </a:t>
            </a:r>
            <a:endParaRPr lang="en-US" dirty="0">
              <a:solidFill>
                <a:srgbClr val="FF0000"/>
              </a:solidFill>
              <a:latin typeface="Arial" pitchFamily="34" charset="0"/>
              <a:cs typeface="Arial" pitchFamily="34" charset="0"/>
            </a:endParaRPr>
          </a:p>
        </p:txBody>
      </p:sp>
      <p:sp>
        <p:nvSpPr>
          <p:cNvPr id="48" name="Text Box 27">
            <a:extLst>
              <a:ext uri="{FF2B5EF4-FFF2-40B4-BE49-F238E27FC236}">
                <a16:creationId xmlns:a16="http://schemas.microsoft.com/office/drawing/2014/main" id="{317954F9-AE47-4409-8B60-7AF4B45EF0D6}"/>
              </a:ext>
            </a:extLst>
          </p:cNvPr>
          <p:cNvSpPr txBox="1">
            <a:spLocks noChangeArrowheads="1"/>
          </p:cNvSpPr>
          <p:nvPr/>
        </p:nvSpPr>
        <p:spPr bwMode="auto">
          <a:xfrm>
            <a:off x="8248218" y="4060681"/>
            <a:ext cx="1176337" cy="823912"/>
          </a:xfrm>
          <a:prstGeom prst="rect">
            <a:avLst/>
          </a:prstGeom>
          <a:solidFill>
            <a:srgbClr val="C6D9F1"/>
          </a:solidFill>
          <a:ln w="38100">
            <a:solidFill>
              <a:srgbClr val="F2F2F2"/>
            </a:solidFill>
            <a:miter lim="800000"/>
            <a:headEnd/>
            <a:tailEnd/>
          </a:ln>
          <a:effectLst>
            <a:outerShdw dist="28398" dir="3806097" algn="ctr" rotWithShape="0">
              <a:srgbClr val="205867">
                <a:alpha val="50000"/>
              </a:srgbClr>
            </a:outerShdw>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lgn="ctr">
              <a:defRPr/>
            </a:pPr>
            <a:endParaRPr lang="en-US" sz="900" dirty="0">
              <a:solidFill>
                <a:srgbClr val="FF0000"/>
              </a:solidFill>
              <a:latin typeface="Arial" pitchFamily="34" charset="0"/>
              <a:ea typeface="Calibri" pitchFamily="34" charset="0"/>
              <a:cs typeface="Times New Roman" pitchFamily="18" charset="0"/>
            </a:endParaRPr>
          </a:p>
          <a:p>
            <a:pPr algn="ctr">
              <a:defRPr/>
            </a:pPr>
            <a:r>
              <a:rPr lang="en-US" sz="900" dirty="0">
                <a:solidFill>
                  <a:srgbClr val="FF0000"/>
                </a:solidFill>
                <a:latin typeface="Arial" pitchFamily="34" charset="0"/>
                <a:ea typeface="Calibri" pitchFamily="34" charset="0"/>
                <a:cs typeface="Times New Roman" pitchFamily="18" charset="0"/>
              </a:rPr>
              <a:t>Despatch of Forms &amp; KYC documents to CPU</a:t>
            </a:r>
            <a:endParaRPr lang="en-US" dirty="0">
              <a:solidFill>
                <a:srgbClr val="FF0000"/>
              </a:solidFill>
              <a:latin typeface="Arial" pitchFamily="34" charset="0"/>
              <a:cs typeface="Arial" pitchFamily="34" charset="0"/>
            </a:endParaRPr>
          </a:p>
        </p:txBody>
      </p:sp>
      <p:sp>
        <p:nvSpPr>
          <p:cNvPr id="49" name="Text Box 26">
            <a:extLst>
              <a:ext uri="{FF2B5EF4-FFF2-40B4-BE49-F238E27FC236}">
                <a16:creationId xmlns:a16="http://schemas.microsoft.com/office/drawing/2014/main" id="{133C4895-2CCB-4412-B8AC-E4C9CA97E416}"/>
              </a:ext>
            </a:extLst>
          </p:cNvPr>
          <p:cNvSpPr txBox="1">
            <a:spLocks noChangeArrowheads="1"/>
          </p:cNvSpPr>
          <p:nvPr/>
        </p:nvSpPr>
        <p:spPr bwMode="auto">
          <a:xfrm>
            <a:off x="4736668" y="5373543"/>
            <a:ext cx="1395412" cy="881063"/>
          </a:xfrm>
          <a:prstGeom prst="rect">
            <a:avLst/>
          </a:prstGeom>
          <a:solidFill>
            <a:srgbClr val="C6D9F1"/>
          </a:solidFill>
          <a:ln w="38100">
            <a:solidFill>
              <a:srgbClr val="F2F2F2"/>
            </a:solidFill>
            <a:miter lim="800000"/>
            <a:headEnd/>
            <a:tailEnd/>
          </a:ln>
          <a:effectLst>
            <a:outerShdw dist="28398" dir="3806097" algn="ctr" rotWithShape="0">
              <a:srgbClr val="3F3151">
                <a:alpha val="50000"/>
              </a:srgbClr>
            </a:outerShdw>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lgn="ctr">
              <a:defRPr/>
            </a:pPr>
            <a:endParaRPr lang="en-US" sz="900" dirty="0">
              <a:solidFill>
                <a:srgbClr val="FF0000"/>
              </a:solidFill>
              <a:latin typeface="Arial" pitchFamily="34" charset="0"/>
              <a:ea typeface="Calibri" pitchFamily="34" charset="0"/>
              <a:cs typeface="Times New Roman" pitchFamily="18" charset="0"/>
            </a:endParaRPr>
          </a:p>
          <a:p>
            <a:pPr algn="ctr">
              <a:defRPr/>
            </a:pPr>
            <a:r>
              <a:rPr lang="en-US" sz="900" dirty="0">
                <a:solidFill>
                  <a:srgbClr val="FF0000"/>
                </a:solidFill>
                <a:latin typeface="Arial" pitchFamily="34" charset="0"/>
                <a:ea typeface="Calibri" pitchFamily="34" charset="0"/>
                <a:cs typeface="Times New Roman" pitchFamily="18" charset="0"/>
              </a:rPr>
              <a:t>Despatch of Welcome Letter, Cheque Book, Debit Card, PINs to the Customer</a:t>
            </a:r>
            <a:endParaRPr lang="en-US" dirty="0">
              <a:solidFill>
                <a:srgbClr val="FF0000"/>
              </a:solidFill>
              <a:latin typeface="Arial" pitchFamily="34" charset="0"/>
              <a:cs typeface="Arial" pitchFamily="34" charset="0"/>
            </a:endParaRPr>
          </a:p>
        </p:txBody>
      </p:sp>
      <p:sp>
        <p:nvSpPr>
          <p:cNvPr id="50" name="Text Box 25">
            <a:extLst>
              <a:ext uri="{FF2B5EF4-FFF2-40B4-BE49-F238E27FC236}">
                <a16:creationId xmlns:a16="http://schemas.microsoft.com/office/drawing/2014/main" id="{62016C55-5762-4E4C-AA57-A49D59058B8D}"/>
              </a:ext>
            </a:extLst>
          </p:cNvPr>
          <p:cNvSpPr txBox="1">
            <a:spLocks noChangeArrowheads="1"/>
          </p:cNvSpPr>
          <p:nvPr/>
        </p:nvSpPr>
        <p:spPr bwMode="auto">
          <a:xfrm>
            <a:off x="6425768" y="5373543"/>
            <a:ext cx="1376362" cy="873125"/>
          </a:xfrm>
          <a:prstGeom prst="rect">
            <a:avLst/>
          </a:prstGeom>
          <a:solidFill>
            <a:srgbClr val="C6D9F1"/>
          </a:solidFill>
          <a:ln w="38100">
            <a:solidFill>
              <a:srgbClr val="F2F2F2"/>
            </a:solidFill>
            <a:miter lim="800000"/>
            <a:headEnd/>
            <a:tailEnd/>
          </a:ln>
          <a:effectLst>
            <a:outerShdw dist="28398" dir="3806097" algn="ctr" rotWithShape="0">
              <a:srgbClr val="3F3151">
                <a:alpha val="50000"/>
              </a:srgbClr>
            </a:outerShdw>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lgn="ctr">
              <a:defRPr/>
            </a:pPr>
            <a:endParaRPr lang="en-US" sz="900" dirty="0">
              <a:solidFill>
                <a:srgbClr val="FF0000"/>
              </a:solidFill>
              <a:latin typeface="Arial" pitchFamily="34" charset="0"/>
              <a:ea typeface="Calibri" pitchFamily="34" charset="0"/>
              <a:cs typeface="Times New Roman" pitchFamily="18" charset="0"/>
            </a:endParaRPr>
          </a:p>
          <a:p>
            <a:pPr algn="ctr">
              <a:defRPr/>
            </a:pPr>
            <a:r>
              <a:rPr lang="en-US" sz="900" dirty="0">
                <a:solidFill>
                  <a:srgbClr val="FF0000"/>
                </a:solidFill>
                <a:latin typeface="Arial" pitchFamily="34" charset="0"/>
                <a:ea typeface="Calibri" pitchFamily="34" charset="0"/>
                <a:cs typeface="Times New Roman" pitchFamily="18" charset="0"/>
              </a:rPr>
              <a:t>Generation of Cheque Book/ Debit Card/ Internet/Phone Bkg PINs/ Welcome Letter</a:t>
            </a:r>
            <a:endParaRPr lang="en-US" dirty="0">
              <a:solidFill>
                <a:srgbClr val="FF0000"/>
              </a:solidFill>
              <a:latin typeface="Arial" pitchFamily="34" charset="0"/>
              <a:cs typeface="Arial" pitchFamily="34" charset="0"/>
            </a:endParaRPr>
          </a:p>
        </p:txBody>
      </p:sp>
      <p:sp>
        <p:nvSpPr>
          <p:cNvPr id="51" name="Text Box 24">
            <a:extLst>
              <a:ext uri="{FF2B5EF4-FFF2-40B4-BE49-F238E27FC236}">
                <a16:creationId xmlns:a16="http://schemas.microsoft.com/office/drawing/2014/main" id="{41BCB0F3-FF5B-46EA-9327-E1C48A542FF5}"/>
              </a:ext>
            </a:extLst>
          </p:cNvPr>
          <p:cNvSpPr txBox="1">
            <a:spLocks noChangeArrowheads="1"/>
          </p:cNvSpPr>
          <p:nvPr/>
        </p:nvSpPr>
        <p:spPr bwMode="auto">
          <a:xfrm>
            <a:off x="5212918" y="4060681"/>
            <a:ext cx="1212850" cy="823912"/>
          </a:xfrm>
          <a:prstGeom prst="rect">
            <a:avLst/>
          </a:prstGeom>
          <a:solidFill>
            <a:srgbClr val="C6D9F1"/>
          </a:solidFill>
          <a:ln w="38100">
            <a:solidFill>
              <a:srgbClr val="F2F2F2"/>
            </a:solidFill>
            <a:miter lim="800000"/>
            <a:headEnd/>
            <a:tailEnd/>
          </a:ln>
          <a:effectLst>
            <a:outerShdw dist="28398" dir="3806097" algn="ctr" rotWithShape="0">
              <a:srgbClr val="205867">
                <a:alpha val="50000"/>
              </a:srgbClr>
            </a:outerShdw>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lgn="ctr">
              <a:defRPr/>
            </a:pPr>
            <a:endParaRPr lang="en-US" sz="900" dirty="0">
              <a:solidFill>
                <a:srgbClr val="FF0000"/>
              </a:solidFill>
              <a:latin typeface="Arial" pitchFamily="34" charset="0"/>
              <a:ea typeface="Calibri" pitchFamily="34" charset="0"/>
              <a:cs typeface="Times New Roman" pitchFamily="18" charset="0"/>
            </a:endParaRPr>
          </a:p>
          <a:p>
            <a:pPr algn="ctr">
              <a:defRPr/>
            </a:pPr>
            <a:r>
              <a:rPr lang="en-US" sz="900" dirty="0">
                <a:solidFill>
                  <a:srgbClr val="FF0000"/>
                </a:solidFill>
                <a:latin typeface="Arial" pitchFamily="34" charset="0"/>
                <a:ea typeface="Calibri" pitchFamily="34" charset="0"/>
                <a:cs typeface="Times New Roman" pitchFamily="18" charset="0"/>
              </a:rPr>
              <a:t>Crediting of Cash/ Cheque for initial deposit in Branch’s Office Account </a:t>
            </a:r>
            <a:endParaRPr lang="en-US" dirty="0">
              <a:solidFill>
                <a:srgbClr val="FF0000"/>
              </a:solidFill>
              <a:latin typeface="Arial" pitchFamily="34" charset="0"/>
              <a:cs typeface="Arial" pitchFamily="34" charset="0"/>
            </a:endParaRPr>
          </a:p>
        </p:txBody>
      </p:sp>
      <p:cxnSp>
        <p:nvCxnSpPr>
          <p:cNvPr id="52" name="AutoShape 23">
            <a:extLst>
              <a:ext uri="{FF2B5EF4-FFF2-40B4-BE49-F238E27FC236}">
                <a16:creationId xmlns:a16="http://schemas.microsoft.com/office/drawing/2014/main" id="{9F5445E9-2EF3-400C-BCC9-394B157FE6CC}"/>
              </a:ext>
            </a:extLst>
          </p:cNvPr>
          <p:cNvCxnSpPr>
            <a:cxnSpLocks noChangeShapeType="1"/>
          </p:cNvCxnSpPr>
          <p:nvPr/>
        </p:nvCxnSpPr>
        <p:spPr bwMode="auto">
          <a:xfrm flipH="1">
            <a:off x="7844993" y="5794231"/>
            <a:ext cx="233362" cy="0"/>
          </a:xfrm>
          <a:prstGeom prst="straightConnector1">
            <a:avLst/>
          </a:prstGeom>
          <a:noFill/>
          <a:ln w="9525">
            <a:solidFill>
              <a:schemeClr val="tx1"/>
            </a:solidFill>
            <a:round/>
            <a:headEnd/>
            <a:tailEnd type="triangle" w="med" len="med"/>
          </a:ln>
        </p:spPr>
      </p:cxnSp>
      <p:cxnSp>
        <p:nvCxnSpPr>
          <p:cNvPr id="53" name="AutoShape 22">
            <a:extLst>
              <a:ext uri="{FF2B5EF4-FFF2-40B4-BE49-F238E27FC236}">
                <a16:creationId xmlns:a16="http://schemas.microsoft.com/office/drawing/2014/main" id="{2C7DE36A-1F61-4B20-BE43-97ED99BE5293}"/>
              </a:ext>
            </a:extLst>
          </p:cNvPr>
          <p:cNvCxnSpPr>
            <a:cxnSpLocks noChangeShapeType="1"/>
          </p:cNvCxnSpPr>
          <p:nvPr/>
        </p:nvCxnSpPr>
        <p:spPr bwMode="auto">
          <a:xfrm>
            <a:off x="8795905" y="4932218"/>
            <a:ext cx="0" cy="231775"/>
          </a:xfrm>
          <a:prstGeom prst="straightConnector1">
            <a:avLst/>
          </a:prstGeom>
          <a:noFill/>
          <a:ln w="9525">
            <a:solidFill>
              <a:schemeClr val="tx1"/>
            </a:solidFill>
            <a:round/>
            <a:headEnd/>
            <a:tailEnd type="triangle" w="med" len="med"/>
          </a:ln>
        </p:spPr>
      </p:cxnSp>
      <p:sp>
        <p:nvSpPr>
          <p:cNvPr id="54" name="Text Box 21">
            <a:extLst>
              <a:ext uri="{FF2B5EF4-FFF2-40B4-BE49-F238E27FC236}">
                <a16:creationId xmlns:a16="http://schemas.microsoft.com/office/drawing/2014/main" id="{E5F1ED7C-26EA-418B-956A-C5CE4F1BA629}"/>
              </a:ext>
            </a:extLst>
          </p:cNvPr>
          <p:cNvSpPr txBox="1">
            <a:spLocks noChangeArrowheads="1"/>
          </p:cNvSpPr>
          <p:nvPr/>
        </p:nvSpPr>
        <p:spPr bwMode="auto">
          <a:xfrm>
            <a:off x="3747655" y="4060681"/>
            <a:ext cx="1193800" cy="823912"/>
          </a:xfrm>
          <a:prstGeom prst="rect">
            <a:avLst/>
          </a:prstGeom>
          <a:solidFill>
            <a:srgbClr val="C6D9F1"/>
          </a:solidFill>
          <a:ln w="38100">
            <a:solidFill>
              <a:srgbClr val="F2F2F2"/>
            </a:solidFill>
            <a:miter lim="800000"/>
            <a:headEnd/>
            <a:tailEnd/>
          </a:ln>
          <a:effectLst>
            <a:outerShdw dist="28398" dir="3806097" algn="ctr" rotWithShape="0">
              <a:srgbClr val="205867">
                <a:alpha val="50000"/>
              </a:srgbClr>
            </a:outerShdw>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lgn="ctr">
              <a:defRPr/>
            </a:pPr>
            <a:endParaRPr lang="en-US" sz="900" dirty="0">
              <a:solidFill>
                <a:srgbClr val="FF0000"/>
              </a:solidFill>
              <a:latin typeface="Arial" pitchFamily="34" charset="0"/>
              <a:ea typeface="Calibri" pitchFamily="34" charset="0"/>
              <a:cs typeface="Times New Roman" pitchFamily="18" charset="0"/>
            </a:endParaRPr>
          </a:p>
          <a:p>
            <a:pPr algn="ctr">
              <a:defRPr/>
            </a:pPr>
            <a:r>
              <a:rPr lang="en-US" sz="900" dirty="0">
                <a:solidFill>
                  <a:srgbClr val="FF0000"/>
                </a:solidFill>
                <a:latin typeface="Arial" pitchFamily="34" charset="0"/>
                <a:ea typeface="Calibri" pitchFamily="34" charset="0"/>
                <a:cs typeface="Times New Roman" pitchFamily="18" charset="0"/>
              </a:rPr>
              <a:t>Provisional Authorisation of the Forms by the branch officials </a:t>
            </a:r>
            <a:endParaRPr lang="en-US" dirty="0">
              <a:solidFill>
                <a:srgbClr val="FF0000"/>
              </a:solidFill>
              <a:latin typeface="Arial" pitchFamily="34" charset="0"/>
              <a:cs typeface="Arial" pitchFamily="34" charset="0"/>
            </a:endParaRPr>
          </a:p>
        </p:txBody>
      </p:sp>
      <p:sp>
        <p:nvSpPr>
          <p:cNvPr id="55" name="AutoShape 34">
            <a:extLst>
              <a:ext uri="{FF2B5EF4-FFF2-40B4-BE49-F238E27FC236}">
                <a16:creationId xmlns:a16="http://schemas.microsoft.com/office/drawing/2014/main" id="{A679BB17-3117-48DF-9EED-6726FCCD4C0B}"/>
              </a:ext>
            </a:extLst>
          </p:cNvPr>
          <p:cNvSpPr>
            <a:spLocks noChangeArrowheads="1"/>
          </p:cNvSpPr>
          <p:nvPr/>
        </p:nvSpPr>
        <p:spPr bwMode="auto">
          <a:xfrm>
            <a:off x="5219268" y="2547793"/>
            <a:ext cx="1208087" cy="779463"/>
          </a:xfrm>
          <a:prstGeom prst="flowChartAlternateProcess">
            <a:avLst/>
          </a:prstGeom>
          <a:solidFill>
            <a:srgbClr val="FFFFCC"/>
          </a:solidFill>
          <a:ln w="38100">
            <a:solidFill>
              <a:srgbClr val="F2F2F2"/>
            </a:solidFill>
            <a:miter lim="800000"/>
            <a:headEnd/>
            <a:tailEnd/>
          </a:ln>
          <a:effectLst>
            <a:outerShdw dist="28398" dir="3806097" algn="ctr" rotWithShape="0">
              <a:srgbClr val="205867">
                <a:alpha val="50000"/>
              </a:srgbClr>
            </a:outerShdw>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lgn="ctr">
              <a:defRPr/>
            </a:pPr>
            <a:r>
              <a:rPr lang="en-US" sz="900" dirty="0">
                <a:solidFill>
                  <a:srgbClr val="FF0000"/>
                </a:solidFill>
                <a:latin typeface="Arial" pitchFamily="34" charset="0"/>
                <a:ea typeface="Calibri" pitchFamily="34" charset="0"/>
                <a:cs typeface="Times New Roman" pitchFamily="18" charset="0"/>
              </a:rPr>
              <a:t>Crediting Cash/Cheque for initial deposit in the account </a:t>
            </a:r>
            <a:endParaRPr lang="en-US" dirty="0">
              <a:solidFill>
                <a:srgbClr val="FF0000"/>
              </a:solidFill>
              <a:latin typeface="Arial" pitchFamily="34" charset="0"/>
              <a:cs typeface="Arial" pitchFamily="34" charset="0"/>
            </a:endParaRPr>
          </a:p>
        </p:txBody>
      </p:sp>
      <p:sp>
        <p:nvSpPr>
          <p:cNvPr id="56" name="AutoShape 33">
            <a:extLst>
              <a:ext uri="{FF2B5EF4-FFF2-40B4-BE49-F238E27FC236}">
                <a16:creationId xmlns:a16="http://schemas.microsoft.com/office/drawing/2014/main" id="{90C1A302-6B8B-46D6-8A3D-EEE53BD6581F}"/>
              </a:ext>
            </a:extLst>
          </p:cNvPr>
          <p:cNvSpPr>
            <a:spLocks noChangeArrowheads="1"/>
          </p:cNvSpPr>
          <p:nvPr/>
        </p:nvSpPr>
        <p:spPr bwMode="auto">
          <a:xfrm>
            <a:off x="6725804" y="2547793"/>
            <a:ext cx="1179513" cy="779463"/>
          </a:xfrm>
          <a:prstGeom prst="flowChartAlternateProcess">
            <a:avLst/>
          </a:prstGeom>
          <a:solidFill>
            <a:srgbClr val="FFFFCC"/>
          </a:solidFill>
          <a:ln w="38100">
            <a:solidFill>
              <a:srgbClr val="F2F2F2"/>
            </a:solidFill>
            <a:miter lim="800000"/>
            <a:headEnd/>
            <a:tailEnd/>
          </a:ln>
          <a:effectLst>
            <a:outerShdw dist="28398" dir="3806097" algn="ctr" rotWithShape="0">
              <a:srgbClr val="205867">
                <a:alpha val="50000"/>
              </a:srgbClr>
            </a:outerShdw>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lgn="ctr">
              <a:defRPr/>
            </a:pPr>
            <a:r>
              <a:rPr lang="en-US" sz="900" dirty="0">
                <a:solidFill>
                  <a:srgbClr val="FF0000"/>
                </a:solidFill>
                <a:latin typeface="Arial" pitchFamily="34" charset="0"/>
                <a:ea typeface="Calibri" pitchFamily="34" charset="0"/>
                <a:cs typeface="Times New Roman" pitchFamily="18" charset="0"/>
              </a:rPr>
              <a:t>Indenting for Debit Card/Internet Banking etc., to CPU </a:t>
            </a:r>
            <a:endParaRPr lang="en-US" dirty="0">
              <a:solidFill>
                <a:srgbClr val="FF0000"/>
              </a:solidFill>
              <a:latin typeface="Arial" pitchFamily="34" charset="0"/>
              <a:cs typeface="Arial" pitchFamily="34" charset="0"/>
            </a:endParaRPr>
          </a:p>
        </p:txBody>
      </p:sp>
      <p:sp>
        <p:nvSpPr>
          <p:cNvPr id="57" name="AutoShape 32">
            <a:extLst>
              <a:ext uri="{FF2B5EF4-FFF2-40B4-BE49-F238E27FC236}">
                <a16:creationId xmlns:a16="http://schemas.microsoft.com/office/drawing/2014/main" id="{FB6CD1A7-919B-4AED-BC6F-6BF25BF32038}"/>
              </a:ext>
            </a:extLst>
          </p:cNvPr>
          <p:cNvSpPr>
            <a:spLocks noChangeArrowheads="1"/>
          </p:cNvSpPr>
          <p:nvPr/>
        </p:nvSpPr>
        <p:spPr bwMode="auto">
          <a:xfrm>
            <a:off x="8178368" y="2547793"/>
            <a:ext cx="1246187" cy="779463"/>
          </a:xfrm>
          <a:prstGeom prst="flowChartAlternateProcess">
            <a:avLst/>
          </a:prstGeom>
          <a:solidFill>
            <a:srgbClr val="FFFFCC"/>
          </a:solidFill>
          <a:ln w="38100">
            <a:solidFill>
              <a:srgbClr val="F2F2F2"/>
            </a:solidFill>
            <a:miter lim="800000"/>
            <a:headEnd/>
            <a:tailEnd/>
          </a:ln>
          <a:effectLst>
            <a:outerShdw dist="28398" dir="3806097" algn="ctr" rotWithShape="0">
              <a:srgbClr val="205867">
                <a:alpha val="50000"/>
              </a:srgbClr>
            </a:outerShdw>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lgn="ctr">
              <a:defRPr/>
            </a:pPr>
            <a:r>
              <a:rPr lang="en-US" sz="900" dirty="0">
                <a:solidFill>
                  <a:srgbClr val="FF0000"/>
                </a:solidFill>
                <a:latin typeface="Arial" pitchFamily="34" charset="0"/>
                <a:ea typeface="Calibri" pitchFamily="34" charset="0"/>
                <a:cs typeface="Times New Roman" pitchFamily="18" charset="0"/>
              </a:rPr>
              <a:t>Receipt of cheque book/card etc., by the customer from the branch</a:t>
            </a:r>
            <a:endParaRPr lang="en-US" dirty="0">
              <a:solidFill>
                <a:srgbClr val="FF0000"/>
              </a:solidFill>
              <a:latin typeface="Arial" pitchFamily="34" charset="0"/>
              <a:cs typeface="Arial" pitchFamily="34" charset="0"/>
            </a:endParaRPr>
          </a:p>
        </p:txBody>
      </p:sp>
      <p:sp>
        <p:nvSpPr>
          <p:cNvPr id="58" name="Text Box 20">
            <a:extLst>
              <a:ext uri="{FF2B5EF4-FFF2-40B4-BE49-F238E27FC236}">
                <a16:creationId xmlns:a16="http://schemas.microsoft.com/office/drawing/2014/main" id="{D7B66236-5A70-44DE-AC48-99C4C8BEFB54}"/>
              </a:ext>
            </a:extLst>
          </p:cNvPr>
          <p:cNvSpPr txBox="1">
            <a:spLocks noChangeArrowheads="1"/>
          </p:cNvSpPr>
          <p:nvPr/>
        </p:nvSpPr>
        <p:spPr bwMode="auto">
          <a:xfrm>
            <a:off x="8084705" y="5373543"/>
            <a:ext cx="1384300" cy="873125"/>
          </a:xfrm>
          <a:prstGeom prst="rect">
            <a:avLst/>
          </a:prstGeom>
          <a:solidFill>
            <a:srgbClr val="C6D9F1"/>
          </a:solidFill>
          <a:ln w="38100">
            <a:solidFill>
              <a:srgbClr val="F2F2F2"/>
            </a:solidFill>
            <a:miter lim="800000"/>
            <a:headEnd/>
            <a:tailEnd/>
          </a:ln>
          <a:effectLst>
            <a:outerShdw dist="28398" dir="3806097" algn="ctr" rotWithShape="0">
              <a:srgbClr val="3F3151">
                <a:alpha val="50000"/>
              </a:srgbClr>
            </a:outerShdw>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lgn="ctr">
              <a:defRPr/>
            </a:pPr>
            <a:endParaRPr lang="en-US" sz="900" dirty="0">
              <a:solidFill>
                <a:srgbClr val="FF0000"/>
              </a:solidFill>
              <a:latin typeface="Arial" pitchFamily="34" charset="0"/>
              <a:ea typeface="Calibri" pitchFamily="34" charset="0"/>
              <a:cs typeface="Times New Roman" pitchFamily="18" charset="0"/>
            </a:endParaRPr>
          </a:p>
          <a:p>
            <a:pPr algn="ctr">
              <a:defRPr/>
            </a:pPr>
            <a:r>
              <a:rPr lang="en-US" sz="900" dirty="0">
                <a:solidFill>
                  <a:srgbClr val="FF0000"/>
                </a:solidFill>
                <a:latin typeface="Arial" pitchFamily="34" charset="0"/>
                <a:ea typeface="Calibri" pitchFamily="34" charset="0"/>
                <a:cs typeface="Times New Roman" pitchFamily="18" charset="0"/>
              </a:rPr>
              <a:t>Verification of documents by DVU at CPU</a:t>
            </a:r>
            <a:endParaRPr lang="en-US" dirty="0">
              <a:solidFill>
                <a:srgbClr val="FF0000"/>
              </a:solidFill>
              <a:latin typeface="Arial" pitchFamily="34" charset="0"/>
              <a:cs typeface="Arial" pitchFamily="34" charset="0"/>
            </a:endParaRPr>
          </a:p>
        </p:txBody>
      </p:sp>
      <p:sp>
        <p:nvSpPr>
          <p:cNvPr id="59" name="Rectangle 58">
            <a:extLst>
              <a:ext uri="{FF2B5EF4-FFF2-40B4-BE49-F238E27FC236}">
                <a16:creationId xmlns:a16="http://schemas.microsoft.com/office/drawing/2014/main" id="{95C06421-8690-4E6A-A37D-FA49BB934309}"/>
              </a:ext>
            </a:extLst>
          </p:cNvPr>
          <p:cNvSpPr>
            <a:spLocks noChangeArrowheads="1"/>
          </p:cNvSpPr>
          <p:nvPr/>
        </p:nvSpPr>
        <p:spPr bwMode="auto">
          <a:xfrm>
            <a:off x="2612448" y="871393"/>
            <a:ext cx="863600" cy="1035050"/>
          </a:xfrm>
          <a:prstGeom prst="rect">
            <a:avLst/>
          </a:prstGeom>
          <a:solidFill>
            <a:srgbClr val="FFFFFF"/>
          </a:solidFill>
          <a:ln w="19050">
            <a:solidFill>
              <a:srgbClr val="000000"/>
            </a:solidFill>
            <a:miter lim="800000"/>
            <a:headEnd/>
            <a:tailEnd/>
          </a:ln>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lgn="ctr"/>
            <a:endParaRPr lang="en-US" sz="900" b="1" dirty="0">
              <a:solidFill>
                <a:srgbClr val="FF0000"/>
              </a:solidFill>
              <a:ea typeface="Calibri" pitchFamily="34" charset="0"/>
              <a:cs typeface="Times New Roman" pitchFamily="18" charset="0"/>
            </a:endParaRPr>
          </a:p>
          <a:p>
            <a:pPr algn="ctr"/>
            <a:r>
              <a:rPr lang="en-US" sz="900" b="1" dirty="0">
                <a:solidFill>
                  <a:srgbClr val="FF0000"/>
                </a:solidFill>
                <a:ea typeface="Calibri" pitchFamily="34" charset="0"/>
                <a:cs typeface="Times New Roman" pitchFamily="18" charset="0"/>
              </a:rPr>
              <a:t>Acquisition of the customer by sales/front office staff</a:t>
            </a:r>
            <a:endParaRPr lang="en-US" b="1" dirty="0">
              <a:solidFill>
                <a:srgbClr val="FF0000"/>
              </a:solidFill>
              <a:ea typeface="Calibri" pitchFamily="34" charset="0"/>
              <a:cs typeface="Times New Roman" pitchFamily="18" charset="0"/>
            </a:endParaRPr>
          </a:p>
        </p:txBody>
      </p:sp>
      <p:sp>
        <p:nvSpPr>
          <p:cNvPr id="60" name="Rectangle 59">
            <a:extLst>
              <a:ext uri="{FF2B5EF4-FFF2-40B4-BE49-F238E27FC236}">
                <a16:creationId xmlns:a16="http://schemas.microsoft.com/office/drawing/2014/main" id="{57D8BE1E-D63C-4811-B43A-D779864894E7}"/>
              </a:ext>
            </a:extLst>
          </p:cNvPr>
          <p:cNvSpPr>
            <a:spLocks noChangeArrowheads="1"/>
          </p:cNvSpPr>
          <p:nvPr/>
        </p:nvSpPr>
        <p:spPr bwMode="auto">
          <a:xfrm>
            <a:off x="2557030" y="4060681"/>
            <a:ext cx="874713" cy="2271712"/>
          </a:xfrm>
          <a:prstGeom prst="rect">
            <a:avLst/>
          </a:prstGeom>
          <a:solidFill>
            <a:srgbClr val="FFFFFF"/>
          </a:solidFill>
          <a:ln w="19050">
            <a:solidFill>
              <a:srgbClr val="000000"/>
            </a:solidFill>
            <a:miter lim="800000"/>
            <a:headEnd/>
            <a:tailEnd/>
          </a:ln>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lgn="ctr"/>
            <a:endParaRPr lang="en-US" sz="900" b="1" dirty="0">
              <a:solidFill>
                <a:srgbClr val="FF0000"/>
              </a:solidFill>
              <a:ea typeface="Calibri" pitchFamily="34" charset="0"/>
              <a:cs typeface="Times New Roman" pitchFamily="18" charset="0"/>
            </a:endParaRPr>
          </a:p>
          <a:p>
            <a:pPr algn="ctr"/>
            <a:endParaRPr lang="en-US" sz="900" b="1" dirty="0">
              <a:solidFill>
                <a:srgbClr val="FF0000"/>
              </a:solidFill>
              <a:ea typeface="Calibri" pitchFamily="34" charset="0"/>
              <a:cs typeface="Times New Roman" pitchFamily="18" charset="0"/>
            </a:endParaRPr>
          </a:p>
          <a:p>
            <a:pPr algn="ctr"/>
            <a:endParaRPr lang="en-US" sz="900" b="1" dirty="0">
              <a:solidFill>
                <a:srgbClr val="FF0000"/>
              </a:solidFill>
              <a:ea typeface="Calibri" pitchFamily="34" charset="0"/>
              <a:cs typeface="Times New Roman" pitchFamily="18" charset="0"/>
            </a:endParaRPr>
          </a:p>
          <a:p>
            <a:pPr algn="ctr"/>
            <a:r>
              <a:rPr lang="en-US" sz="900" b="1" dirty="0">
                <a:solidFill>
                  <a:srgbClr val="FF0000"/>
                </a:solidFill>
                <a:ea typeface="Calibri" pitchFamily="34" charset="0"/>
                <a:cs typeface="Times New Roman" pitchFamily="18" charset="0"/>
              </a:rPr>
              <a:t>Processing at branches not permitted to Authorize opening of the Account</a:t>
            </a:r>
            <a:endParaRPr lang="en-US" dirty="0">
              <a:solidFill>
                <a:srgbClr val="FF0000"/>
              </a:solidFill>
              <a:ea typeface="Calibri" pitchFamily="34" charset="0"/>
              <a:cs typeface="Times New Roman" pitchFamily="18" charset="0"/>
            </a:endParaRPr>
          </a:p>
        </p:txBody>
      </p:sp>
      <p:sp>
        <p:nvSpPr>
          <p:cNvPr id="61" name="Rectangle 60">
            <a:extLst>
              <a:ext uri="{FF2B5EF4-FFF2-40B4-BE49-F238E27FC236}">
                <a16:creationId xmlns:a16="http://schemas.microsoft.com/office/drawing/2014/main" id="{2C8BFA5C-C049-4220-9447-AA7A910F207A}"/>
              </a:ext>
            </a:extLst>
          </p:cNvPr>
          <p:cNvSpPr>
            <a:spLocks noChangeArrowheads="1"/>
          </p:cNvSpPr>
          <p:nvPr/>
        </p:nvSpPr>
        <p:spPr bwMode="auto">
          <a:xfrm>
            <a:off x="2557030" y="2189018"/>
            <a:ext cx="874713" cy="1366838"/>
          </a:xfrm>
          <a:prstGeom prst="rect">
            <a:avLst/>
          </a:prstGeom>
          <a:solidFill>
            <a:srgbClr val="FFFFFF"/>
          </a:solidFill>
          <a:ln w="19050">
            <a:solidFill>
              <a:srgbClr val="000000"/>
            </a:solidFill>
            <a:miter lim="800000"/>
            <a:headEnd/>
            <a:tailEnd/>
          </a:ln>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lgn="ctr"/>
            <a:endParaRPr lang="en-US" sz="900" b="1" dirty="0">
              <a:solidFill>
                <a:srgbClr val="FF0000"/>
              </a:solidFill>
              <a:ea typeface="Calibri" pitchFamily="34" charset="0"/>
              <a:cs typeface="Times New Roman" pitchFamily="18" charset="0"/>
            </a:endParaRPr>
          </a:p>
          <a:p>
            <a:pPr algn="ctr"/>
            <a:r>
              <a:rPr lang="en-US" sz="900" b="1" dirty="0">
                <a:solidFill>
                  <a:srgbClr val="FF0000"/>
                </a:solidFill>
                <a:ea typeface="Calibri" pitchFamily="34" charset="0"/>
                <a:cs typeface="Times New Roman" pitchFamily="18" charset="0"/>
              </a:rPr>
              <a:t>Processing at branches permitted to Authorize opening of the Account</a:t>
            </a:r>
            <a:endParaRPr lang="en-US" dirty="0">
              <a:solidFill>
                <a:srgbClr val="FF0000"/>
              </a:solidFill>
              <a:ea typeface="Calibri" pitchFamily="34" charset="0"/>
              <a:cs typeface="Times New Roman" pitchFamily="18" charset="0"/>
            </a:endParaRPr>
          </a:p>
        </p:txBody>
      </p:sp>
      <p:cxnSp>
        <p:nvCxnSpPr>
          <p:cNvPr id="62" name="AutoShape 37">
            <a:extLst>
              <a:ext uri="{FF2B5EF4-FFF2-40B4-BE49-F238E27FC236}">
                <a16:creationId xmlns:a16="http://schemas.microsoft.com/office/drawing/2014/main" id="{C1BFEEB3-D6B1-44C5-B9E5-8373747AF5A9}"/>
              </a:ext>
            </a:extLst>
          </p:cNvPr>
          <p:cNvCxnSpPr>
            <a:cxnSpLocks noChangeShapeType="1"/>
          </p:cNvCxnSpPr>
          <p:nvPr/>
        </p:nvCxnSpPr>
        <p:spPr bwMode="auto">
          <a:xfrm>
            <a:off x="2636405" y="1976293"/>
            <a:ext cx="6788150" cy="0"/>
          </a:xfrm>
          <a:prstGeom prst="straightConnector1">
            <a:avLst/>
          </a:prstGeom>
          <a:noFill/>
          <a:ln w="9525">
            <a:solidFill>
              <a:schemeClr val="tx1"/>
            </a:solidFill>
            <a:round/>
            <a:headEnd/>
            <a:tailEnd/>
          </a:ln>
        </p:spPr>
      </p:cxnSp>
      <p:cxnSp>
        <p:nvCxnSpPr>
          <p:cNvPr id="63" name="AutoShape 36">
            <a:extLst>
              <a:ext uri="{FF2B5EF4-FFF2-40B4-BE49-F238E27FC236}">
                <a16:creationId xmlns:a16="http://schemas.microsoft.com/office/drawing/2014/main" id="{E350EF48-0869-4242-A0B8-6C90A4613165}"/>
              </a:ext>
            </a:extLst>
          </p:cNvPr>
          <p:cNvCxnSpPr>
            <a:cxnSpLocks noChangeShapeType="1"/>
          </p:cNvCxnSpPr>
          <p:nvPr/>
        </p:nvCxnSpPr>
        <p:spPr bwMode="auto">
          <a:xfrm>
            <a:off x="2636405" y="3771756"/>
            <a:ext cx="6788150" cy="0"/>
          </a:xfrm>
          <a:prstGeom prst="straightConnector1">
            <a:avLst/>
          </a:prstGeom>
          <a:noFill/>
          <a:ln w="9525">
            <a:solidFill>
              <a:schemeClr val="tx1"/>
            </a:solidFill>
            <a:round/>
            <a:headEnd/>
            <a:tailEnd/>
          </a:ln>
        </p:spPr>
      </p:cxnSp>
      <p:cxnSp>
        <p:nvCxnSpPr>
          <p:cNvPr id="64" name="AutoShape 18">
            <a:extLst>
              <a:ext uri="{FF2B5EF4-FFF2-40B4-BE49-F238E27FC236}">
                <a16:creationId xmlns:a16="http://schemas.microsoft.com/office/drawing/2014/main" id="{910F3B01-7F2E-44C9-8E99-E612181AE4A3}"/>
              </a:ext>
            </a:extLst>
          </p:cNvPr>
          <p:cNvCxnSpPr>
            <a:cxnSpLocks noChangeShapeType="1"/>
          </p:cNvCxnSpPr>
          <p:nvPr/>
        </p:nvCxnSpPr>
        <p:spPr bwMode="auto">
          <a:xfrm>
            <a:off x="4987493" y="4487718"/>
            <a:ext cx="231775" cy="0"/>
          </a:xfrm>
          <a:prstGeom prst="straightConnector1">
            <a:avLst/>
          </a:prstGeom>
          <a:noFill/>
          <a:ln w="9525">
            <a:solidFill>
              <a:schemeClr val="tx1"/>
            </a:solidFill>
            <a:round/>
            <a:headEnd/>
            <a:tailEnd type="triangle" w="med" len="med"/>
          </a:ln>
        </p:spPr>
      </p:cxnSp>
      <p:cxnSp>
        <p:nvCxnSpPr>
          <p:cNvPr id="65" name="AutoShape 5">
            <a:extLst>
              <a:ext uri="{FF2B5EF4-FFF2-40B4-BE49-F238E27FC236}">
                <a16:creationId xmlns:a16="http://schemas.microsoft.com/office/drawing/2014/main" id="{FC039CE7-1D55-4F45-A709-3B690AD8EB6E}"/>
              </a:ext>
            </a:extLst>
          </p:cNvPr>
          <p:cNvCxnSpPr>
            <a:cxnSpLocks noChangeShapeType="1"/>
          </p:cNvCxnSpPr>
          <p:nvPr/>
        </p:nvCxnSpPr>
        <p:spPr bwMode="auto">
          <a:xfrm>
            <a:off x="8002011" y="1403061"/>
            <a:ext cx="231775" cy="0"/>
          </a:xfrm>
          <a:prstGeom prst="straightConnector1">
            <a:avLst/>
          </a:prstGeom>
          <a:noFill/>
          <a:ln w="9525">
            <a:solidFill>
              <a:schemeClr val="tx1"/>
            </a:solidFill>
            <a:round/>
            <a:headEnd/>
            <a:tailEnd type="triangle" w="med" len="med"/>
          </a:ln>
        </p:spPr>
      </p:cxnSp>
      <p:cxnSp>
        <p:nvCxnSpPr>
          <p:cNvPr id="66" name="AutoShape 4">
            <a:extLst>
              <a:ext uri="{FF2B5EF4-FFF2-40B4-BE49-F238E27FC236}">
                <a16:creationId xmlns:a16="http://schemas.microsoft.com/office/drawing/2014/main" id="{36ED2E56-CC03-4CB8-B789-74C1FB24FE45}"/>
              </a:ext>
            </a:extLst>
          </p:cNvPr>
          <p:cNvCxnSpPr>
            <a:cxnSpLocks noChangeShapeType="1"/>
          </p:cNvCxnSpPr>
          <p:nvPr/>
        </p:nvCxnSpPr>
        <p:spPr bwMode="auto">
          <a:xfrm>
            <a:off x="6487536" y="1412586"/>
            <a:ext cx="231775" cy="0"/>
          </a:xfrm>
          <a:prstGeom prst="straightConnector1">
            <a:avLst/>
          </a:prstGeom>
          <a:noFill/>
          <a:ln w="9525">
            <a:solidFill>
              <a:schemeClr val="tx1"/>
            </a:solidFill>
            <a:round/>
            <a:headEnd/>
            <a:tailEnd type="triangle" w="med" len="med"/>
          </a:ln>
        </p:spPr>
      </p:cxnSp>
      <p:cxnSp>
        <p:nvCxnSpPr>
          <p:cNvPr id="67" name="AutoShape 3">
            <a:extLst>
              <a:ext uri="{FF2B5EF4-FFF2-40B4-BE49-F238E27FC236}">
                <a16:creationId xmlns:a16="http://schemas.microsoft.com/office/drawing/2014/main" id="{9ED0A283-B9BA-41FA-A176-AE1FD876816A}"/>
              </a:ext>
            </a:extLst>
          </p:cNvPr>
          <p:cNvCxnSpPr>
            <a:cxnSpLocks noChangeShapeType="1"/>
          </p:cNvCxnSpPr>
          <p:nvPr/>
        </p:nvCxnSpPr>
        <p:spPr bwMode="auto">
          <a:xfrm>
            <a:off x="4987347" y="1468149"/>
            <a:ext cx="227013" cy="0"/>
          </a:xfrm>
          <a:prstGeom prst="straightConnector1">
            <a:avLst/>
          </a:prstGeom>
          <a:noFill/>
          <a:ln w="9525">
            <a:solidFill>
              <a:schemeClr val="tx1"/>
            </a:solidFill>
            <a:round/>
            <a:headEnd/>
            <a:tailEnd type="triangle" w="med" len="med"/>
          </a:ln>
        </p:spPr>
      </p:cxnSp>
      <p:cxnSp>
        <p:nvCxnSpPr>
          <p:cNvPr id="68" name="AutoShape 17">
            <a:extLst>
              <a:ext uri="{FF2B5EF4-FFF2-40B4-BE49-F238E27FC236}">
                <a16:creationId xmlns:a16="http://schemas.microsoft.com/office/drawing/2014/main" id="{DD2341EB-60C6-4D68-9CE9-1B789CAB8ABF}"/>
              </a:ext>
            </a:extLst>
          </p:cNvPr>
          <p:cNvCxnSpPr>
            <a:cxnSpLocks noChangeShapeType="1"/>
          </p:cNvCxnSpPr>
          <p:nvPr/>
        </p:nvCxnSpPr>
        <p:spPr bwMode="auto">
          <a:xfrm>
            <a:off x="7994218" y="4486131"/>
            <a:ext cx="231775" cy="0"/>
          </a:xfrm>
          <a:prstGeom prst="straightConnector1">
            <a:avLst/>
          </a:prstGeom>
          <a:noFill/>
          <a:ln w="9525">
            <a:solidFill>
              <a:schemeClr val="tx1"/>
            </a:solidFill>
            <a:round/>
            <a:headEnd/>
            <a:tailEnd type="triangle" w="med" len="med"/>
          </a:ln>
        </p:spPr>
      </p:cxnSp>
      <p:cxnSp>
        <p:nvCxnSpPr>
          <p:cNvPr id="69" name="AutoShape 16">
            <a:extLst>
              <a:ext uri="{FF2B5EF4-FFF2-40B4-BE49-F238E27FC236}">
                <a16:creationId xmlns:a16="http://schemas.microsoft.com/office/drawing/2014/main" id="{75ED9585-4A79-4E19-AFD6-AAC8C9294B24}"/>
              </a:ext>
            </a:extLst>
          </p:cNvPr>
          <p:cNvCxnSpPr>
            <a:cxnSpLocks noChangeShapeType="1"/>
          </p:cNvCxnSpPr>
          <p:nvPr/>
        </p:nvCxnSpPr>
        <p:spPr bwMode="auto">
          <a:xfrm>
            <a:off x="6444818" y="4544868"/>
            <a:ext cx="231775" cy="0"/>
          </a:xfrm>
          <a:prstGeom prst="straightConnector1">
            <a:avLst/>
          </a:prstGeom>
          <a:noFill/>
          <a:ln w="9525">
            <a:solidFill>
              <a:schemeClr val="tx1"/>
            </a:solidFill>
            <a:round/>
            <a:headEnd/>
            <a:tailEnd type="triangle" w="med" len="med"/>
          </a:ln>
        </p:spPr>
      </p:cxnSp>
      <p:cxnSp>
        <p:nvCxnSpPr>
          <p:cNvPr id="70" name="AutoShape 2">
            <a:extLst>
              <a:ext uri="{FF2B5EF4-FFF2-40B4-BE49-F238E27FC236}">
                <a16:creationId xmlns:a16="http://schemas.microsoft.com/office/drawing/2014/main" id="{A9743BD9-F2C1-439E-A6D8-377B195984FD}"/>
              </a:ext>
            </a:extLst>
          </p:cNvPr>
          <p:cNvCxnSpPr>
            <a:cxnSpLocks noChangeShapeType="1"/>
          </p:cNvCxnSpPr>
          <p:nvPr/>
        </p:nvCxnSpPr>
        <p:spPr bwMode="auto">
          <a:xfrm>
            <a:off x="3517757" y="1463675"/>
            <a:ext cx="231775" cy="0"/>
          </a:xfrm>
          <a:prstGeom prst="straightConnector1">
            <a:avLst/>
          </a:prstGeom>
          <a:noFill/>
          <a:ln w="9525">
            <a:solidFill>
              <a:schemeClr val="tx1"/>
            </a:solidFill>
            <a:round/>
            <a:headEnd/>
            <a:tailEnd type="triangle" w="med" len="med"/>
          </a:ln>
        </p:spPr>
      </p:cxnSp>
      <p:cxnSp>
        <p:nvCxnSpPr>
          <p:cNvPr id="71" name="AutoShape 31">
            <a:extLst>
              <a:ext uri="{FF2B5EF4-FFF2-40B4-BE49-F238E27FC236}">
                <a16:creationId xmlns:a16="http://schemas.microsoft.com/office/drawing/2014/main" id="{F37E95DB-2BAF-4CEE-80A1-DED92EAF1FEA}"/>
              </a:ext>
            </a:extLst>
          </p:cNvPr>
          <p:cNvCxnSpPr>
            <a:cxnSpLocks noChangeShapeType="1"/>
          </p:cNvCxnSpPr>
          <p:nvPr/>
        </p:nvCxnSpPr>
        <p:spPr bwMode="auto">
          <a:xfrm>
            <a:off x="4987493" y="2920856"/>
            <a:ext cx="231775" cy="0"/>
          </a:xfrm>
          <a:prstGeom prst="straightConnector1">
            <a:avLst/>
          </a:prstGeom>
          <a:noFill/>
          <a:ln w="9525">
            <a:solidFill>
              <a:schemeClr val="tx1"/>
            </a:solidFill>
            <a:round/>
            <a:headEnd/>
            <a:tailEnd type="triangle" w="med" len="med"/>
          </a:ln>
        </p:spPr>
      </p:cxnSp>
      <p:cxnSp>
        <p:nvCxnSpPr>
          <p:cNvPr id="72" name="AutoShape 30">
            <a:extLst>
              <a:ext uri="{FF2B5EF4-FFF2-40B4-BE49-F238E27FC236}">
                <a16:creationId xmlns:a16="http://schemas.microsoft.com/office/drawing/2014/main" id="{136049E0-C5E0-4AF8-9B06-88F335AF5B8E}"/>
              </a:ext>
            </a:extLst>
          </p:cNvPr>
          <p:cNvCxnSpPr>
            <a:cxnSpLocks noChangeShapeType="1"/>
          </p:cNvCxnSpPr>
          <p:nvPr/>
        </p:nvCxnSpPr>
        <p:spPr bwMode="auto">
          <a:xfrm>
            <a:off x="6459104" y="2920856"/>
            <a:ext cx="231775" cy="0"/>
          </a:xfrm>
          <a:prstGeom prst="straightConnector1">
            <a:avLst/>
          </a:prstGeom>
          <a:noFill/>
          <a:ln w="9525">
            <a:solidFill>
              <a:schemeClr val="tx1"/>
            </a:solidFill>
            <a:round/>
            <a:headEnd/>
            <a:tailEnd type="triangle" w="med" len="med"/>
          </a:ln>
        </p:spPr>
      </p:cxnSp>
      <p:cxnSp>
        <p:nvCxnSpPr>
          <p:cNvPr id="73" name="AutoShape 29">
            <a:extLst>
              <a:ext uri="{FF2B5EF4-FFF2-40B4-BE49-F238E27FC236}">
                <a16:creationId xmlns:a16="http://schemas.microsoft.com/office/drawing/2014/main" id="{9711E4BA-42C2-406B-BA5B-E5E78D30B981}"/>
              </a:ext>
            </a:extLst>
          </p:cNvPr>
          <p:cNvCxnSpPr>
            <a:cxnSpLocks noChangeShapeType="1"/>
          </p:cNvCxnSpPr>
          <p:nvPr/>
        </p:nvCxnSpPr>
        <p:spPr bwMode="auto">
          <a:xfrm>
            <a:off x="7946593" y="2919268"/>
            <a:ext cx="231775" cy="0"/>
          </a:xfrm>
          <a:prstGeom prst="straightConnector1">
            <a:avLst/>
          </a:prstGeom>
          <a:noFill/>
          <a:ln w="9525">
            <a:solidFill>
              <a:schemeClr val="tx1"/>
            </a:solidFill>
            <a:round/>
            <a:headEnd/>
            <a:tailEnd type="triangle" w="med" len="med"/>
          </a:ln>
        </p:spPr>
      </p:cxnSp>
      <p:cxnSp>
        <p:nvCxnSpPr>
          <p:cNvPr id="74" name="AutoShape 11">
            <a:extLst>
              <a:ext uri="{FF2B5EF4-FFF2-40B4-BE49-F238E27FC236}">
                <a16:creationId xmlns:a16="http://schemas.microsoft.com/office/drawing/2014/main" id="{328917CF-C01A-44F1-84A2-90795505D739}"/>
              </a:ext>
            </a:extLst>
          </p:cNvPr>
          <p:cNvCxnSpPr>
            <a:cxnSpLocks noChangeShapeType="1"/>
          </p:cNvCxnSpPr>
          <p:nvPr/>
        </p:nvCxnSpPr>
        <p:spPr bwMode="auto">
          <a:xfrm>
            <a:off x="3457143" y="2900218"/>
            <a:ext cx="231775" cy="0"/>
          </a:xfrm>
          <a:prstGeom prst="straightConnector1">
            <a:avLst/>
          </a:prstGeom>
          <a:noFill/>
          <a:ln w="9525">
            <a:solidFill>
              <a:schemeClr val="tx1"/>
            </a:solidFill>
            <a:round/>
            <a:headEnd/>
            <a:tailEnd type="triangle" w="med" len="med"/>
          </a:ln>
        </p:spPr>
      </p:cxnSp>
      <p:cxnSp>
        <p:nvCxnSpPr>
          <p:cNvPr id="75" name="AutoShape 15">
            <a:extLst>
              <a:ext uri="{FF2B5EF4-FFF2-40B4-BE49-F238E27FC236}">
                <a16:creationId xmlns:a16="http://schemas.microsoft.com/office/drawing/2014/main" id="{846821B0-5A35-4138-A97F-4CDB75E82293}"/>
              </a:ext>
            </a:extLst>
          </p:cNvPr>
          <p:cNvCxnSpPr>
            <a:cxnSpLocks noChangeShapeType="1"/>
          </p:cNvCxnSpPr>
          <p:nvPr/>
        </p:nvCxnSpPr>
        <p:spPr bwMode="auto">
          <a:xfrm>
            <a:off x="3431743" y="4489306"/>
            <a:ext cx="257175" cy="0"/>
          </a:xfrm>
          <a:prstGeom prst="straightConnector1">
            <a:avLst/>
          </a:prstGeom>
          <a:noFill/>
          <a:ln w="9525">
            <a:solidFill>
              <a:schemeClr val="tx1"/>
            </a:solidFill>
            <a:round/>
            <a:headEnd/>
            <a:tailEnd type="triangle" w="med" len="med"/>
          </a:ln>
        </p:spPr>
      </p:cxnSp>
      <p:cxnSp>
        <p:nvCxnSpPr>
          <p:cNvPr id="76" name="AutoShape 14">
            <a:extLst>
              <a:ext uri="{FF2B5EF4-FFF2-40B4-BE49-F238E27FC236}">
                <a16:creationId xmlns:a16="http://schemas.microsoft.com/office/drawing/2014/main" id="{9F6D5219-167F-448A-B125-2CCE21980CC0}"/>
              </a:ext>
            </a:extLst>
          </p:cNvPr>
          <p:cNvCxnSpPr>
            <a:cxnSpLocks noChangeShapeType="1"/>
          </p:cNvCxnSpPr>
          <p:nvPr/>
        </p:nvCxnSpPr>
        <p:spPr bwMode="auto">
          <a:xfrm flipH="1">
            <a:off x="6171768" y="5794231"/>
            <a:ext cx="254000" cy="0"/>
          </a:xfrm>
          <a:prstGeom prst="straightConnector1">
            <a:avLst/>
          </a:prstGeom>
          <a:noFill/>
          <a:ln w="9525">
            <a:solidFill>
              <a:schemeClr val="tx1"/>
            </a:solidFill>
            <a:round/>
            <a:headEnd/>
            <a:tailEnd type="triangle" w="med" len="med"/>
          </a:ln>
        </p:spPr>
      </p:cxnSp>
      <p:sp>
        <p:nvSpPr>
          <p:cNvPr id="77" name="AutoShape 13">
            <a:extLst>
              <a:ext uri="{FF2B5EF4-FFF2-40B4-BE49-F238E27FC236}">
                <a16:creationId xmlns:a16="http://schemas.microsoft.com/office/drawing/2014/main" id="{BBE1AF79-18C3-419F-8E6E-5BCC002F569C}"/>
              </a:ext>
            </a:extLst>
          </p:cNvPr>
          <p:cNvSpPr>
            <a:spLocks noChangeArrowheads="1"/>
          </p:cNvSpPr>
          <p:nvPr/>
        </p:nvSpPr>
        <p:spPr bwMode="auto">
          <a:xfrm>
            <a:off x="3866718" y="5564043"/>
            <a:ext cx="469900" cy="477838"/>
          </a:xfrm>
          <a:prstGeom prst="smileyFace">
            <a:avLst>
              <a:gd name="adj" fmla="val 4653"/>
            </a:avLst>
          </a:prstGeom>
          <a:solidFill>
            <a:srgbClr val="FFFFFF"/>
          </a:solidFill>
          <a:ln w="9525">
            <a:solidFill>
              <a:srgbClr val="000000"/>
            </a:solidFill>
            <a:round/>
            <a:headEnd/>
            <a:tailEnd/>
          </a:ln>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IN" dirty="0">
              <a:solidFill>
                <a:srgbClr val="FF0000"/>
              </a:solidFill>
            </a:endParaRPr>
          </a:p>
        </p:txBody>
      </p:sp>
    </p:spTree>
    <p:extLst>
      <p:ext uri="{BB962C8B-B14F-4D97-AF65-F5344CB8AC3E}">
        <p14:creationId xmlns:p14="http://schemas.microsoft.com/office/powerpoint/2010/main" val="364618660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0" y="6607175"/>
            <a:ext cx="498475" cy="211138"/>
          </a:xfrm>
        </p:spPr>
        <p:txBody>
          <a:bodyPr/>
          <a:lstStyle/>
          <a:p>
            <a:fld id="{C7F1B9D8-1D95-44B3-9E1C-E404196FC055}" type="slidenum">
              <a:rPr lang="hi-IN" dirty="0" smtClean="0"/>
              <a:t>24</a:t>
            </a:fld>
            <a:endParaRPr lang="hi-IN" dirty="0"/>
          </a:p>
        </p:txBody>
      </p:sp>
    </p:spTree>
    <p:extLst>
      <p:ext uri="{BB962C8B-B14F-4D97-AF65-F5344CB8AC3E}">
        <p14:creationId xmlns:p14="http://schemas.microsoft.com/office/powerpoint/2010/main" val="29748349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A026BAA-8421-4209-ABC2-8A5B6445A1C2}"/>
              </a:ext>
            </a:extLst>
          </p:cNvPr>
          <p:cNvSpPr>
            <a:spLocks noGrp="1"/>
          </p:cNvSpPr>
          <p:nvPr>
            <p:ph type="title"/>
          </p:nvPr>
        </p:nvSpPr>
        <p:spPr/>
        <p:txBody>
          <a:bodyPr/>
          <a:lstStyle/>
          <a:p>
            <a:r>
              <a:rPr lang="en-IN" dirty="0" smtClean="0"/>
              <a:t>Customer Information File (CIF)</a:t>
            </a:r>
            <a:endParaRPr lang="en-US" dirty="0">
              <a:latin typeface="Arial"/>
              <a:cs typeface="Calibri"/>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3</a:t>
            </a:fld>
            <a:endParaRPr lang="hi-IN"/>
          </a:p>
        </p:txBody>
      </p:sp>
      <p:sp>
        <p:nvSpPr>
          <p:cNvPr id="5" name="TextBox 4">
            <a:extLst>
              <a:ext uri="{FF2B5EF4-FFF2-40B4-BE49-F238E27FC236}">
                <a16:creationId xmlns:a16="http://schemas.microsoft.com/office/drawing/2014/main" id="{3B9D733C-A824-42DA-9E01-5683130F6180}"/>
              </a:ext>
            </a:extLst>
          </p:cNvPr>
          <p:cNvSpPr txBox="1"/>
          <p:nvPr/>
        </p:nvSpPr>
        <p:spPr>
          <a:xfrm>
            <a:off x="684362" y="1029419"/>
            <a:ext cx="274320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2000" dirty="0">
              <a:solidFill>
                <a:schemeClr val="tx2"/>
              </a:solidFill>
              <a:ea typeface="+mn-lt"/>
              <a:cs typeface="+mn-lt"/>
            </a:endParaRPr>
          </a:p>
        </p:txBody>
      </p:sp>
      <p:pic>
        <p:nvPicPr>
          <p:cNvPr id="6" name="Picture 5"/>
          <p:cNvPicPr>
            <a:picLocks noChangeAspect="1"/>
          </p:cNvPicPr>
          <p:nvPr/>
        </p:nvPicPr>
        <p:blipFill>
          <a:blip r:embed="rId2"/>
          <a:stretch>
            <a:fillRect/>
          </a:stretch>
        </p:blipFill>
        <p:spPr>
          <a:xfrm>
            <a:off x="419100" y="1229474"/>
            <a:ext cx="10083799" cy="4962525"/>
          </a:xfrm>
          <a:prstGeom prst="rect">
            <a:avLst/>
          </a:prstGeom>
        </p:spPr>
      </p:pic>
    </p:spTree>
    <p:extLst>
      <p:ext uri="{BB962C8B-B14F-4D97-AF65-F5344CB8AC3E}">
        <p14:creationId xmlns:p14="http://schemas.microsoft.com/office/powerpoint/2010/main" val="23276859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2"/>
          <a:stretch>
            <a:fillRect/>
          </a:stretch>
        </p:blipFill>
        <p:spPr>
          <a:xfrm>
            <a:off x="533401" y="1311624"/>
            <a:ext cx="9448799" cy="4600575"/>
          </a:xfrm>
          <a:prstGeom prst="rect">
            <a:avLst/>
          </a:prstGeom>
        </p:spPr>
      </p:pic>
      <p:sp>
        <p:nvSpPr>
          <p:cNvPr id="3" name="Title 2">
            <a:extLst>
              <a:ext uri="{FF2B5EF4-FFF2-40B4-BE49-F238E27FC236}">
                <a16:creationId xmlns:a16="http://schemas.microsoft.com/office/drawing/2014/main" id="{3A026BAA-8421-4209-ABC2-8A5B6445A1C2}"/>
              </a:ext>
            </a:extLst>
          </p:cNvPr>
          <p:cNvSpPr>
            <a:spLocks noGrp="1"/>
          </p:cNvSpPr>
          <p:nvPr>
            <p:ph type="title"/>
          </p:nvPr>
        </p:nvSpPr>
        <p:spPr/>
        <p:txBody>
          <a:bodyPr/>
          <a:lstStyle/>
          <a:p>
            <a:r>
              <a:rPr lang="en-IN" dirty="0" smtClean="0"/>
              <a:t>Customer Information File (CIF)</a:t>
            </a:r>
            <a:endParaRPr lang="en-US" dirty="0">
              <a:latin typeface="Arial"/>
              <a:cs typeface="Calibri"/>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4</a:t>
            </a:fld>
            <a:endParaRPr lang="hi-IN"/>
          </a:p>
        </p:txBody>
      </p:sp>
      <p:sp>
        <p:nvSpPr>
          <p:cNvPr id="5" name="TextBox 4">
            <a:extLst>
              <a:ext uri="{FF2B5EF4-FFF2-40B4-BE49-F238E27FC236}">
                <a16:creationId xmlns:a16="http://schemas.microsoft.com/office/drawing/2014/main" id="{3B9D733C-A824-42DA-9E01-5683130F6180}"/>
              </a:ext>
            </a:extLst>
          </p:cNvPr>
          <p:cNvSpPr txBox="1"/>
          <p:nvPr/>
        </p:nvSpPr>
        <p:spPr>
          <a:xfrm>
            <a:off x="684362" y="1029419"/>
            <a:ext cx="274320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2000" dirty="0">
              <a:solidFill>
                <a:schemeClr val="tx2"/>
              </a:solidFill>
              <a:ea typeface="+mn-lt"/>
              <a:cs typeface="+mn-lt"/>
            </a:endParaRPr>
          </a:p>
        </p:txBody>
      </p:sp>
    </p:spTree>
    <p:extLst>
      <p:ext uri="{BB962C8B-B14F-4D97-AF65-F5344CB8AC3E}">
        <p14:creationId xmlns:p14="http://schemas.microsoft.com/office/powerpoint/2010/main" val="160533275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421255" y="1494947"/>
            <a:ext cx="10843027" cy="4689954"/>
          </a:xfrm>
        </p:spPr>
        <p:txBody>
          <a:bodyPr vert="horz" lIns="91440" tIns="45720" rIns="91440" bIns="45720" rtlCol="0" anchor="t">
            <a:noAutofit/>
          </a:bodyPr>
          <a:lstStyle/>
          <a:p>
            <a:pPr marL="0" indent="0">
              <a:lnSpc>
                <a:spcPct val="100000"/>
              </a:lnSpc>
              <a:spcBef>
                <a:spcPts val="0"/>
              </a:spcBef>
              <a:spcAft>
                <a:spcPct val="0"/>
              </a:spcAft>
              <a:buNone/>
            </a:pPr>
            <a:r>
              <a:rPr lang="en-IN" sz="2000" dirty="0" smtClean="0">
                <a:cs typeface="Calibri"/>
              </a:rPr>
              <a:t>Following details need to be updated while creating Customer Account</a:t>
            </a:r>
          </a:p>
          <a:p>
            <a:pPr marL="0" indent="0">
              <a:lnSpc>
                <a:spcPct val="100000"/>
              </a:lnSpc>
              <a:spcBef>
                <a:spcPts val="0"/>
              </a:spcBef>
              <a:spcAft>
                <a:spcPct val="0"/>
              </a:spcAft>
              <a:buNone/>
            </a:pPr>
            <a:endParaRPr lang="en-IN" sz="2000" dirty="0">
              <a:cs typeface="Calibri"/>
            </a:endParaRPr>
          </a:p>
          <a:p>
            <a:pPr marL="0" indent="0">
              <a:lnSpc>
                <a:spcPct val="100000"/>
              </a:lnSpc>
              <a:spcBef>
                <a:spcPts val="0"/>
              </a:spcBef>
              <a:spcAft>
                <a:spcPct val="0"/>
              </a:spcAft>
              <a:buNone/>
            </a:pPr>
            <a:r>
              <a:rPr lang="en-US" sz="2000" b="1" dirty="0"/>
              <a:t>GB# Full Name - </a:t>
            </a:r>
            <a:r>
              <a:rPr lang="en-US" sz="2000" dirty="0"/>
              <a:t>Name of the Customer used for correspondence</a:t>
            </a:r>
            <a:r>
              <a:rPr lang="en-US" sz="2000" dirty="0" smtClean="0"/>
              <a:t>.</a:t>
            </a:r>
          </a:p>
          <a:p>
            <a:pPr marL="0" indent="0">
              <a:lnSpc>
                <a:spcPct val="100000"/>
              </a:lnSpc>
              <a:spcBef>
                <a:spcPts val="0"/>
              </a:spcBef>
              <a:spcAft>
                <a:spcPct val="0"/>
              </a:spcAft>
              <a:buNone/>
            </a:pPr>
            <a:r>
              <a:rPr lang="en-US" sz="2000" b="1" dirty="0"/>
              <a:t>GB# Full Name- 2 - </a:t>
            </a:r>
            <a:r>
              <a:rPr lang="en-US" sz="2000" dirty="0"/>
              <a:t>Continuation of </a:t>
            </a:r>
            <a:r>
              <a:rPr lang="en-US" sz="2000" b="1" dirty="0"/>
              <a:t>Full </a:t>
            </a:r>
            <a:r>
              <a:rPr lang="en-US" sz="2000" b="1" dirty="0" smtClean="0"/>
              <a:t>Name</a:t>
            </a:r>
          </a:p>
          <a:p>
            <a:pPr marL="0" indent="0">
              <a:buNone/>
            </a:pPr>
            <a:r>
              <a:rPr lang="en-US" sz="2000" b="1" dirty="0"/>
              <a:t>GB # Short Name - </a:t>
            </a:r>
            <a:r>
              <a:rPr lang="en-US" sz="2000" dirty="0"/>
              <a:t>Name to be used for on-line enrichments in any field where a Customer ID </a:t>
            </a:r>
            <a:r>
              <a:rPr lang="en-US" sz="2000" dirty="0" smtClean="0"/>
              <a:t>or </a:t>
            </a:r>
            <a:r>
              <a:rPr lang="en-IN" sz="2000" dirty="0" smtClean="0"/>
              <a:t>Mnemonic </a:t>
            </a:r>
            <a:r>
              <a:rPr lang="en-IN" sz="2000" dirty="0"/>
              <a:t>has been input</a:t>
            </a:r>
            <a:r>
              <a:rPr lang="en-IN" sz="2000" dirty="0" smtClean="0"/>
              <a:t>.</a:t>
            </a:r>
          </a:p>
          <a:p>
            <a:pPr marL="0" indent="0">
              <a:buNone/>
            </a:pPr>
            <a:r>
              <a:rPr lang="en-US" sz="2000" b="1" dirty="0"/>
              <a:t>Customer Mnemonic - </a:t>
            </a:r>
            <a:r>
              <a:rPr lang="en-US" sz="2000" dirty="0"/>
              <a:t>Specifies an alternative easy means of referencing the Customer</a:t>
            </a:r>
            <a:r>
              <a:rPr lang="en-US" sz="2000" dirty="0" smtClean="0"/>
              <a:t>.</a:t>
            </a:r>
          </a:p>
          <a:p>
            <a:pPr marL="0" indent="0">
              <a:buNone/>
            </a:pPr>
            <a:r>
              <a:rPr lang="en-US" sz="2000" b="1" dirty="0"/>
              <a:t>Account Officer - </a:t>
            </a:r>
            <a:r>
              <a:rPr lang="en-US" sz="2000" dirty="0"/>
              <a:t>Identifies the Relationship Officer responsible for the Customer. Desired </a:t>
            </a:r>
            <a:r>
              <a:rPr lang="en-US" sz="2000" dirty="0" smtClean="0"/>
              <a:t>officer can </a:t>
            </a:r>
            <a:r>
              <a:rPr lang="en-US" sz="2000" dirty="0"/>
              <a:t>be picked from the drop </a:t>
            </a:r>
            <a:r>
              <a:rPr lang="en-US" sz="2000" dirty="0" smtClean="0"/>
              <a:t>down list.</a:t>
            </a:r>
          </a:p>
          <a:p>
            <a:pPr marL="0" indent="0">
              <a:buNone/>
            </a:pPr>
            <a:r>
              <a:rPr lang="en-US" sz="2000" b="1" dirty="0"/>
              <a:t>Sector - </a:t>
            </a:r>
            <a:r>
              <a:rPr lang="en-US" sz="2000" dirty="0"/>
              <a:t>T24 allows classification of customers using this field say, Individuals, Corporate, Banks </a:t>
            </a:r>
            <a:r>
              <a:rPr lang="en-US" sz="2000" dirty="0" err="1" smtClean="0"/>
              <a:t>etc</a:t>
            </a:r>
            <a:r>
              <a:rPr lang="en-US" sz="2000" dirty="0" smtClean="0"/>
              <a:t> and </a:t>
            </a:r>
            <a:r>
              <a:rPr lang="en-US" sz="2000" dirty="0"/>
              <a:t>assigning a numeric code to them</a:t>
            </a:r>
            <a:r>
              <a:rPr lang="en-US" sz="2000" dirty="0" smtClean="0"/>
              <a:t>.</a:t>
            </a:r>
          </a:p>
          <a:p>
            <a:pPr marL="0" indent="0">
              <a:buNone/>
            </a:pPr>
            <a:r>
              <a:rPr lang="en-US" sz="2000" b="1" dirty="0"/>
              <a:t>Industry – </a:t>
            </a:r>
            <a:r>
              <a:rPr lang="en-US" sz="2000" dirty="0"/>
              <a:t>Yet another classification field to identify the industry of the customer and normally </a:t>
            </a:r>
            <a:r>
              <a:rPr lang="en-US" sz="2000" dirty="0" smtClean="0"/>
              <a:t>used for </a:t>
            </a:r>
            <a:r>
              <a:rPr lang="en-US" sz="2000" dirty="0"/>
              <a:t>Central Bank reporting purposes.</a:t>
            </a:r>
            <a:endParaRPr lang="en-IN" sz="2000" dirty="0">
              <a:cs typeface="Calibri"/>
            </a:endParaRPr>
          </a:p>
        </p:txBody>
      </p:sp>
      <p:sp>
        <p:nvSpPr>
          <p:cNvPr id="3" name="Title 2">
            <a:extLst>
              <a:ext uri="{FF2B5EF4-FFF2-40B4-BE49-F238E27FC236}">
                <a16:creationId xmlns:a16="http://schemas.microsoft.com/office/drawing/2014/main" id="{3A026BAA-8421-4209-ABC2-8A5B6445A1C2}"/>
              </a:ext>
            </a:extLst>
          </p:cNvPr>
          <p:cNvSpPr>
            <a:spLocks noGrp="1"/>
          </p:cNvSpPr>
          <p:nvPr>
            <p:ph type="title"/>
          </p:nvPr>
        </p:nvSpPr>
        <p:spPr/>
        <p:txBody>
          <a:bodyPr/>
          <a:lstStyle/>
          <a:p>
            <a:r>
              <a:rPr lang="en-IN" dirty="0" smtClean="0"/>
              <a:t>Customer Information File (CIF)</a:t>
            </a:r>
            <a:endParaRPr lang="en-US" dirty="0">
              <a:latin typeface="Arial"/>
              <a:cs typeface="Calibri"/>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5</a:t>
            </a:fld>
            <a:endParaRPr lang="hi-IN"/>
          </a:p>
        </p:txBody>
      </p:sp>
      <p:sp>
        <p:nvSpPr>
          <p:cNvPr id="5" name="TextBox 4">
            <a:extLst>
              <a:ext uri="{FF2B5EF4-FFF2-40B4-BE49-F238E27FC236}">
                <a16:creationId xmlns:a16="http://schemas.microsoft.com/office/drawing/2014/main" id="{3B9D733C-A824-42DA-9E01-5683130F6180}"/>
              </a:ext>
            </a:extLst>
          </p:cNvPr>
          <p:cNvSpPr txBox="1"/>
          <p:nvPr/>
        </p:nvSpPr>
        <p:spPr>
          <a:xfrm>
            <a:off x="684362" y="1029419"/>
            <a:ext cx="274320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2000" dirty="0">
              <a:solidFill>
                <a:schemeClr val="tx2"/>
              </a:solidFill>
              <a:ea typeface="+mn-lt"/>
              <a:cs typeface="+mn-lt"/>
            </a:endParaRPr>
          </a:p>
        </p:txBody>
      </p:sp>
    </p:spTree>
    <p:extLst>
      <p:ext uri="{BB962C8B-B14F-4D97-AF65-F5344CB8AC3E}">
        <p14:creationId xmlns:p14="http://schemas.microsoft.com/office/powerpoint/2010/main" val="21407315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421255" y="1494947"/>
            <a:ext cx="10843027" cy="4689954"/>
          </a:xfrm>
        </p:spPr>
        <p:txBody>
          <a:bodyPr vert="horz" lIns="91440" tIns="45720" rIns="91440" bIns="45720" rtlCol="0" anchor="t">
            <a:noAutofit/>
          </a:bodyPr>
          <a:lstStyle/>
          <a:p>
            <a:pPr marL="0" indent="0">
              <a:buNone/>
            </a:pPr>
            <a:r>
              <a:rPr lang="en-US" sz="2000" b="1" dirty="0"/>
              <a:t>Customer Status - </a:t>
            </a:r>
            <a:r>
              <a:rPr lang="en-US" sz="2000" dirty="0"/>
              <a:t>Identifies the Status of the Customer. Appropriate status can be selected from </a:t>
            </a:r>
            <a:r>
              <a:rPr lang="en-US" sz="2000" dirty="0" smtClean="0"/>
              <a:t>the </a:t>
            </a:r>
            <a:r>
              <a:rPr lang="en-IN" sz="2000" dirty="0" smtClean="0"/>
              <a:t>drop </a:t>
            </a:r>
            <a:r>
              <a:rPr lang="en-IN" sz="2000" dirty="0"/>
              <a:t>down </a:t>
            </a:r>
            <a:r>
              <a:rPr lang="en-IN" sz="2000" dirty="0" smtClean="0"/>
              <a:t>list.</a:t>
            </a:r>
          </a:p>
          <a:p>
            <a:pPr marL="0" indent="0">
              <a:buNone/>
            </a:pPr>
            <a:r>
              <a:rPr lang="en-US" sz="2000" b="1" dirty="0"/>
              <a:t>Target - </a:t>
            </a:r>
            <a:r>
              <a:rPr lang="en-US" sz="2000" dirty="0"/>
              <a:t>Specifies how the Customer is considered by the bank and how he fits in with the </a:t>
            </a:r>
            <a:r>
              <a:rPr lang="en-US" sz="2000" dirty="0" smtClean="0"/>
              <a:t>Account </a:t>
            </a:r>
            <a:r>
              <a:rPr lang="en-IN" sz="2000" dirty="0" smtClean="0"/>
              <a:t>Officer's </a:t>
            </a:r>
            <a:r>
              <a:rPr lang="en-IN" sz="2000" dirty="0"/>
              <a:t>overall marketing strategy</a:t>
            </a:r>
            <a:r>
              <a:rPr lang="en-IN" sz="2000" dirty="0" smtClean="0"/>
              <a:t>.</a:t>
            </a:r>
          </a:p>
          <a:p>
            <a:pPr marL="0" indent="0">
              <a:buNone/>
            </a:pPr>
            <a:r>
              <a:rPr lang="en-US" sz="2000" b="1" dirty="0"/>
              <a:t>Nationality - </a:t>
            </a:r>
            <a:r>
              <a:rPr lang="en-US" sz="2000" dirty="0"/>
              <a:t>Identifies the Nationality of the Customer</a:t>
            </a:r>
            <a:r>
              <a:rPr lang="en-US" sz="2000" dirty="0" smtClean="0"/>
              <a:t>.</a:t>
            </a:r>
          </a:p>
          <a:p>
            <a:pPr marL="0" indent="0">
              <a:buNone/>
            </a:pPr>
            <a:r>
              <a:rPr lang="en-US" sz="2000" b="1" dirty="0"/>
              <a:t>Residence - </a:t>
            </a:r>
            <a:r>
              <a:rPr lang="en-US" sz="2000" dirty="0"/>
              <a:t>Identifies the Country of Residence of the Customer</a:t>
            </a:r>
            <a:r>
              <a:rPr lang="en-US" sz="2000" dirty="0" smtClean="0"/>
              <a:t>.</a:t>
            </a:r>
          </a:p>
          <a:p>
            <a:pPr marL="0" indent="0">
              <a:buNone/>
            </a:pPr>
            <a:r>
              <a:rPr lang="en-US" sz="2000" b="1" dirty="0" smtClean="0"/>
              <a:t>Birth </a:t>
            </a:r>
            <a:r>
              <a:rPr lang="en-US" sz="2000" b="1" dirty="0"/>
              <a:t>Date - </a:t>
            </a:r>
            <a:r>
              <a:rPr lang="en-US" sz="2000" dirty="0"/>
              <a:t>Specifies the Customer's date of birth </a:t>
            </a:r>
            <a:endParaRPr lang="en-US" sz="2000" dirty="0" smtClean="0"/>
          </a:p>
          <a:p>
            <a:pPr marL="0" indent="0">
              <a:buNone/>
            </a:pPr>
            <a:r>
              <a:rPr lang="en-US" sz="2000" b="1" dirty="0" smtClean="0"/>
              <a:t>Language </a:t>
            </a:r>
            <a:r>
              <a:rPr lang="en-US" sz="2000" b="1" dirty="0"/>
              <a:t>– </a:t>
            </a:r>
            <a:r>
              <a:rPr lang="en-US" sz="2000" dirty="0"/>
              <a:t>The communication language of the customer. It is defaulted to English</a:t>
            </a:r>
            <a:r>
              <a:rPr lang="en-US" sz="2000" dirty="0" smtClean="0"/>
              <a:t>.</a:t>
            </a:r>
            <a:endParaRPr lang="en-IN" sz="2000" dirty="0">
              <a:cs typeface="Calibri"/>
            </a:endParaRPr>
          </a:p>
        </p:txBody>
      </p:sp>
      <p:sp>
        <p:nvSpPr>
          <p:cNvPr id="3" name="Title 2">
            <a:extLst>
              <a:ext uri="{FF2B5EF4-FFF2-40B4-BE49-F238E27FC236}">
                <a16:creationId xmlns:a16="http://schemas.microsoft.com/office/drawing/2014/main" id="{3A026BAA-8421-4209-ABC2-8A5B6445A1C2}"/>
              </a:ext>
            </a:extLst>
          </p:cNvPr>
          <p:cNvSpPr>
            <a:spLocks noGrp="1"/>
          </p:cNvSpPr>
          <p:nvPr>
            <p:ph type="title"/>
          </p:nvPr>
        </p:nvSpPr>
        <p:spPr/>
        <p:txBody>
          <a:bodyPr/>
          <a:lstStyle/>
          <a:p>
            <a:r>
              <a:rPr lang="en-IN" dirty="0" smtClean="0"/>
              <a:t>Customer Information File (CIF)</a:t>
            </a:r>
            <a:endParaRPr lang="en-US" dirty="0">
              <a:latin typeface="Arial"/>
              <a:cs typeface="Calibri"/>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6</a:t>
            </a:fld>
            <a:endParaRPr lang="hi-IN"/>
          </a:p>
        </p:txBody>
      </p:sp>
      <p:sp>
        <p:nvSpPr>
          <p:cNvPr id="5" name="TextBox 4">
            <a:extLst>
              <a:ext uri="{FF2B5EF4-FFF2-40B4-BE49-F238E27FC236}">
                <a16:creationId xmlns:a16="http://schemas.microsoft.com/office/drawing/2014/main" id="{3B9D733C-A824-42DA-9E01-5683130F6180}"/>
              </a:ext>
            </a:extLst>
          </p:cNvPr>
          <p:cNvSpPr txBox="1"/>
          <p:nvPr/>
        </p:nvSpPr>
        <p:spPr>
          <a:xfrm>
            <a:off x="684362" y="1029419"/>
            <a:ext cx="274320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2000" dirty="0">
              <a:solidFill>
                <a:schemeClr val="tx2"/>
              </a:solidFill>
              <a:ea typeface="+mn-lt"/>
              <a:cs typeface="+mn-lt"/>
            </a:endParaRPr>
          </a:p>
        </p:txBody>
      </p:sp>
    </p:spTree>
    <p:extLst>
      <p:ext uri="{BB962C8B-B14F-4D97-AF65-F5344CB8AC3E}">
        <p14:creationId xmlns:p14="http://schemas.microsoft.com/office/powerpoint/2010/main" val="22241363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421255" y="1494947"/>
            <a:ext cx="10843027" cy="4689954"/>
          </a:xfrm>
        </p:spPr>
        <p:txBody>
          <a:bodyPr vert="horz" lIns="91440" tIns="45720" rIns="91440" bIns="45720" rtlCol="0" anchor="t">
            <a:noAutofit/>
          </a:bodyPr>
          <a:lstStyle/>
          <a:p>
            <a:pPr marL="0" indent="0">
              <a:buNone/>
            </a:pPr>
            <a:endParaRPr lang="en-US" sz="2000" dirty="0" smtClean="0"/>
          </a:p>
          <a:p>
            <a:pPr marL="0" indent="0">
              <a:buNone/>
            </a:pPr>
            <a:endParaRPr lang="en-US" sz="2000" dirty="0"/>
          </a:p>
          <a:p>
            <a:pPr marL="0" indent="0">
              <a:buNone/>
            </a:pPr>
            <a:endParaRPr lang="en-US" sz="2000" dirty="0" smtClean="0"/>
          </a:p>
          <a:p>
            <a:pPr marL="0" indent="0">
              <a:buNone/>
            </a:pPr>
            <a:endParaRPr lang="en-US" sz="2000" dirty="0"/>
          </a:p>
          <a:p>
            <a:r>
              <a:rPr lang="en-US" sz="2000" b="1" dirty="0" smtClean="0"/>
              <a:t>GB </a:t>
            </a:r>
            <a:r>
              <a:rPr lang="en-US" sz="2000" b="1" dirty="0"/>
              <a:t># Address </a:t>
            </a:r>
            <a:r>
              <a:rPr lang="en-US" sz="2000" dirty="0"/>
              <a:t>- Identifies the first line of the customer's base address.</a:t>
            </a:r>
          </a:p>
          <a:p>
            <a:r>
              <a:rPr lang="en-US" sz="2000" b="1" dirty="0" smtClean="0"/>
              <a:t>GB </a:t>
            </a:r>
            <a:r>
              <a:rPr lang="en-US" sz="2000" b="1" dirty="0"/>
              <a:t># Town/City - </a:t>
            </a:r>
            <a:r>
              <a:rPr lang="en-US" sz="2000" dirty="0"/>
              <a:t>Identifies the town and country of the customer's base address.</a:t>
            </a:r>
          </a:p>
          <a:p>
            <a:r>
              <a:rPr lang="en-US" sz="2000" b="1" dirty="0" smtClean="0"/>
              <a:t>GB </a:t>
            </a:r>
            <a:r>
              <a:rPr lang="en-US" sz="2000" b="1" dirty="0"/>
              <a:t># Post Code - </a:t>
            </a:r>
            <a:r>
              <a:rPr lang="en-US" sz="2000" dirty="0"/>
              <a:t>Identifies the postal code for customer. </a:t>
            </a:r>
            <a:endParaRPr lang="en-US" sz="2000" dirty="0" smtClean="0"/>
          </a:p>
          <a:p>
            <a:r>
              <a:rPr lang="en-US" sz="2000" b="1" dirty="0"/>
              <a:t>GB # Country </a:t>
            </a:r>
            <a:r>
              <a:rPr lang="en-US" sz="2000" dirty="0"/>
              <a:t>- Identifies the country for customer</a:t>
            </a:r>
            <a:r>
              <a:rPr lang="en-US" sz="2000" dirty="0" smtClean="0"/>
              <a:t>.</a:t>
            </a:r>
          </a:p>
          <a:p>
            <a:r>
              <a:rPr lang="en-IN" sz="2000" b="1" dirty="0"/>
              <a:t>Phone Numbers Res.1</a:t>
            </a:r>
          </a:p>
          <a:p>
            <a:r>
              <a:rPr lang="en-IN" sz="2000" b="1" dirty="0"/>
              <a:t>Phone Numbers Off.1</a:t>
            </a:r>
          </a:p>
          <a:p>
            <a:r>
              <a:rPr lang="en-IN" sz="2000" b="1" dirty="0"/>
              <a:t>Mobile Phone number .1</a:t>
            </a:r>
          </a:p>
          <a:p>
            <a:r>
              <a:rPr lang="en-IN" sz="2000" b="1" dirty="0"/>
              <a:t>Email Address.1 -</a:t>
            </a:r>
          </a:p>
          <a:p>
            <a:pPr marL="0" indent="0">
              <a:buNone/>
            </a:pPr>
            <a:endParaRPr lang="en-IN" sz="2000" dirty="0">
              <a:cs typeface="Calibri"/>
            </a:endParaRPr>
          </a:p>
        </p:txBody>
      </p:sp>
      <p:sp>
        <p:nvSpPr>
          <p:cNvPr id="3" name="Title 2">
            <a:extLst>
              <a:ext uri="{FF2B5EF4-FFF2-40B4-BE49-F238E27FC236}">
                <a16:creationId xmlns:a16="http://schemas.microsoft.com/office/drawing/2014/main" id="{3A026BAA-8421-4209-ABC2-8A5B6445A1C2}"/>
              </a:ext>
            </a:extLst>
          </p:cNvPr>
          <p:cNvSpPr>
            <a:spLocks noGrp="1"/>
          </p:cNvSpPr>
          <p:nvPr>
            <p:ph type="title"/>
          </p:nvPr>
        </p:nvSpPr>
        <p:spPr/>
        <p:txBody>
          <a:bodyPr/>
          <a:lstStyle/>
          <a:p>
            <a:r>
              <a:rPr lang="en-IN" dirty="0" smtClean="0"/>
              <a:t>Customer Information File (CIF)</a:t>
            </a:r>
            <a:endParaRPr lang="en-US" dirty="0">
              <a:latin typeface="Arial"/>
              <a:cs typeface="Calibri"/>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7</a:t>
            </a:fld>
            <a:endParaRPr lang="hi-IN"/>
          </a:p>
        </p:txBody>
      </p:sp>
      <p:sp>
        <p:nvSpPr>
          <p:cNvPr id="5" name="TextBox 4">
            <a:extLst>
              <a:ext uri="{FF2B5EF4-FFF2-40B4-BE49-F238E27FC236}">
                <a16:creationId xmlns:a16="http://schemas.microsoft.com/office/drawing/2014/main" id="{3B9D733C-A824-42DA-9E01-5683130F6180}"/>
              </a:ext>
            </a:extLst>
          </p:cNvPr>
          <p:cNvSpPr txBox="1"/>
          <p:nvPr/>
        </p:nvSpPr>
        <p:spPr>
          <a:xfrm>
            <a:off x="684362" y="1029419"/>
            <a:ext cx="274320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2000" dirty="0">
              <a:solidFill>
                <a:schemeClr val="tx2"/>
              </a:solidFill>
              <a:ea typeface="+mn-lt"/>
              <a:cs typeface="+mn-lt"/>
            </a:endParaRPr>
          </a:p>
        </p:txBody>
      </p:sp>
      <p:pic>
        <p:nvPicPr>
          <p:cNvPr id="6" name="Picture 5"/>
          <p:cNvPicPr>
            <a:picLocks noChangeAspect="1"/>
          </p:cNvPicPr>
          <p:nvPr/>
        </p:nvPicPr>
        <p:blipFill>
          <a:blip r:embed="rId3"/>
          <a:stretch>
            <a:fillRect/>
          </a:stretch>
        </p:blipFill>
        <p:spPr>
          <a:xfrm>
            <a:off x="617687" y="920660"/>
            <a:ext cx="5619750" cy="2203540"/>
          </a:xfrm>
          <a:prstGeom prst="rect">
            <a:avLst/>
          </a:prstGeom>
        </p:spPr>
      </p:pic>
    </p:spTree>
    <p:extLst>
      <p:ext uri="{BB962C8B-B14F-4D97-AF65-F5344CB8AC3E}">
        <p14:creationId xmlns:p14="http://schemas.microsoft.com/office/powerpoint/2010/main" val="242373113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421255" y="1494947"/>
            <a:ext cx="10843027" cy="4689954"/>
          </a:xfrm>
        </p:spPr>
        <p:txBody>
          <a:bodyPr vert="horz" lIns="91440" tIns="45720" rIns="91440" bIns="45720" rtlCol="0" anchor="t">
            <a:noAutofit/>
          </a:bodyPr>
          <a:lstStyle/>
          <a:p>
            <a:pPr marL="0" indent="0">
              <a:buNone/>
            </a:pPr>
            <a:endParaRPr lang="en-US" sz="2000" dirty="0" smtClean="0"/>
          </a:p>
          <a:p>
            <a:pPr marL="0" indent="0">
              <a:buNone/>
            </a:pPr>
            <a:endParaRPr lang="en-US" sz="2000" dirty="0"/>
          </a:p>
          <a:p>
            <a:pPr marL="0" indent="0">
              <a:buNone/>
            </a:pPr>
            <a:endParaRPr lang="en-US" sz="2000" dirty="0" smtClean="0"/>
          </a:p>
          <a:p>
            <a:pPr marL="0" indent="0">
              <a:buNone/>
            </a:pPr>
            <a:endParaRPr lang="en-US" sz="2000" dirty="0"/>
          </a:p>
          <a:p>
            <a:endParaRPr lang="en-US" sz="2000" b="1" dirty="0" smtClean="0"/>
          </a:p>
          <a:p>
            <a:pPr marL="0" indent="0">
              <a:buNone/>
            </a:pPr>
            <a:endParaRPr lang="en-US" sz="2000" b="1" dirty="0" smtClean="0"/>
          </a:p>
          <a:p>
            <a:r>
              <a:rPr lang="en-US" sz="2000" b="1" dirty="0" smtClean="0"/>
              <a:t>Legal </a:t>
            </a:r>
            <a:r>
              <a:rPr lang="en-US" sz="2000" b="1" dirty="0"/>
              <a:t>ID type - </a:t>
            </a:r>
            <a:r>
              <a:rPr lang="en-US" sz="2000" dirty="0"/>
              <a:t>Records the type of Identification document perused by the bank like </a:t>
            </a:r>
            <a:r>
              <a:rPr lang="en-US" sz="2000" dirty="0" smtClean="0"/>
              <a:t>SSN, </a:t>
            </a:r>
            <a:r>
              <a:rPr lang="en-IN" sz="2000" dirty="0" smtClean="0"/>
              <a:t>Passport</a:t>
            </a:r>
            <a:r>
              <a:rPr lang="en-IN" sz="2000" dirty="0"/>
              <a:t>, and Licence etc</a:t>
            </a:r>
            <a:r>
              <a:rPr lang="en-IN" sz="2000" dirty="0" smtClean="0"/>
              <a:t>.</a:t>
            </a:r>
          </a:p>
          <a:p>
            <a:r>
              <a:rPr lang="en-US" sz="2000" b="1" dirty="0"/>
              <a:t>Legal ID number – </a:t>
            </a:r>
            <a:r>
              <a:rPr lang="en-US" sz="2000" dirty="0"/>
              <a:t>Records the number on the ID </a:t>
            </a:r>
            <a:r>
              <a:rPr lang="en-US" sz="2000" dirty="0" smtClean="0"/>
              <a:t>document.</a:t>
            </a:r>
          </a:p>
          <a:p>
            <a:r>
              <a:rPr lang="en-US" sz="2000" b="1" dirty="0"/>
              <a:t>Issuing authority, Issue Date and Expiry Date - </a:t>
            </a:r>
            <a:r>
              <a:rPr lang="en-US" sz="2000" dirty="0"/>
              <a:t>Details of the authority issuing the ID</a:t>
            </a:r>
            <a:endParaRPr lang="en-IN" sz="2000" dirty="0">
              <a:cs typeface="Calibri"/>
            </a:endParaRPr>
          </a:p>
        </p:txBody>
      </p:sp>
      <p:sp>
        <p:nvSpPr>
          <p:cNvPr id="3" name="Title 2">
            <a:extLst>
              <a:ext uri="{FF2B5EF4-FFF2-40B4-BE49-F238E27FC236}">
                <a16:creationId xmlns:a16="http://schemas.microsoft.com/office/drawing/2014/main" id="{3A026BAA-8421-4209-ABC2-8A5B6445A1C2}"/>
              </a:ext>
            </a:extLst>
          </p:cNvPr>
          <p:cNvSpPr>
            <a:spLocks noGrp="1"/>
          </p:cNvSpPr>
          <p:nvPr>
            <p:ph type="title"/>
          </p:nvPr>
        </p:nvSpPr>
        <p:spPr/>
        <p:txBody>
          <a:bodyPr/>
          <a:lstStyle/>
          <a:p>
            <a:r>
              <a:rPr lang="en-IN" dirty="0" smtClean="0"/>
              <a:t>Customer Information File (CIF)</a:t>
            </a:r>
            <a:endParaRPr lang="en-US" dirty="0">
              <a:latin typeface="Arial"/>
              <a:cs typeface="Calibri"/>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8</a:t>
            </a:fld>
            <a:endParaRPr lang="hi-IN"/>
          </a:p>
        </p:txBody>
      </p:sp>
      <p:sp>
        <p:nvSpPr>
          <p:cNvPr id="5" name="TextBox 4">
            <a:extLst>
              <a:ext uri="{FF2B5EF4-FFF2-40B4-BE49-F238E27FC236}">
                <a16:creationId xmlns:a16="http://schemas.microsoft.com/office/drawing/2014/main" id="{3B9D733C-A824-42DA-9E01-5683130F6180}"/>
              </a:ext>
            </a:extLst>
          </p:cNvPr>
          <p:cNvSpPr txBox="1"/>
          <p:nvPr/>
        </p:nvSpPr>
        <p:spPr>
          <a:xfrm>
            <a:off x="684362" y="1029419"/>
            <a:ext cx="274320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2000" dirty="0">
              <a:solidFill>
                <a:schemeClr val="tx2"/>
              </a:solidFill>
              <a:ea typeface="+mn-lt"/>
              <a:cs typeface="+mn-lt"/>
            </a:endParaRPr>
          </a:p>
        </p:txBody>
      </p:sp>
      <p:pic>
        <p:nvPicPr>
          <p:cNvPr id="7" name="Picture 6"/>
          <p:cNvPicPr>
            <a:picLocks noChangeAspect="1"/>
          </p:cNvPicPr>
          <p:nvPr/>
        </p:nvPicPr>
        <p:blipFill>
          <a:blip r:embed="rId3"/>
          <a:stretch>
            <a:fillRect/>
          </a:stretch>
        </p:blipFill>
        <p:spPr>
          <a:xfrm>
            <a:off x="684362" y="1229474"/>
            <a:ext cx="7964338" cy="2110626"/>
          </a:xfrm>
          <a:prstGeom prst="rect">
            <a:avLst/>
          </a:prstGeom>
        </p:spPr>
      </p:pic>
    </p:spTree>
    <p:extLst>
      <p:ext uri="{BB962C8B-B14F-4D97-AF65-F5344CB8AC3E}">
        <p14:creationId xmlns:p14="http://schemas.microsoft.com/office/powerpoint/2010/main" val="21609029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421255" y="1494947"/>
            <a:ext cx="10843027" cy="4689954"/>
          </a:xfrm>
        </p:spPr>
        <p:txBody>
          <a:bodyPr vert="horz" lIns="91440" tIns="45720" rIns="91440" bIns="45720" rtlCol="0" anchor="t">
            <a:noAutofit/>
          </a:bodyPr>
          <a:lstStyle/>
          <a:p>
            <a:pPr marL="0" indent="0">
              <a:lnSpc>
                <a:spcPct val="100000"/>
              </a:lnSpc>
              <a:spcBef>
                <a:spcPts val="0"/>
              </a:spcBef>
              <a:spcAft>
                <a:spcPct val="0"/>
              </a:spcAft>
              <a:buNone/>
            </a:pPr>
            <a:r>
              <a:rPr lang="en-US" sz="2000" dirty="0"/>
              <a:t>A savings account is an interest-bearing deposit account held at a bank or other financial institution. Though these accounts typically pay a modest interest rate, their safety and reliability make them a great option for parking cash you want available for short-term needs. </a:t>
            </a:r>
            <a:endParaRPr lang="en-US" sz="2000" dirty="0" smtClean="0"/>
          </a:p>
          <a:p>
            <a:pPr marL="0" indent="0">
              <a:lnSpc>
                <a:spcPct val="100000"/>
              </a:lnSpc>
              <a:spcBef>
                <a:spcPts val="0"/>
              </a:spcBef>
              <a:spcAft>
                <a:spcPct val="0"/>
              </a:spcAft>
              <a:buNone/>
            </a:pPr>
            <a:endParaRPr lang="en-US" sz="2000" b="1" dirty="0">
              <a:cs typeface="Calibri"/>
            </a:endParaRPr>
          </a:p>
          <a:p>
            <a:pPr marL="0" indent="0">
              <a:lnSpc>
                <a:spcPct val="100000"/>
              </a:lnSpc>
              <a:spcBef>
                <a:spcPts val="0"/>
              </a:spcBef>
              <a:spcAft>
                <a:spcPct val="0"/>
              </a:spcAft>
              <a:buNone/>
            </a:pPr>
            <a:r>
              <a:rPr lang="en-US" sz="2000" dirty="0" smtClean="0">
                <a:cs typeface="Calibri"/>
              </a:rPr>
              <a:t>Savings </a:t>
            </a:r>
            <a:r>
              <a:rPr lang="en-US" sz="2000" dirty="0">
                <a:cs typeface="Calibri"/>
              </a:rPr>
              <a:t>accounts pay interest </a:t>
            </a:r>
            <a:r>
              <a:rPr lang="en-US" sz="2000" dirty="0" smtClean="0">
                <a:cs typeface="Calibri"/>
              </a:rPr>
              <a:t>and </a:t>
            </a:r>
            <a:r>
              <a:rPr lang="en-US" sz="2000" dirty="0">
                <a:cs typeface="Calibri"/>
              </a:rPr>
              <a:t>keep your funds easy to access, they’re a good option for parking cash you’ll want in the short-term or to cover an </a:t>
            </a:r>
            <a:r>
              <a:rPr lang="en-US" sz="2000" dirty="0" smtClean="0">
                <a:cs typeface="Calibri"/>
              </a:rPr>
              <a:t>emergency. In </a:t>
            </a:r>
            <a:r>
              <a:rPr lang="en-US" sz="2000" dirty="0">
                <a:cs typeface="Calibri"/>
              </a:rPr>
              <a:t>exchange for the ease and liquidity that savings accounts offer, you’ll earn a lower rate than more restrictive savings instruments and investments might pay</a:t>
            </a:r>
            <a:r>
              <a:rPr lang="en-US" sz="2000" dirty="0" smtClean="0">
                <a:cs typeface="Calibri"/>
              </a:rPr>
              <a:t>.</a:t>
            </a:r>
          </a:p>
          <a:p>
            <a:pPr marL="0" indent="0">
              <a:lnSpc>
                <a:spcPct val="100000"/>
              </a:lnSpc>
              <a:spcBef>
                <a:spcPts val="0"/>
              </a:spcBef>
              <a:spcAft>
                <a:spcPct val="0"/>
              </a:spcAft>
              <a:buNone/>
            </a:pPr>
            <a:endParaRPr lang="en-US" sz="2000" dirty="0">
              <a:cs typeface="Calibri"/>
            </a:endParaRPr>
          </a:p>
          <a:p>
            <a:pPr marL="0" indent="0">
              <a:lnSpc>
                <a:spcPct val="100000"/>
              </a:lnSpc>
              <a:spcBef>
                <a:spcPts val="0"/>
              </a:spcBef>
              <a:spcAft>
                <a:spcPct val="0"/>
              </a:spcAft>
              <a:buNone/>
            </a:pPr>
            <a:r>
              <a:rPr lang="en-US" sz="2000" dirty="0"/>
              <a:t>All resident Indian customers more than 18 years of age are eligible to open </a:t>
            </a:r>
            <a:r>
              <a:rPr lang="en-US" sz="2000" dirty="0" smtClean="0"/>
              <a:t>Savings </a:t>
            </a:r>
            <a:r>
              <a:rPr lang="en-US" sz="2000" dirty="0"/>
              <a:t>Account</a:t>
            </a:r>
            <a:r>
              <a:rPr lang="en-US" sz="2000" dirty="0" smtClean="0"/>
              <a:t>. Savings Account can be opened through Branch &amp; Online Banking.</a:t>
            </a:r>
            <a:endParaRPr lang="en-IN" sz="2000" dirty="0">
              <a:cs typeface="Calibri"/>
            </a:endParaRPr>
          </a:p>
        </p:txBody>
      </p:sp>
      <p:sp>
        <p:nvSpPr>
          <p:cNvPr id="3" name="Title 2">
            <a:extLst>
              <a:ext uri="{FF2B5EF4-FFF2-40B4-BE49-F238E27FC236}">
                <a16:creationId xmlns:a16="http://schemas.microsoft.com/office/drawing/2014/main" id="{3A026BAA-8421-4209-ABC2-8A5B6445A1C2}"/>
              </a:ext>
            </a:extLst>
          </p:cNvPr>
          <p:cNvSpPr>
            <a:spLocks noGrp="1"/>
          </p:cNvSpPr>
          <p:nvPr>
            <p:ph type="title"/>
          </p:nvPr>
        </p:nvSpPr>
        <p:spPr/>
        <p:txBody>
          <a:bodyPr/>
          <a:lstStyle/>
          <a:p>
            <a:r>
              <a:rPr lang="en-IN" dirty="0"/>
              <a:t>Savings </a:t>
            </a:r>
            <a:r>
              <a:rPr lang="en-IN" dirty="0" smtClean="0"/>
              <a:t>Account</a:t>
            </a:r>
            <a:endParaRPr lang="en-US" dirty="0">
              <a:latin typeface="Arial"/>
              <a:cs typeface="Calibri"/>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9</a:t>
            </a:fld>
            <a:endParaRPr lang="hi-IN"/>
          </a:p>
        </p:txBody>
      </p:sp>
      <p:sp>
        <p:nvSpPr>
          <p:cNvPr id="5" name="TextBox 4">
            <a:extLst>
              <a:ext uri="{FF2B5EF4-FFF2-40B4-BE49-F238E27FC236}">
                <a16:creationId xmlns:a16="http://schemas.microsoft.com/office/drawing/2014/main" id="{3B9D733C-A824-42DA-9E01-5683130F6180}"/>
              </a:ext>
            </a:extLst>
          </p:cNvPr>
          <p:cNvSpPr txBox="1"/>
          <p:nvPr/>
        </p:nvSpPr>
        <p:spPr>
          <a:xfrm>
            <a:off x="684362" y="1029419"/>
            <a:ext cx="274320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2000" dirty="0">
              <a:solidFill>
                <a:schemeClr val="tx2"/>
              </a:solidFill>
              <a:ea typeface="+mn-lt"/>
              <a:cs typeface="+mn-lt"/>
            </a:endParaRPr>
          </a:p>
        </p:txBody>
      </p:sp>
    </p:spTree>
    <p:extLst>
      <p:ext uri="{BB962C8B-B14F-4D97-AF65-F5344CB8AC3E}">
        <p14:creationId xmlns:p14="http://schemas.microsoft.com/office/powerpoint/2010/main" val="227667859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heme/theme1.xml><?xml version="1.0" encoding="utf-8"?>
<a:theme xmlns:a="http://schemas.openxmlformats.org/drawingml/2006/main" name="Office Theme">
  <a:themeElements>
    <a:clrScheme name="Custom 10">
      <a:dk1>
        <a:sysClr val="windowText" lastClr="000000"/>
      </a:dk1>
      <a:lt1>
        <a:sysClr val="window" lastClr="FFFFFF"/>
      </a:lt1>
      <a:dk2>
        <a:srgbClr val="234E8F"/>
      </a:dk2>
      <a:lt2>
        <a:srgbClr val="E7E6E6"/>
      </a:lt2>
      <a:accent1>
        <a:srgbClr val="6C99D6"/>
      </a:accent1>
      <a:accent2>
        <a:srgbClr val="234E8F"/>
      </a:accent2>
      <a:accent3>
        <a:srgbClr val="D0247B"/>
      </a:accent3>
      <a:accent4>
        <a:srgbClr val="5E5E5E"/>
      </a:accent4>
      <a:accent5>
        <a:srgbClr val="4BACC6"/>
      </a:accent5>
      <a:accent6>
        <a:srgbClr val="F79646"/>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Widescreen" id="{4BE0CD3C-1529-4FD5-9C37-DDE3D6491029}" vid="{F054A736-5A0A-4B1E-A370-DDDA56FCB1D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81932131-c75f-424e-9caf-4f4500ebe8fd">
      <Terms xmlns="http://schemas.microsoft.com/office/infopath/2007/PartnerControls"/>
    </lcf76f155ced4ddcb4097134ff3c332f>
    <TaxCatchAll xmlns="84d94e61-9227-4c54-bf11-32a1aa75c837"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E32E3CA5C16574E82A01A1BC6725E49" ma:contentTypeVersion="14" ma:contentTypeDescription="Create a new document." ma:contentTypeScope="" ma:versionID="9194fe80d6d4f40206ebee433af05e39">
  <xsd:schema xmlns:xsd="http://www.w3.org/2001/XMLSchema" xmlns:xs="http://www.w3.org/2001/XMLSchema" xmlns:p="http://schemas.microsoft.com/office/2006/metadata/properties" xmlns:ns2="81932131-c75f-424e-9caf-4f4500ebe8fd" xmlns:ns3="84d94e61-9227-4c54-bf11-32a1aa75c837" targetNamespace="http://schemas.microsoft.com/office/2006/metadata/properties" ma:root="true" ma:fieldsID="75c8522d092dd72d446c1ba0bf017b7d" ns2:_="" ns3:_="">
    <xsd:import namespace="81932131-c75f-424e-9caf-4f4500ebe8fd"/>
    <xsd:import namespace="84d94e61-9227-4c54-bf11-32a1aa75c837"/>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element ref="ns3:SharedWithUsers" minOccurs="0"/>
                <xsd:element ref="ns3:SharedWithDetails"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932131-c75f-424e-9caf-4f4500ebe8f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ec34194a-0c57-4ab5-b999-c8225d4fe3c1"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7"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4d94e61-9227-4c54-bf11-32a1aa75c837"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1cd59479-6744-4d2b-9a95-43489693f339}" ma:internalName="TaxCatchAll" ma:showField="CatchAllData" ma:web="84d94e61-9227-4c54-bf11-32a1aa75c837">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36CAC18-5356-4E31-BBD5-3DEAC795976F}">
  <ds:schemaRefs>
    <ds:schemaRef ds:uri="73ccf96c-108d-4577-ba4d-411881d9b273"/>
    <ds:schemaRef ds:uri="http://schemas.microsoft.com/office/2006/metadata/properties"/>
    <ds:schemaRef ds:uri="http://purl.org/dc/terms/"/>
    <ds:schemaRef ds:uri="http://schemas.microsoft.com/office/2006/documentManagement/types"/>
    <ds:schemaRef ds:uri="http://schemas.openxmlformats.org/package/2006/metadata/core-properties"/>
    <ds:schemaRef ds:uri="http://schemas.microsoft.com/office/infopath/2007/PartnerControls"/>
    <ds:schemaRef ds:uri="http://purl.org/dc/elements/1.1/"/>
    <ds:schemaRef ds:uri="4e53ab0d-d6e4-49d3-bd71-bc9246c9995e"/>
    <ds:schemaRef ds:uri="http://schemas.microsoft.com/sharepoint/v3/fields"/>
    <ds:schemaRef ds:uri="http://www.w3.org/XML/1998/namespace"/>
    <ds:schemaRef ds:uri="http://purl.org/dc/dcmitype/"/>
  </ds:schemaRefs>
</ds:datastoreItem>
</file>

<file path=customXml/itemProps2.xml><?xml version="1.0" encoding="utf-8"?>
<ds:datastoreItem xmlns:ds="http://schemas.openxmlformats.org/officeDocument/2006/customXml" ds:itemID="{9197672F-FE2E-4FEC-B1F7-6A0D000AF966}">
  <ds:schemaRefs>
    <ds:schemaRef ds:uri="http://schemas.microsoft.com/sharepoint/v3/contenttype/forms"/>
  </ds:schemaRefs>
</ds:datastoreItem>
</file>

<file path=customXml/itemProps3.xml><?xml version="1.0" encoding="utf-8"?>
<ds:datastoreItem xmlns:ds="http://schemas.openxmlformats.org/officeDocument/2006/customXml" ds:itemID="{AC8C409B-86E7-49B7-AD7F-EA448505913B}"/>
</file>

<file path=docProps/app.xml><?xml version="1.0" encoding="utf-8"?>
<Properties xmlns="http://schemas.openxmlformats.org/officeDocument/2006/extended-properties" xmlns:vt="http://schemas.openxmlformats.org/officeDocument/2006/docPropsVTypes">
  <TotalTime>1045</TotalTime>
  <Words>2273</Words>
  <Application>Microsoft Office PowerPoint</Application>
  <PresentationFormat>Widescreen</PresentationFormat>
  <Paragraphs>210</Paragraphs>
  <Slides>24</Slides>
  <Notes>2</Notes>
  <HiddenSlides>0</HiddenSlides>
  <MMClips>0</MMClips>
  <ScaleCrop>false</ScaleCrop>
  <HeadingPairs>
    <vt:vector size="6" baseType="variant">
      <vt:variant>
        <vt:lpstr>Fonts Used</vt:lpstr>
      </vt:variant>
      <vt:variant>
        <vt:i4>12</vt:i4>
      </vt:variant>
      <vt:variant>
        <vt:lpstr>Theme</vt:lpstr>
      </vt:variant>
      <vt:variant>
        <vt:i4>2</vt:i4>
      </vt:variant>
      <vt:variant>
        <vt:lpstr>Slide Titles</vt:lpstr>
      </vt:variant>
      <vt:variant>
        <vt:i4>24</vt:i4>
      </vt:variant>
    </vt:vector>
  </HeadingPairs>
  <TitlesOfParts>
    <vt:vector size="38" baseType="lpstr">
      <vt:lpstr>MS PGothic</vt:lpstr>
      <vt:lpstr>MS PGothic</vt:lpstr>
      <vt:lpstr>Arial</vt:lpstr>
      <vt:lpstr>Calibri</vt:lpstr>
      <vt:lpstr>Calibri Light</vt:lpstr>
      <vt:lpstr>Century Gothic</vt:lpstr>
      <vt:lpstr>COUTURE Bold</vt:lpstr>
      <vt:lpstr>Lucida Grande</vt:lpstr>
      <vt:lpstr>Mangal</vt:lpstr>
      <vt:lpstr>Symbol</vt:lpstr>
      <vt:lpstr>Times New Roman</vt:lpstr>
      <vt:lpstr>Wingdings</vt:lpstr>
      <vt:lpstr>Office Theme</vt:lpstr>
      <vt:lpstr>Maveric Template</vt:lpstr>
      <vt:lpstr>  Personal Banking  - Accounts </vt:lpstr>
      <vt:lpstr>Customer Information File (CIF)</vt:lpstr>
      <vt:lpstr>Customer Information File (CIF)</vt:lpstr>
      <vt:lpstr>Customer Information File (CIF)</vt:lpstr>
      <vt:lpstr>Customer Information File (CIF)</vt:lpstr>
      <vt:lpstr>Customer Information File (CIF)</vt:lpstr>
      <vt:lpstr>Customer Information File (CIF)</vt:lpstr>
      <vt:lpstr>Customer Information File (CIF)</vt:lpstr>
      <vt:lpstr>Savings Account</vt:lpstr>
      <vt:lpstr>PowerPoint Presentation</vt:lpstr>
      <vt:lpstr>Types of Savings Bank Account</vt:lpstr>
      <vt:lpstr>Types of Savings Bank Account</vt:lpstr>
      <vt:lpstr>Types of Savings Bank Account</vt:lpstr>
      <vt:lpstr>Current Account </vt:lpstr>
      <vt:lpstr>Features of Current Account </vt:lpstr>
      <vt:lpstr>Nostro Account </vt:lpstr>
      <vt:lpstr>Vostro Account </vt:lpstr>
      <vt:lpstr>Account Status </vt:lpstr>
      <vt:lpstr>Account Status </vt:lpstr>
      <vt:lpstr>Know Your Customer (KYC)</vt:lpstr>
      <vt:lpstr>Aadhaar Paperless Offline e-KYC</vt:lpstr>
      <vt:lpstr>PowerPoint Presentation</vt:lpstr>
      <vt:lpstr>ACCOUNT OPENING PROCES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ipiga Karunakaran</dc:creator>
  <cp:lastModifiedBy>Sabin John</cp:lastModifiedBy>
  <cp:revision>2556</cp:revision>
  <dcterms:created xsi:type="dcterms:W3CDTF">2020-06-11T10:29:00Z</dcterms:created>
  <dcterms:modified xsi:type="dcterms:W3CDTF">2021-07-27T06:00: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E32E3CA5C16574E82A01A1BC6725E49</vt:lpwstr>
  </property>
  <property fmtid="{D5CDD505-2E9C-101B-9397-08002B2CF9AE}" pid="3" name="KSOProductBuildVer">
    <vt:lpwstr>1033-11.2.0.9635</vt:lpwstr>
  </property>
  <property fmtid="{D5CDD505-2E9C-101B-9397-08002B2CF9AE}" pid="4" name="Order">
    <vt:r8>1514100</vt:r8>
  </property>
  <property fmtid="{D5CDD505-2E9C-101B-9397-08002B2CF9AE}" pid="5" name="xd_Signature">
    <vt:bool>false</vt:bool>
  </property>
  <property fmtid="{D5CDD505-2E9C-101B-9397-08002B2CF9AE}" pid="6" name="xd_ProgID">
    <vt:lpwstr/>
  </property>
  <property fmtid="{D5CDD505-2E9C-101B-9397-08002B2CF9AE}" pid="7" name="Document Type">
    <vt:lpwstr>Confidential</vt:lpwstr>
  </property>
  <property fmtid="{D5CDD505-2E9C-101B-9397-08002B2CF9AE}" pid="8" name="_SourceUrl">
    <vt:lpwstr/>
  </property>
  <property fmtid="{D5CDD505-2E9C-101B-9397-08002B2CF9AE}" pid="9" name="_SharedFileIndex">
    <vt:lpwstr/>
  </property>
  <property fmtid="{D5CDD505-2E9C-101B-9397-08002B2CF9AE}" pid="10" name="ComplianceAssetId">
    <vt:lpwstr/>
  </property>
  <property fmtid="{D5CDD505-2E9C-101B-9397-08002B2CF9AE}" pid="11" name="TemplateUrl">
    <vt:lpwstr/>
  </property>
  <property fmtid="{D5CDD505-2E9C-101B-9397-08002B2CF9AE}" pid="12" name="_ExtendedDescription">
    <vt:lpwstr/>
  </property>
  <property fmtid="{D5CDD505-2E9C-101B-9397-08002B2CF9AE}" pid="13" name="TriggerFlowInfo">
    <vt:lpwstr/>
  </property>
  <property fmtid="{D5CDD505-2E9C-101B-9397-08002B2CF9AE}" pid="14" name="MediaServiceImageTags">
    <vt:lpwstr/>
  </property>
</Properties>
</file>